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tags/tag2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5.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31.xml" ContentType="application/vnd.openxmlformats-officedocument.presentationml.tags+xml"/>
  <Override PartName="/ppt/notesSlides/notesSlide16.xml" ContentType="application/vnd.openxmlformats-officedocument.presentationml.notesSlide+xml"/>
  <Override PartName="/ppt/tags/tag32.xml" ContentType="application/vnd.openxmlformats-officedocument.presentationml.tags+xml"/>
  <Override PartName="/ppt/notesSlides/notesSlide17.xml" ContentType="application/vnd.openxmlformats-officedocument.presentationml.notesSlide+xml"/>
  <Override PartName="/ppt/tags/tag33.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sldIdLst>
    <p:sldId id="257" r:id="rId2"/>
    <p:sldId id="305" r:id="rId3"/>
    <p:sldId id="306" r:id="rId4"/>
    <p:sldId id="278" r:id="rId5"/>
    <p:sldId id="401" r:id="rId6"/>
    <p:sldId id="408" r:id="rId7"/>
    <p:sldId id="409" r:id="rId8"/>
    <p:sldId id="400" r:id="rId9"/>
    <p:sldId id="274" r:id="rId10"/>
    <p:sldId id="309" r:id="rId11"/>
    <p:sldId id="376" r:id="rId12"/>
    <p:sldId id="403" r:id="rId13"/>
    <p:sldId id="404" r:id="rId14"/>
    <p:sldId id="405" r:id="rId15"/>
    <p:sldId id="406" r:id="rId16"/>
    <p:sldId id="407" r:id="rId17"/>
    <p:sldId id="399" r:id="rId18"/>
    <p:sldId id="402" r:id="rId19"/>
    <p:sldId id="291" r:id="rId20"/>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ETERLIN Natasa" initials="PN" lastIdx="1" clrIdx="0">
    <p:extLst>
      <p:ext uri="{19B8F6BF-5375-455C-9EA6-DF929625EA0E}">
        <p15:presenceInfo xmlns:p15="http://schemas.microsoft.com/office/powerpoint/2012/main" userId="S-1-5-21-3576868710-3529390058-3836811062-1054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33CC"/>
    <a:srgbClr val="33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4" autoAdjust="0"/>
    <p:restoredTop sz="96395" autoAdjust="0"/>
  </p:normalViewPr>
  <p:slideViewPr>
    <p:cSldViewPr snapToGrid="0">
      <p:cViewPr varScale="1">
        <p:scale>
          <a:sx n="101" d="100"/>
          <a:sy n="101" d="100"/>
        </p:scale>
        <p:origin x="132" y="306"/>
      </p:cViewPr>
      <p:guideLst/>
    </p:cSldViewPr>
  </p:slid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8CB07FE9-70AE-41D8-AB41-84DEB659C713}" type="datetimeFigureOut">
              <a:rPr lang="en-US" smtClean="0"/>
              <a:t>4/5/2022</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1275EBE-A4B0-480F-BDD0-CBC09B21EA15}" type="slidenum">
              <a:rPr lang="en-US" smtClean="0"/>
              <a:t>‹#›</a:t>
            </a:fld>
            <a:endParaRPr lang="en-US"/>
          </a:p>
        </p:txBody>
      </p:sp>
    </p:spTree>
    <p:extLst>
      <p:ext uri="{BB962C8B-B14F-4D97-AF65-F5344CB8AC3E}">
        <p14:creationId xmlns:p14="http://schemas.microsoft.com/office/powerpoint/2010/main" val="29350619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1</a:t>
            </a:fld>
            <a:endParaRPr lang="en-US"/>
          </a:p>
        </p:txBody>
      </p:sp>
    </p:spTree>
    <p:extLst>
      <p:ext uri="{BB962C8B-B14F-4D97-AF65-F5344CB8AC3E}">
        <p14:creationId xmlns:p14="http://schemas.microsoft.com/office/powerpoint/2010/main" val="122357966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10</a:t>
            </a:fld>
            <a:endParaRPr lang="en-US"/>
          </a:p>
        </p:txBody>
      </p:sp>
    </p:spTree>
    <p:extLst>
      <p:ext uri="{BB962C8B-B14F-4D97-AF65-F5344CB8AC3E}">
        <p14:creationId xmlns:p14="http://schemas.microsoft.com/office/powerpoint/2010/main" val="4505195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11</a:t>
            </a:fld>
            <a:endParaRPr lang="en-US"/>
          </a:p>
        </p:txBody>
      </p:sp>
    </p:spTree>
    <p:extLst>
      <p:ext uri="{BB962C8B-B14F-4D97-AF65-F5344CB8AC3E}">
        <p14:creationId xmlns:p14="http://schemas.microsoft.com/office/powerpoint/2010/main" val="38781984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7199297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57991077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323255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809208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l-SI" dirty="0"/>
              <a:t>COFACE</a:t>
            </a:r>
            <a:r>
              <a:rPr lang="sl-SI" baseline="0" dirty="0"/>
              <a:t> SLOVENJA STORITVE PONUJA TUDI STORITEV IZTERJAVE TERJATEV. STORITEV JE NA VOLJO ZA 190 DRŽAV.</a:t>
            </a:r>
            <a:endParaRPr lang="sl-SI" dirty="0"/>
          </a:p>
          <a:p>
            <a:r>
              <a:rPr lang="sl-SI" dirty="0"/>
              <a:t>Nadgrajujemo orodja,</a:t>
            </a:r>
            <a:r>
              <a:rPr lang="sl-SI" baseline="0" dirty="0"/>
              <a:t> včasih začetniške težave, kot pri vseh IT zadevah. Danes dela na 80%. </a:t>
            </a:r>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17</a:t>
            </a:fld>
            <a:endParaRPr lang="en-US"/>
          </a:p>
        </p:txBody>
      </p:sp>
    </p:spTree>
    <p:extLst>
      <p:ext uri="{BB962C8B-B14F-4D97-AF65-F5344CB8AC3E}">
        <p14:creationId xmlns:p14="http://schemas.microsoft.com/office/powerpoint/2010/main" val="19500711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sl-SI" dirty="0"/>
              <a:t>Mogoče</a:t>
            </a:r>
            <a:r>
              <a:rPr lang="sl-SI" baseline="0" dirty="0"/>
              <a:t> na koncu še nekaj besed o višini premijskih stopenj. Te se danes gibajo praviloma do 0,5% od prometa, ki ga zavarovanec dosega z zavarovanimi kupci  Odvisne so od obsega zavarovanega prometa, dejavnosti kupcev, kvalitete kupcev in ostalih dejavnikov. Provizije za zavarovalne posrednike se gibljejo med 12 in 15%.  </a:t>
            </a:r>
          </a:p>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18</a:t>
            </a:fld>
            <a:endParaRPr lang="en-US"/>
          </a:p>
        </p:txBody>
      </p:sp>
    </p:spTree>
    <p:extLst>
      <p:ext uri="{BB962C8B-B14F-4D97-AF65-F5344CB8AC3E}">
        <p14:creationId xmlns:p14="http://schemas.microsoft.com/office/powerpoint/2010/main" val="396231143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19</a:t>
            </a:fld>
            <a:endParaRPr lang="en-US"/>
          </a:p>
        </p:txBody>
      </p:sp>
    </p:spTree>
    <p:extLst>
      <p:ext uri="{BB962C8B-B14F-4D97-AF65-F5344CB8AC3E}">
        <p14:creationId xmlns:p14="http://schemas.microsoft.com/office/powerpoint/2010/main" val="24647639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0" dirty="0">
              <a:solidFill>
                <a:srgbClr val="FF0000"/>
              </a:solidFill>
            </a:endParaRPr>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t>10/03/2020</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ABF3-6035-4AA4-AD20-FC0C921300F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46221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fr-FR" sz="1200" b="0" i="0" u="none" strike="noStrike" kern="1200" cap="none" spc="0" normalizeH="0" baseline="0" noProof="0">
                <a:ln>
                  <a:noFill/>
                </a:ln>
                <a:solidFill>
                  <a:prstClr val="black"/>
                </a:solidFill>
                <a:effectLst/>
                <a:uLnTx/>
                <a:uFillTx/>
                <a:latin typeface="Calibri" panose="020F0502020204030204"/>
                <a:ea typeface="+mn-ea"/>
                <a:cs typeface="+mn-cs"/>
              </a:rPr>
              <a:t>10/03/2020</a:t>
            </a: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D25ABF3-6035-4AA4-AD20-FC0C921300F6}"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868922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61275EBE-A4B0-480F-BDD0-CBC09B21EA15}" type="slidenum">
              <a:rPr lang="en-US" smtClean="0"/>
              <a:t>4</a:t>
            </a:fld>
            <a:endParaRPr lang="en-US"/>
          </a:p>
        </p:txBody>
      </p:sp>
    </p:spTree>
    <p:extLst>
      <p:ext uri="{BB962C8B-B14F-4D97-AF65-F5344CB8AC3E}">
        <p14:creationId xmlns:p14="http://schemas.microsoft.com/office/powerpoint/2010/main" val="32706089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5</a:t>
            </a:fld>
            <a:endParaRPr lang="en-US"/>
          </a:p>
        </p:txBody>
      </p:sp>
    </p:spTree>
    <p:extLst>
      <p:ext uri="{BB962C8B-B14F-4D97-AF65-F5344CB8AC3E}">
        <p14:creationId xmlns:p14="http://schemas.microsoft.com/office/powerpoint/2010/main" val="22879661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6</a:t>
            </a:fld>
            <a:endParaRPr lang="en-US"/>
          </a:p>
        </p:txBody>
      </p:sp>
    </p:spTree>
    <p:extLst>
      <p:ext uri="{BB962C8B-B14F-4D97-AF65-F5344CB8AC3E}">
        <p14:creationId xmlns:p14="http://schemas.microsoft.com/office/powerpoint/2010/main" val="759145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7</a:t>
            </a:fld>
            <a:endParaRPr lang="en-US"/>
          </a:p>
        </p:txBody>
      </p:sp>
    </p:spTree>
    <p:extLst>
      <p:ext uri="{BB962C8B-B14F-4D97-AF65-F5344CB8AC3E}">
        <p14:creationId xmlns:p14="http://schemas.microsoft.com/office/powerpoint/2010/main" val="8129322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8</a:t>
            </a:fld>
            <a:endParaRPr lang="en-US"/>
          </a:p>
        </p:txBody>
      </p:sp>
    </p:spTree>
    <p:extLst>
      <p:ext uri="{BB962C8B-B14F-4D97-AF65-F5344CB8AC3E}">
        <p14:creationId xmlns:p14="http://schemas.microsoft.com/office/powerpoint/2010/main" val="5089813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1275EBE-A4B0-480F-BDD0-CBC09B21EA15}" type="slidenum">
              <a:rPr lang="en-US" smtClean="0"/>
              <a:t>9</a:t>
            </a:fld>
            <a:endParaRPr lang="en-US"/>
          </a:p>
        </p:txBody>
      </p:sp>
    </p:spTree>
    <p:extLst>
      <p:ext uri="{BB962C8B-B14F-4D97-AF65-F5344CB8AC3E}">
        <p14:creationId xmlns:p14="http://schemas.microsoft.com/office/powerpoint/2010/main" val="32498035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jp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5.jpeg"/><Relationship Id="rId5" Type="http://schemas.openxmlformats.org/officeDocument/2006/relationships/image" Target="../media/image1.emf"/><Relationship Id="rId10" Type="http://schemas.openxmlformats.org/officeDocument/2006/relationships/image" Target="../media/image9.svg"/><Relationship Id="rId4" Type="http://schemas.openxmlformats.org/officeDocument/2006/relationships/oleObject" Target="../embeddings/oleObject17.bin"/><Relationship Id="rId9"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5.jpeg"/><Relationship Id="rId5" Type="http://schemas.openxmlformats.org/officeDocument/2006/relationships/image" Target="../media/image1.emf"/><Relationship Id="rId10" Type="http://schemas.openxmlformats.org/officeDocument/2006/relationships/image" Target="../media/image9.svg"/><Relationship Id="rId4" Type="http://schemas.openxmlformats.org/officeDocument/2006/relationships/oleObject" Target="../embeddings/oleObject18.bin"/><Relationship Id="rId9" Type="http://schemas.openxmlformats.org/officeDocument/2006/relationships/image" Target="../media/image8.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image" Target="../media/image10.jpg"/><Relationship Id="rId9"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image" Target="../media/image10.jpg"/><Relationship Id="rId9"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4.jp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3" name="Objet 12" hidden="1">
            <a:extLst>
              <a:ext uri="{FF2B5EF4-FFF2-40B4-BE49-F238E27FC236}">
                <a16:creationId xmlns:a16="http://schemas.microsoft.com/office/drawing/2014/main" id="{B9ED005C-6CC1-4671-B559-6CDB9C0FB15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0" name="Diapositive think-cell" r:id="rId5" imgW="532" imgH="530" progId="TCLayout.ActiveDocument.1">
                  <p:embed/>
                </p:oleObj>
              </mc:Choice>
              <mc:Fallback>
                <p:oleObj name="Diapositive think-cell" r:id="rId5" imgW="532" imgH="530" progId="TCLayout.ActiveDocument.1">
                  <p:embed/>
                  <p:pic>
                    <p:nvPicPr>
                      <p:cNvPr id="13" name="Objet 12" hidden="1">
                        <a:extLst>
                          <a:ext uri="{FF2B5EF4-FFF2-40B4-BE49-F238E27FC236}">
                            <a16:creationId xmlns:a16="http://schemas.microsoft.com/office/drawing/2014/main" id="{B9ED005C-6CC1-4671-B559-6CDB9C0FB15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5C157F41-D659-4ADB-A3CB-F29BA2D79743}"/>
              </a:ext>
            </a:extLst>
          </p:cNvPr>
          <p:cNvPicPr>
            <a:picLocks noChangeAspect="1"/>
          </p:cNvPicPr>
          <p:nvPr userDrawn="1"/>
        </p:nvPicPr>
        <p:blipFill>
          <a:blip r:embed="rId7">
            <a:lum bright="100000"/>
            <a:extLst>
              <a:ext uri="{28A0092B-C50C-407E-A947-70E740481C1C}">
                <a14:useLocalDpi xmlns:a14="http://schemas.microsoft.com/office/drawing/2010/main"/>
              </a:ext>
            </a:extLst>
          </a:blip>
          <a:stretch>
            <a:fillRect/>
          </a:stretch>
        </p:blipFill>
        <p:spPr>
          <a:xfrm>
            <a:off x="5080000" y="646401"/>
            <a:ext cx="2032000" cy="683026"/>
          </a:xfrm>
          <a:prstGeom prst="rect">
            <a:avLst/>
          </a:prstGeom>
        </p:spPr>
      </p:pic>
      <p:grpSp>
        <p:nvGrpSpPr>
          <p:cNvPr id="6" name="Groupe 5">
            <a:extLst>
              <a:ext uri="{FF2B5EF4-FFF2-40B4-BE49-F238E27FC236}">
                <a16:creationId xmlns:a16="http://schemas.microsoft.com/office/drawing/2014/main" id="{7CA71360-7010-4BAA-BB9C-3F67790B9C38}"/>
              </a:ext>
            </a:extLst>
          </p:cNvPr>
          <p:cNvGrpSpPr/>
          <p:nvPr userDrawn="1"/>
        </p:nvGrpSpPr>
        <p:grpSpPr>
          <a:xfrm>
            <a:off x="12371453" y="0"/>
            <a:ext cx="1885826" cy="1528108"/>
            <a:chOff x="4867566" y="1651754"/>
            <a:chExt cx="1885826" cy="1528108"/>
          </a:xfrm>
        </p:grpSpPr>
        <p:sp>
          <p:nvSpPr>
            <p:cNvPr id="7" name="Freeform 5">
              <a:extLst>
                <a:ext uri="{FF2B5EF4-FFF2-40B4-BE49-F238E27FC236}">
                  <a16:creationId xmlns:a16="http://schemas.microsoft.com/office/drawing/2014/main" id="{69C905F1-6E16-4593-A228-83589C143FFA}"/>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8" name="Rectangle 7">
              <a:extLst>
                <a:ext uri="{FF2B5EF4-FFF2-40B4-BE49-F238E27FC236}">
                  <a16:creationId xmlns:a16="http://schemas.microsoft.com/office/drawing/2014/main" id="{D9C1C185-77B9-4C02-A2C7-22DB592D8782}"/>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ight click on the slide</a:t>
              </a:r>
            </a:p>
            <a:p>
              <a:pPr marL="171450" lvl="0" indent="-171450">
                <a:buFont typeface="Arial" panose="020B0604020202020204" pitchFamily="34" charset="0"/>
                <a:buChar char="•"/>
              </a:pPr>
              <a:r>
                <a:rPr lang="en-US" sz="1000" dirty="0">
                  <a:solidFill>
                    <a:schemeClr val="tx1"/>
                  </a:solidFill>
                  <a:latin typeface="+mj-lt"/>
                </a:rPr>
                <a:t>Click on “Format Background”</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 (1920x1080px)</a:t>
              </a:r>
            </a:p>
          </p:txBody>
        </p:sp>
      </p:grpSp>
      <p:sp>
        <p:nvSpPr>
          <p:cNvPr id="9" name="Espace réservé de la date 8">
            <a:extLst>
              <a:ext uri="{FF2B5EF4-FFF2-40B4-BE49-F238E27FC236}">
                <a16:creationId xmlns:a16="http://schemas.microsoft.com/office/drawing/2014/main" id="{5240BF32-AD85-4591-8FE5-0D837032BA59}"/>
              </a:ext>
            </a:extLst>
          </p:cNvPr>
          <p:cNvSpPr>
            <a:spLocks noGrp="1"/>
          </p:cNvSpPr>
          <p:nvPr>
            <p:ph type="dt" sz="half" idx="10"/>
          </p:nvPr>
        </p:nvSpPr>
        <p:spPr>
          <a:xfrm>
            <a:off x="5100202" y="6126259"/>
            <a:ext cx="1991599" cy="360850"/>
          </a:xfrm>
        </p:spPr>
        <p:txBody>
          <a:bodyPr/>
          <a:lstStyle/>
          <a:p>
            <a:fld id="{6C8800D7-27AF-4EE9-96FB-23865760019E}" type="datetime6">
              <a:rPr lang="en-GB" smtClean="0"/>
              <a:pPr/>
              <a:t>April 22</a:t>
            </a:fld>
            <a:endParaRPr lang="en-GB" dirty="0"/>
          </a:p>
        </p:txBody>
      </p:sp>
      <p:sp>
        <p:nvSpPr>
          <p:cNvPr id="11" name="Titre 10">
            <a:extLst>
              <a:ext uri="{FF2B5EF4-FFF2-40B4-BE49-F238E27FC236}">
                <a16:creationId xmlns:a16="http://schemas.microsoft.com/office/drawing/2014/main" id="{60478FC2-DDC6-4B2C-8D73-7B7DEEB21B1D}"/>
              </a:ext>
            </a:extLst>
          </p:cNvPr>
          <p:cNvSpPr>
            <a:spLocks noGrp="1"/>
          </p:cNvSpPr>
          <p:nvPr>
            <p:ph type="title" hasCustomPrompt="1"/>
          </p:nvPr>
        </p:nvSpPr>
        <p:spPr>
          <a:xfrm>
            <a:off x="741529" y="1761771"/>
            <a:ext cx="10612271" cy="646331"/>
          </a:xfrm>
        </p:spPr>
        <p:txBody>
          <a:bodyPr vert="horz">
            <a:normAutofit/>
          </a:bodyPr>
          <a:lstStyle>
            <a:lvl1pPr algn="ctr">
              <a:defRPr sz="4000" spc="600" baseline="0">
                <a:solidFill>
                  <a:schemeClr val="accent5"/>
                </a:solidFill>
              </a:defRPr>
            </a:lvl1pPr>
          </a:lstStyle>
          <a:p>
            <a:r>
              <a:rPr lang="en-GB" dirty="0"/>
              <a:t>TITLE</a:t>
            </a:r>
          </a:p>
        </p:txBody>
      </p:sp>
      <p:sp>
        <p:nvSpPr>
          <p:cNvPr id="18" name="Espace réservé du texte 17">
            <a:extLst>
              <a:ext uri="{FF2B5EF4-FFF2-40B4-BE49-F238E27FC236}">
                <a16:creationId xmlns:a16="http://schemas.microsoft.com/office/drawing/2014/main" id="{6FBF94A8-79F4-4DAF-9839-1BF943426430}"/>
              </a:ext>
            </a:extLst>
          </p:cNvPr>
          <p:cNvSpPr>
            <a:spLocks noGrp="1"/>
          </p:cNvSpPr>
          <p:nvPr>
            <p:ph type="body" sz="quarter" idx="11" hasCustomPrompt="1"/>
          </p:nvPr>
        </p:nvSpPr>
        <p:spPr>
          <a:xfrm>
            <a:off x="725488" y="2437720"/>
            <a:ext cx="10639425" cy="1306966"/>
          </a:xfrm>
        </p:spPr>
        <p:txBody>
          <a:bodyPr>
            <a:normAutofit/>
          </a:bodyPr>
          <a:lstStyle>
            <a:lvl1pPr marL="0" indent="0" algn="ctr">
              <a:buNone/>
              <a:defRPr sz="2400">
                <a:solidFill>
                  <a:schemeClr val="bg1"/>
                </a:solidFill>
              </a:defRPr>
            </a:lvl1pPr>
          </a:lstStyle>
          <a:p>
            <a:pPr lvl="0"/>
            <a:r>
              <a:rPr lang="en-GB" dirty="0"/>
              <a:t>OF THE PRESENTATION</a:t>
            </a:r>
          </a:p>
        </p:txBody>
      </p:sp>
    </p:spTree>
    <p:extLst>
      <p:ext uri="{BB962C8B-B14F-4D97-AF65-F5344CB8AC3E}">
        <p14:creationId xmlns:p14="http://schemas.microsoft.com/office/powerpoint/2010/main" val="1089925410"/>
      </p:ext>
    </p:extLst>
  </p:cSld>
  <p:clrMapOvr>
    <a:masterClrMapping/>
  </p:clrMapOvr>
  <p:hf sldNum="0"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2 lines + Txt">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06"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29" y="440971"/>
            <a:ext cx="10942471" cy="867930"/>
          </a:xfrm>
        </p:spPr>
        <p:txBody>
          <a:bodyPr vert="horz"/>
          <a:lstStyle>
            <a:lvl1pPr>
              <a:defRPr/>
            </a:lvl1pPr>
          </a:lstStyle>
          <a:p>
            <a:r>
              <a:rPr lang="en-GB" dirty="0"/>
              <a:t>TITLE OF THE SLIDE</a:t>
            </a:r>
            <a:br>
              <a:rPr lang="en-GB" dirty="0"/>
            </a:br>
            <a:r>
              <a:rPr lang="en-GB" dirty="0"/>
              <a:t>on two lines</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727201"/>
            <a:ext cx="11264900" cy="4292599"/>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5" name="Groupe 14">
            <a:extLst>
              <a:ext uri="{FF2B5EF4-FFF2-40B4-BE49-F238E27FC236}">
                <a16:creationId xmlns:a16="http://schemas.microsoft.com/office/drawing/2014/main" id="{898B08C9-6E53-490D-9DCC-1A12C888DE6F}"/>
              </a:ext>
            </a:extLst>
          </p:cNvPr>
          <p:cNvGrpSpPr/>
          <p:nvPr userDrawn="1"/>
        </p:nvGrpSpPr>
        <p:grpSpPr>
          <a:xfrm>
            <a:off x="12371453" y="0"/>
            <a:ext cx="1885826" cy="1528108"/>
            <a:chOff x="7045594" y="2588002"/>
            <a:chExt cx="1885826" cy="1528108"/>
          </a:xfrm>
        </p:grpSpPr>
        <p:grpSp>
          <p:nvGrpSpPr>
            <p:cNvPr id="16" name="Groupe 15">
              <a:extLst>
                <a:ext uri="{FF2B5EF4-FFF2-40B4-BE49-F238E27FC236}">
                  <a16:creationId xmlns:a16="http://schemas.microsoft.com/office/drawing/2014/main" id="{C18F90D9-B6E8-42F1-8187-ABD8D4A50468}"/>
                </a:ext>
              </a:extLst>
            </p:cNvPr>
            <p:cNvGrpSpPr/>
            <p:nvPr/>
          </p:nvGrpSpPr>
          <p:grpSpPr>
            <a:xfrm>
              <a:off x="7045594" y="2588002"/>
              <a:ext cx="1885826" cy="1528108"/>
              <a:chOff x="2689543" y="1651754"/>
              <a:chExt cx="1885826" cy="1528108"/>
            </a:xfrm>
          </p:grpSpPr>
          <p:sp>
            <p:nvSpPr>
              <p:cNvPr id="19" name="Freeform 5">
                <a:extLst>
                  <a:ext uri="{FF2B5EF4-FFF2-40B4-BE49-F238E27FC236}">
                    <a16:creationId xmlns:a16="http://schemas.microsoft.com/office/drawing/2014/main" id="{AECE9EBF-7C25-4AED-85E4-1F1BA0EF5A5D}"/>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20" name="Rectangle 19">
                <a:extLst>
                  <a:ext uri="{FF2B5EF4-FFF2-40B4-BE49-F238E27FC236}">
                    <a16:creationId xmlns:a16="http://schemas.microsoft.com/office/drawing/2014/main" id="{E57BB8EE-FF58-45C4-B599-6CE7B71C3B3E}"/>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7" name="Image 16">
              <a:extLst>
                <a:ext uri="{FF2B5EF4-FFF2-40B4-BE49-F238E27FC236}">
                  <a16:creationId xmlns:a16="http://schemas.microsoft.com/office/drawing/2014/main" id="{F5D1479B-88A6-4544-9D89-36F6FBF14FA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8" name="Image 17">
              <a:extLst>
                <a:ext uri="{FF2B5EF4-FFF2-40B4-BE49-F238E27FC236}">
                  <a16:creationId xmlns:a16="http://schemas.microsoft.com/office/drawing/2014/main" id="{67976A57-37A2-4A13-820B-DE094F8122C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cxnSp>
        <p:nvCxnSpPr>
          <p:cNvPr id="13" name="Connecteur droit 12">
            <a:extLst>
              <a:ext uri="{FF2B5EF4-FFF2-40B4-BE49-F238E27FC236}">
                <a16:creationId xmlns:a16="http://schemas.microsoft.com/office/drawing/2014/main" id="{DE0E36FD-70CA-4FDA-836F-0EB7EBF39824}"/>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Forme libre : forme 13">
            <a:extLst>
              <a:ext uri="{FF2B5EF4-FFF2-40B4-BE49-F238E27FC236}">
                <a16:creationId xmlns:a16="http://schemas.microsoft.com/office/drawing/2014/main" id="{247D425E-D54D-4E47-8565-0B7B866860EC}"/>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26187390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 Txt + Im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30"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30" y="440971"/>
            <a:ext cx="5451300" cy="480131"/>
          </a:xfrm>
        </p:spPr>
        <p:txBody>
          <a:bodyPr vert="horz"/>
          <a:lstStyle>
            <a:lvl1pPr>
              <a:defRPr/>
            </a:lvl1pPr>
          </a:lstStyle>
          <a:p>
            <a:r>
              <a:rPr lang="en-GB" dirty="0"/>
              <a:t>TITLE OF THE SLIDE</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447800"/>
            <a:ext cx="5773729" cy="4572000"/>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5773729"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1" name="Groupe 10">
            <a:extLst>
              <a:ext uri="{FF2B5EF4-FFF2-40B4-BE49-F238E27FC236}">
                <a16:creationId xmlns:a16="http://schemas.microsoft.com/office/drawing/2014/main" id="{E18708B7-219A-43F1-94EF-084DCE04C357}"/>
              </a:ext>
            </a:extLst>
          </p:cNvPr>
          <p:cNvGrpSpPr/>
          <p:nvPr userDrawn="1"/>
        </p:nvGrpSpPr>
        <p:grpSpPr>
          <a:xfrm>
            <a:off x="12371453" y="1762502"/>
            <a:ext cx="1885826" cy="1528108"/>
            <a:chOff x="511520" y="2588002"/>
            <a:chExt cx="1885826" cy="1528108"/>
          </a:xfrm>
        </p:grpSpPr>
        <p:sp>
          <p:nvSpPr>
            <p:cNvPr id="12" name="Freeform 5">
              <a:extLst>
                <a:ext uri="{FF2B5EF4-FFF2-40B4-BE49-F238E27FC236}">
                  <a16:creationId xmlns:a16="http://schemas.microsoft.com/office/drawing/2014/main" id="{90A22C23-8D60-4601-BB85-014AE2BEE4C3}"/>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6256751C-BBD0-47B1-A4DF-FEA938652ADF}"/>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2"/>
                  </a:solidFill>
                  <a:effectLst/>
                  <a:uLnTx/>
                  <a:uFillTx/>
                  <a:latin typeface="+mj-lt"/>
                  <a:ea typeface="+mn-ea"/>
                  <a:cs typeface="+mn-cs"/>
                </a:rPr>
                <a:t>To change the </a:t>
              </a:r>
              <a:r>
                <a:rPr kumimoji="0" lang="fr-FR" sz="1000" b="1" i="0" u="none" strike="noStrike" kern="1200" cap="none" spc="0" normalizeH="0" baseline="0" noProof="0" dirty="0" err="1">
                  <a:ln>
                    <a:noFill/>
                  </a:ln>
                  <a:solidFill>
                    <a:schemeClr val="tx2"/>
                  </a:solidFill>
                  <a:effectLst/>
                  <a:uLnTx/>
                  <a:uFillTx/>
                  <a:latin typeface="+mj-lt"/>
                  <a:ea typeface="+mn-ea"/>
                  <a:cs typeface="+mn-cs"/>
                </a:rPr>
                <a:t>visual</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p:txBody>
        </p:sp>
      </p:gr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36" name="Espace réservé pour une image  35">
            <a:extLst>
              <a:ext uri="{FF2B5EF4-FFF2-40B4-BE49-F238E27FC236}">
                <a16:creationId xmlns:a16="http://schemas.microsoft.com/office/drawing/2014/main" id="{29CA1226-5FF8-4ACF-B4EF-155CD417207A}"/>
              </a:ext>
            </a:extLst>
          </p:cNvPr>
          <p:cNvSpPr>
            <a:spLocks noGrp="1"/>
          </p:cNvSpPr>
          <p:nvPr>
            <p:ph type="pic" sz="quarter" idx="12" hasCustomPrompt="1"/>
          </p:nvPr>
        </p:nvSpPr>
        <p:spPr>
          <a:xfrm>
            <a:off x="6489700" y="0"/>
            <a:ext cx="5702300" cy="6858000"/>
          </a:xfrm>
          <a:prstGeom prst="rect">
            <a:avLst/>
          </a:prstGeom>
        </p:spPr>
        <p:txBody>
          <a:bodyPr wrap="square">
            <a:noAutofit/>
          </a:bodyPr>
          <a:lstStyle>
            <a:lvl1pPr marL="0" indent="0">
              <a:buNone/>
              <a:defRPr/>
            </a:lvl1pPr>
          </a:lstStyle>
          <a:p>
            <a:r>
              <a:rPr lang="en-GB" dirty="0"/>
              <a:t> </a:t>
            </a:r>
          </a:p>
        </p:txBody>
      </p:sp>
      <p:cxnSp>
        <p:nvCxnSpPr>
          <p:cNvPr id="39" name="Connecteur droit 38">
            <a:extLst>
              <a:ext uri="{FF2B5EF4-FFF2-40B4-BE49-F238E27FC236}">
                <a16:creationId xmlns:a16="http://schemas.microsoft.com/office/drawing/2014/main" id="{28552D5A-1C95-456D-BEFD-6B1E020936E3}"/>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7694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2 Lines + Txt + Im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54"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727200"/>
            <a:ext cx="5773729" cy="4292599"/>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5773729"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1" name="Groupe 10">
            <a:extLst>
              <a:ext uri="{FF2B5EF4-FFF2-40B4-BE49-F238E27FC236}">
                <a16:creationId xmlns:a16="http://schemas.microsoft.com/office/drawing/2014/main" id="{E18708B7-219A-43F1-94EF-084DCE04C357}"/>
              </a:ext>
            </a:extLst>
          </p:cNvPr>
          <p:cNvGrpSpPr/>
          <p:nvPr userDrawn="1"/>
        </p:nvGrpSpPr>
        <p:grpSpPr>
          <a:xfrm>
            <a:off x="12371453" y="1762502"/>
            <a:ext cx="1885826" cy="1528108"/>
            <a:chOff x="511520" y="2588002"/>
            <a:chExt cx="1885826" cy="1528108"/>
          </a:xfrm>
        </p:grpSpPr>
        <p:sp>
          <p:nvSpPr>
            <p:cNvPr id="12" name="Freeform 5">
              <a:extLst>
                <a:ext uri="{FF2B5EF4-FFF2-40B4-BE49-F238E27FC236}">
                  <a16:creationId xmlns:a16="http://schemas.microsoft.com/office/drawing/2014/main" id="{90A22C23-8D60-4601-BB85-014AE2BEE4C3}"/>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6256751C-BBD0-47B1-A4DF-FEA938652ADF}"/>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2"/>
                  </a:solidFill>
                  <a:effectLst/>
                  <a:uLnTx/>
                  <a:uFillTx/>
                  <a:latin typeface="+mj-lt"/>
                  <a:ea typeface="+mn-ea"/>
                  <a:cs typeface="+mn-cs"/>
                </a:rPr>
                <a:t>To change the </a:t>
              </a:r>
              <a:r>
                <a:rPr kumimoji="0" lang="fr-FR" sz="1000" b="1" i="0" u="none" strike="noStrike" kern="1200" cap="none" spc="0" normalizeH="0" baseline="0" noProof="0" dirty="0" err="1">
                  <a:ln>
                    <a:noFill/>
                  </a:ln>
                  <a:solidFill>
                    <a:schemeClr val="tx2"/>
                  </a:solidFill>
                  <a:effectLst/>
                  <a:uLnTx/>
                  <a:uFillTx/>
                  <a:latin typeface="+mj-lt"/>
                  <a:ea typeface="+mn-ea"/>
                  <a:cs typeface="+mn-cs"/>
                </a:rPr>
                <a:t>visual</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p:txBody>
        </p:sp>
      </p:gr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36" name="Espace réservé pour une image  35">
            <a:extLst>
              <a:ext uri="{FF2B5EF4-FFF2-40B4-BE49-F238E27FC236}">
                <a16:creationId xmlns:a16="http://schemas.microsoft.com/office/drawing/2014/main" id="{29CA1226-5FF8-4ACF-B4EF-155CD417207A}"/>
              </a:ext>
            </a:extLst>
          </p:cNvPr>
          <p:cNvSpPr>
            <a:spLocks noGrp="1"/>
          </p:cNvSpPr>
          <p:nvPr>
            <p:ph type="pic" sz="quarter" idx="12" hasCustomPrompt="1"/>
          </p:nvPr>
        </p:nvSpPr>
        <p:spPr>
          <a:xfrm>
            <a:off x="6489700" y="0"/>
            <a:ext cx="5702300" cy="6858000"/>
          </a:xfrm>
          <a:prstGeom prst="rect">
            <a:avLst/>
          </a:prstGeom>
        </p:spPr>
        <p:txBody>
          <a:bodyPr wrap="square">
            <a:noAutofit/>
          </a:bodyPr>
          <a:lstStyle>
            <a:lvl1pPr marL="0" indent="0">
              <a:buNone/>
              <a:defRPr/>
            </a:lvl1pPr>
          </a:lstStyle>
          <a:p>
            <a:r>
              <a:rPr lang="en-GB" dirty="0"/>
              <a:t> </a:t>
            </a:r>
          </a:p>
        </p:txBody>
      </p:sp>
      <p:sp>
        <p:nvSpPr>
          <p:cNvPr id="20" name="Titre 1">
            <a:extLst>
              <a:ext uri="{FF2B5EF4-FFF2-40B4-BE49-F238E27FC236}">
                <a16:creationId xmlns:a16="http://schemas.microsoft.com/office/drawing/2014/main" id="{13113859-CE45-4808-A26B-C4F2C67C2391}"/>
              </a:ext>
            </a:extLst>
          </p:cNvPr>
          <p:cNvSpPr>
            <a:spLocks noGrp="1"/>
          </p:cNvSpPr>
          <p:nvPr>
            <p:ph type="title" hasCustomPrompt="1"/>
          </p:nvPr>
        </p:nvSpPr>
        <p:spPr>
          <a:xfrm>
            <a:off x="741530" y="440971"/>
            <a:ext cx="5451300" cy="867930"/>
          </a:xfrm>
        </p:spPr>
        <p:txBody>
          <a:bodyPr vert="horz"/>
          <a:lstStyle>
            <a:lvl1pPr>
              <a:defRPr/>
            </a:lvl1pPr>
          </a:lstStyle>
          <a:p>
            <a:r>
              <a:rPr lang="en-GB" dirty="0"/>
              <a:t>TITLE OF THE SLIDE</a:t>
            </a:r>
            <a:br>
              <a:rPr lang="en-GB" dirty="0"/>
            </a:br>
            <a:r>
              <a:rPr lang="en-GB" dirty="0"/>
              <a:t>on two lines</a:t>
            </a:r>
          </a:p>
        </p:txBody>
      </p:sp>
      <p:cxnSp>
        <p:nvCxnSpPr>
          <p:cNvPr id="21" name="Connecteur droit 20">
            <a:extLst>
              <a:ext uri="{FF2B5EF4-FFF2-40B4-BE49-F238E27FC236}">
                <a16:creationId xmlns:a16="http://schemas.microsoft.com/office/drawing/2014/main" id="{2BB29385-90D7-477D-B21F-208DCE9343B4}"/>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926024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 Txt + Img + Highlight Txt">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78"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30" y="440971"/>
            <a:ext cx="5451300" cy="480131"/>
          </a:xfrm>
        </p:spPr>
        <p:txBody>
          <a:bodyPr vert="horz"/>
          <a:lstStyle>
            <a:lvl1pPr>
              <a:defRPr/>
            </a:lvl1pPr>
          </a:lstStyle>
          <a:p>
            <a:r>
              <a:rPr lang="en-GB" dirty="0"/>
              <a:t>TITLE OF THE SLIDE</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447800"/>
            <a:ext cx="5773729" cy="4572000"/>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5773729"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1" name="Groupe 10">
            <a:extLst>
              <a:ext uri="{FF2B5EF4-FFF2-40B4-BE49-F238E27FC236}">
                <a16:creationId xmlns:a16="http://schemas.microsoft.com/office/drawing/2014/main" id="{E18708B7-219A-43F1-94EF-084DCE04C357}"/>
              </a:ext>
            </a:extLst>
          </p:cNvPr>
          <p:cNvGrpSpPr/>
          <p:nvPr userDrawn="1"/>
        </p:nvGrpSpPr>
        <p:grpSpPr>
          <a:xfrm>
            <a:off x="12371453" y="1762502"/>
            <a:ext cx="1885826" cy="1528108"/>
            <a:chOff x="511520" y="2588002"/>
            <a:chExt cx="1885826" cy="1528108"/>
          </a:xfrm>
        </p:grpSpPr>
        <p:sp>
          <p:nvSpPr>
            <p:cNvPr id="12" name="Freeform 5">
              <a:extLst>
                <a:ext uri="{FF2B5EF4-FFF2-40B4-BE49-F238E27FC236}">
                  <a16:creationId xmlns:a16="http://schemas.microsoft.com/office/drawing/2014/main" id="{90A22C23-8D60-4601-BB85-014AE2BEE4C3}"/>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6256751C-BBD0-47B1-A4DF-FEA938652ADF}"/>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2"/>
                  </a:solidFill>
                  <a:effectLst/>
                  <a:uLnTx/>
                  <a:uFillTx/>
                  <a:latin typeface="+mj-lt"/>
                  <a:ea typeface="+mn-ea"/>
                  <a:cs typeface="+mn-cs"/>
                </a:rPr>
                <a:t>To change the </a:t>
              </a:r>
              <a:r>
                <a:rPr kumimoji="0" lang="fr-FR" sz="1000" b="1" i="0" u="none" strike="noStrike" kern="1200" cap="none" spc="0" normalizeH="0" baseline="0" noProof="0" dirty="0" err="1">
                  <a:ln>
                    <a:noFill/>
                  </a:ln>
                  <a:solidFill>
                    <a:schemeClr val="tx2"/>
                  </a:solidFill>
                  <a:effectLst/>
                  <a:uLnTx/>
                  <a:uFillTx/>
                  <a:latin typeface="+mj-lt"/>
                  <a:ea typeface="+mn-ea"/>
                  <a:cs typeface="+mn-cs"/>
                </a:rPr>
                <a:t>visual</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p:txBody>
        </p:sp>
      </p:gr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22" name="Espace réservé pour une image  21">
            <a:extLst>
              <a:ext uri="{FF2B5EF4-FFF2-40B4-BE49-F238E27FC236}">
                <a16:creationId xmlns:a16="http://schemas.microsoft.com/office/drawing/2014/main" id="{5192F0A7-A74A-475A-936E-849FBA0A32E8}"/>
              </a:ext>
            </a:extLst>
          </p:cNvPr>
          <p:cNvSpPr>
            <a:spLocks noGrp="1"/>
          </p:cNvSpPr>
          <p:nvPr>
            <p:ph type="pic" sz="quarter" idx="12" hasCustomPrompt="1"/>
          </p:nvPr>
        </p:nvSpPr>
        <p:spPr>
          <a:xfrm>
            <a:off x="8801098" y="0"/>
            <a:ext cx="3390901" cy="6858000"/>
          </a:xfrm>
          <a:custGeom>
            <a:avLst/>
            <a:gdLst>
              <a:gd name="connsiteX0" fmla="*/ 0 w 3390901"/>
              <a:gd name="connsiteY0" fmla="*/ 0 h 6858000"/>
              <a:gd name="connsiteX1" fmla="*/ 3390901 w 3390901"/>
              <a:gd name="connsiteY1" fmla="*/ 0 h 6858000"/>
              <a:gd name="connsiteX2" fmla="*/ 3390901 w 3390901"/>
              <a:gd name="connsiteY2" fmla="*/ 6858000 h 6858000"/>
              <a:gd name="connsiteX3" fmla="*/ 0 w 3390901"/>
              <a:gd name="connsiteY3" fmla="*/ 6858000 h 6858000"/>
              <a:gd name="connsiteX4" fmla="*/ 0 w 3390901"/>
              <a:gd name="connsiteY4" fmla="*/ 5279823 h 6858000"/>
              <a:gd name="connsiteX5" fmla="*/ 1754717 w 3390901"/>
              <a:gd name="connsiteY5" fmla="*/ 5279823 h 6858000"/>
              <a:gd name="connsiteX6" fmla="*/ 1754717 w 3390901"/>
              <a:gd name="connsiteY6" fmla="*/ 1993901 h 6858000"/>
              <a:gd name="connsiteX7" fmla="*/ 0 w 3390901"/>
              <a:gd name="connsiteY7" fmla="*/ 19939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901" h="6858000">
                <a:moveTo>
                  <a:pt x="0" y="0"/>
                </a:moveTo>
                <a:lnTo>
                  <a:pt x="3390901" y="0"/>
                </a:lnTo>
                <a:lnTo>
                  <a:pt x="3390901" y="6858000"/>
                </a:lnTo>
                <a:lnTo>
                  <a:pt x="0" y="6858000"/>
                </a:lnTo>
                <a:lnTo>
                  <a:pt x="0" y="5279823"/>
                </a:lnTo>
                <a:lnTo>
                  <a:pt x="1754717" y="5279823"/>
                </a:lnTo>
                <a:lnTo>
                  <a:pt x="1754717" y="1993901"/>
                </a:lnTo>
                <a:lnTo>
                  <a:pt x="0" y="1993901"/>
                </a:lnTo>
                <a:close/>
              </a:path>
            </a:pathLst>
          </a:custGeom>
        </p:spPr>
        <p:txBody>
          <a:bodyPr wrap="square">
            <a:noAutofit/>
          </a:bodyPr>
          <a:lstStyle>
            <a:lvl1pPr marL="0" indent="0">
              <a:buNone/>
              <a:defRPr/>
            </a:lvl1pPr>
          </a:lstStyle>
          <a:p>
            <a:r>
              <a:rPr lang="en-GB" dirty="0"/>
              <a:t> </a:t>
            </a:r>
          </a:p>
        </p:txBody>
      </p:sp>
      <p:cxnSp>
        <p:nvCxnSpPr>
          <p:cNvPr id="39" name="Connecteur droit 38">
            <a:extLst>
              <a:ext uri="{FF2B5EF4-FFF2-40B4-BE49-F238E27FC236}">
                <a16:creationId xmlns:a16="http://schemas.microsoft.com/office/drawing/2014/main" id="{28552D5A-1C95-456D-BEFD-6B1E020936E3}"/>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4" name="Espace réservé du texte 3">
            <a:extLst>
              <a:ext uri="{FF2B5EF4-FFF2-40B4-BE49-F238E27FC236}">
                <a16:creationId xmlns:a16="http://schemas.microsoft.com/office/drawing/2014/main" id="{FC8E28F3-056E-4625-8951-DFE7BD396276}"/>
              </a:ext>
            </a:extLst>
          </p:cNvPr>
          <p:cNvSpPr>
            <a:spLocks noGrp="1"/>
          </p:cNvSpPr>
          <p:nvPr>
            <p:ph type="body" sz="quarter" idx="13" hasCustomPrompt="1"/>
          </p:nvPr>
        </p:nvSpPr>
        <p:spPr>
          <a:xfrm>
            <a:off x="7682304" y="1993900"/>
            <a:ext cx="2873511" cy="3285921"/>
          </a:xfrm>
          <a:solidFill>
            <a:schemeClr val="bg2"/>
          </a:solidFill>
        </p:spPr>
        <p:txBody>
          <a:bodyPr anchor="ctr"/>
          <a:lstStyle>
            <a:lvl1pPr>
              <a:defRPr cap="none" spc="0" baseline="0">
                <a:solidFill>
                  <a:schemeClr val="bg1"/>
                </a:solidFill>
              </a:defRPr>
            </a:lvl1pPr>
          </a:lstStyle>
          <a:p>
            <a:pPr lvl="0"/>
            <a:r>
              <a:rPr lang="fr-FR" dirty="0"/>
              <a:t>Click </a:t>
            </a:r>
            <a:r>
              <a:rPr lang="fr-FR" dirty="0" err="1"/>
              <a:t>here</a:t>
            </a:r>
            <a:r>
              <a:rPr lang="fr-FR" dirty="0"/>
              <a:t> </a:t>
            </a:r>
            <a:br>
              <a:rPr lang="fr-FR" dirty="0"/>
            </a:br>
            <a:r>
              <a:rPr lang="fr-FR" dirty="0"/>
              <a:t>to </a:t>
            </a:r>
            <a:r>
              <a:rPr lang="fr-FR" dirty="0" err="1"/>
              <a:t>add</a:t>
            </a:r>
            <a:r>
              <a:rPr lang="fr-FR" dirty="0"/>
              <a:t> </a:t>
            </a:r>
            <a:r>
              <a:rPr lang="fr-FR" dirty="0" err="1"/>
              <a:t>your</a:t>
            </a:r>
            <a:r>
              <a:rPr lang="fr-FR" dirty="0"/>
              <a:t> </a:t>
            </a:r>
            <a:r>
              <a:rPr lang="fr-FR" dirty="0" err="1"/>
              <a:t>text</a:t>
            </a:r>
            <a:endParaRPr lang="en-GB" dirty="0"/>
          </a:p>
        </p:txBody>
      </p:sp>
    </p:spTree>
    <p:extLst>
      <p:ext uri="{BB962C8B-B14F-4D97-AF65-F5344CB8AC3E}">
        <p14:creationId xmlns:p14="http://schemas.microsoft.com/office/powerpoint/2010/main" val="27693847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2 lines+ Txt + Img + Highlight Txt">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02"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5773729"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1" name="Groupe 10">
            <a:extLst>
              <a:ext uri="{FF2B5EF4-FFF2-40B4-BE49-F238E27FC236}">
                <a16:creationId xmlns:a16="http://schemas.microsoft.com/office/drawing/2014/main" id="{E18708B7-219A-43F1-94EF-084DCE04C357}"/>
              </a:ext>
            </a:extLst>
          </p:cNvPr>
          <p:cNvGrpSpPr/>
          <p:nvPr userDrawn="1"/>
        </p:nvGrpSpPr>
        <p:grpSpPr>
          <a:xfrm>
            <a:off x="12371453" y="1762502"/>
            <a:ext cx="1885826" cy="1528108"/>
            <a:chOff x="511520" y="2588002"/>
            <a:chExt cx="1885826" cy="1528108"/>
          </a:xfrm>
        </p:grpSpPr>
        <p:sp>
          <p:nvSpPr>
            <p:cNvPr id="12" name="Freeform 5">
              <a:extLst>
                <a:ext uri="{FF2B5EF4-FFF2-40B4-BE49-F238E27FC236}">
                  <a16:creationId xmlns:a16="http://schemas.microsoft.com/office/drawing/2014/main" id="{90A22C23-8D60-4601-BB85-014AE2BEE4C3}"/>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6256751C-BBD0-47B1-A4DF-FEA938652ADF}"/>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dirty="0">
                  <a:ln>
                    <a:noFill/>
                  </a:ln>
                  <a:solidFill>
                    <a:schemeClr val="tx2"/>
                  </a:solidFill>
                  <a:effectLst/>
                  <a:uLnTx/>
                  <a:uFillTx/>
                  <a:latin typeface="+mj-lt"/>
                  <a:ea typeface="+mn-ea"/>
                  <a:cs typeface="+mn-cs"/>
                </a:rPr>
                <a:t>To change the </a:t>
              </a:r>
              <a:r>
                <a:rPr kumimoji="0" lang="fr-FR" sz="1000" b="1" i="0" u="none" strike="noStrike" kern="1200" cap="none" spc="0" normalizeH="0" baseline="0" noProof="0" dirty="0" err="1">
                  <a:ln>
                    <a:noFill/>
                  </a:ln>
                  <a:solidFill>
                    <a:schemeClr val="tx2"/>
                  </a:solidFill>
                  <a:effectLst/>
                  <a:uLnTx/>
                  <a:uFillTx/>
                  <a:latin typeface="+mj-lt"/>
                  <a:ea typeface="+mn-ea"/>
                  <a:cs typeface="+mn-cs"/>
                </a:rPr>
                <a:t>visual</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p:txBody>
        </p:sp>
      </p:gr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22" name="Espace réservé pour une image  21">
            <a:extLst>
              <a:ext uri="{FF2B5EF4-FFF2-40B4-BE49-F238E27FC236}">
                <a16:creationId xmlns:a16="http://schemas.microsoft.com/office/drawing/2014/main" id="{5192F0A7-A74A-475A-936E-849FBA0A32E8}"/>
              </a:ext>
            </a:extLst>
          </p:cNvPr>
          <p:cNvSpPr>
            <a:spLocks noGrp="1"/>
          </p:cNvSpPr>
          <p:nvPr>
            <p:ph type="pic" sz="quarter" idx="12" hasCustomPrompt="1"/>
          </p:nvPr>
        </p:nvSpPr>
        <p:spPr>
          <a:xfrm>
            <a:off x="8801098" y="0"/>
            <a:ext cx="3390901" cy="6858000"/>
          </a:xfrm>
          <a:custGeom>
            <a:avLst/>
            <a:gdLst>
              <a:gd name="connsiteX0" fmla="*/ 0 w 3390901"/>
              <a:gd name="connsiteY0" fmla="*/ 0 h 6858000"/>
              <a:gd name="connsiteX1" fmla="*/ 3390901 w 3390901"/>
              <a:gd name="connsiteY1" fmla="*/ 0 h 6858000"/>
              <a:gd name="connsiteX2" fmla="*/ 3390901 w 3390901"/>
              <a:gd name="connsiteY2" fmla="*/ 6858000 h 6858000"/>
              <a:gd name="connsiteX3" fmla="*/ 0 w 3390901"/>
              <a:gd name="connsiteY3" fmla="*/ 6858000 h 6858000"/>
              <a:gd name="connsiteX4" fmla="*/ 0 w 3390901"/>
              <a:gd name="connsiteY4" fmla="*/ 5279823 h 6858000"/>
              <a:gd name="connsiteX5" fmla="*/ 1754717 w 3390901"/>
              <a:gd name="connsiteY5" fmla="*/ 5279823 h 6858000"/>
              <a:gd name="connsiteX6" fmla="*/ 1754717 w 3390901"/>
              <a:gd name="connsiteY6" fmla="*/ 1993901 h 6858000"/>
              <a:gd name="connsiteX7" fmla="*/ 0 w 3390901"/>
              <a:gd name="connsiteY7" fmla="*/ 199390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90901" h="6858000">
                <a:moveTo>
                  <a:pt x="0" y="0"/>
                </a:moveTo>
                <a:lnTo>
                  <a:pt x="3390901" y="0"/>
                </a:lnTo>
                <a:lnTo>
                  <a:pt x="3390901" y="6858000"/>
                </a:lnTo>
                <a:lnTo>
                  <a:pt x="0" y="6858000"/>
                </a:lnTo>
                <a:lnTo>
                  <a:pt x="0" y="5279823"/>
                </a:lnTo>
                <a:lnTo>
                  <a:pt x="1754717" y="5279823"/>
                </a:lnTo>
                <a:lnTo>
                  <a:pt x="1754717" y="1993901"/>
                </a:lnTo>
                <a:lnTo>
                  <a:pt x="0" y="1993901"/>
                </a:lnTo>
                <a:close/>
              </a:path>
            </a:pathLst>
          </a:custGeom>
        </p:spPr>
        <p:txBody>
          <a:bodyPr wrap="square">
            <a:noAutofit/>
          </a:bodyPr>
          <a:lstStyle>
            <a:lvl1pPr marL="0" indent="0">
              <a:buNone/>
              <a:defRPr/>
            </a:lvl1pPr>
          </a:lstStyle>
          <a:p>
            <a:r>
              <a:rPr lang="en-GB" dirty="0"/>
              <a:t> </a:t>
            </a:r>
          </a:p>
        </p:txBody>
      </p:sp>
      <p:sp>
        <p:nvSpPr>
          <p:cNvPr id="4" name="Espace réservé du texte 3">
            <a:extLst>
              <a:ext uri="{FF2B5EF4-FFF2-40B4-BE49-F238E27FC236}">
                <a16:creationId xmlns:a16="http://schemas.microsoft.com/office/drawing/2014/main" id="{FC8E28F3-056E-4625-8951-DFE7BD396276}"/>
              </a:ext>
            </a:extLst>
          </p:cNvPr>
          <p:cNvSpPr>
            <a:spLocks noGrp="1"/>
          </p:cNvSpPr>
          <p:nvPr>
            <p:ph type="body" sz="quarter" idx="13" hasCustomPrompt="1"/>
          </p:nvPr>
        </p:nvSpPr>
        <p:spPr>
          <a:xfrm>
            <a:off x="7682304" y="1993900"/>
            <a:ext cx="2873511" cy="3285921"/>
          </a:xfrm>
          <a:solidFill>
            <a:schemeClr val="bg2"/>
          </a:solidFill>
        </p:spPr>
        <p:txBody>
          <a:bodyPr anchor="ctr"/>
          <a:lstStyle>
            <a:lvl1pPr>
              <a:defRPr cap="none" spc="0" baseline="0">
                <a:solidFill>
                  <a:schemeClr val="bg1"/>
                </a:solidFill>
              </a:defRPr>
            </a:lvl1pPr>
          </a:lstStyle>
          <a:p>
            <a:pPr lvl="0"/>
            <a:r>
              <a:rPr lang="fr-FR" dirty="0"/>
              <a:t>Click </a:t>
            </a:r>
            <a:r>
              <a:rPr lang="fr-FR" dirty="0" err="1"/>
              <a:t>here</a:t>
            </a:r>
            <a:r>
              <a:rPr lang="fr-FR" dirty="0"/>
              <a:t> </a:t>
            </a:r>
            <a:br>
              <a:rPr lang="fr-FR" dirty="0"/>
            </a:br>
            <a:r>
              <a:rPr lang="fr-FR" dirty="0"/>
              <a:t>to </a:t>
            </a:r>
            <a:r>
              <a:rPr lang="fr-FR" dirty="0" err="1"/>
              <a:t>add</a:t>
            </a:r>
            <a:r>
              <a:rPr lang="fr-FR" dirty="0"/>
              <a:t> </a:t>
            </a:r>
            <a:r>
              <a:rPr lang="fr-FR" dirty="0" err="1"/>
              <a:t>your</a:t>
            </a:r>
            <a:r>
              <a:rPr lang="fr-FR" dirty="0"/>
              <a:t> </a:t>
            </a:r>
            <a:r>
              <a:rPr lang="fr-FR" dirty="0" err="1"/>
              <a:t>text</a:t>
            </a:r>
            <a:endParaRPr lang="en-GB" dirty="0"/>
          </a:p>
        </p:txBody>
      </p:sp>
      <p:sp>
        <p:nvSpPr>
          <p:cNvPr id="20" name="Espace réservé du texte 6">
            <a:extLst>
              <a:ext uri="{FF2B5EF4-FFF2-40B4-BE49-F238E27FC236}">
                <a16:creationId xmlns:a16="http://schemas.microsoft.com/office/drawing/2014/main" id="{20042826-5925-430D-B7AE-DEC7618AFFB2}"/>
              </a:ext>
            </a:extLst>
          </p:cNvPr>
          <p:cNvSpPr>
            <a:spLocks noGrp="1"/>
          </p:cNvSpPr>
          <p:nvPr>
            <p:ph type="body" sz="quarter" idx="10" hasCustomPrompt="1"/>
          </p:nvPr>
        </p:nvSpPr>
        <p:spPr>
          <a:xfrm>
            <a:off x="419100" y="1727200"/>
            <a:ext cx="5773729" cy="4292599"/>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21" name="Titre 1">
            <a:extLst>
              <a:ext uri="{FF2B5EF4-FFF2-40B4-BE49-F238E27FC236}">
                <a16:creationId xmlns:a16="http://schemas.microsoft.com/office/drawing/2014/main" id="{3EDAF8EC-5A57-4E15-80F5-F359ED929056}"/>
              </a:ext>
            </a:extLst>
          </p:cNvPr>
          <p:cNvSpPr>
            <a:spLocks noGrp="1"/>
          </p:cNvSpPr>
          <p:nvPr>
            <p:ph type="title" hasCustomPrompt="1"/>
          </p:nvPr>
        </p:nvSpPr>
        <p:spPr>
          <a:xfrm>
            <a:off x="741530" y="440971"/>
            <a:ext cx="5451300" cy="867930"/>
          </a:xfrm>
        </p:spPr>
        <p:txBody>
          <a:bodyPr vert="horz"/>
          <a:lstStyle>
            <a:lvl1pPr>
              <a:defRPr/>
            </a:lvl1pPr>
          </a:lstStyle>
          <a:p>
            <a:r>
              <a:rPr lang="en-GB" dirty="0"/>
              <a:t>TITLE OF THE SLIDE</a:t>
            </a:r>
            <a:br>
              <a:rPr lang="en-GB" dirty="0"/>
            </a:br>
            <a:r>
              <a:rPr lang="en-GB" dirty="0"/>
              <a:t>on two lines</a:t>
            </a:r>
          </a:p>
        </p:txBody>
      </p:sp>
      <p:cxnSp>
        <p:nvCxnSpPr>
          <p:cNvPr id="23" name="Connecteur droit 22">
            <a:extLst>
              <a:ext uri="{FF2B5EF4-FFF2-40B4-BE49-F238E27FC236}">
                <a16:creationId xmlns:a16="http://schemas.microsoft.com/office/drawing/2014/main" id="{11D11256-CD53-4E1F-AA94-0ADF719AEACB}"/>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940100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 5 Column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DF95E2AD-167A-4A38-A020-3824E70A16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26"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DF95E2AD-167A-4A38-A020-3824E70A16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FA64275A-975E-4042-BDCD-12D534FD0E48}"/>
              </a:ext>
            </a:extLst>
          </p:cNvPr>
          <p:cNvSpPr/>
          <p:nvPr userDrawn="1"/>
        </p:nvSpPr>
        <p:spPr>
          <a:xfrm>
            <a:off x="0" y="3070185"/>
            <a:ext cx="12192000" cy="3787815"/>
          </a:xfrm>
          <a:prstGeom prst="rect">
            <a:avLst/>
          </a:prstGeom>
          <a:solidFill>
            <a:srgbClr val="E5ED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re 1">
            <a:extLst>
              <a:ext uri="{FF2B5EF4-FFF2-40B4-BE49-F238E27FC236}">
                <a16:creationId xmlns:a16="http://schemas.microsoft.com/office/drawing/2014/main" id="{639A0B29-C503-45FC-A812-FA037F3D4E6F}"/>
              </a:ext>
            </a:extLst>
          </p:cNvPr>
          <p:cNvSpPr>
            <a:spLocks noGrp="1"/>
          </p:cNvSpPr>
          <p:nvPr>
            <p:ph type="title" hasCustomPrompt="1"/>
          </p:nvPr>
        </p:nvSpPr>
        <p:spPr/>
        <p:txBody>
          <a:bodyPr vert="horz"/>
          <a:lstStyle>
            <a:lvl1pPr algn="ctr">
              <a:defRPr/>
            </a:lvl1pPr>
          </a:lstStyle>
          <a:p>
            <a:r>
              <a:rPr lang="en-GB" dirty="0"/>
              <a:t>TITLE OF THE SLIDE</a:t>
            </a:r>
          </a:p>
        </p:txBody>
      </p:sp>
      <p:cxnSp>
        <p:nvCxnSpPr>
          <p:cNvPr id="6" name="Connecteur droit 5">
            <a:extLst>
              <a:ext uri="{FF2B5EF4-FFF2-40B4-BE49-F238E27FC236}">
                <a16:creationId xmlns:a16="http://schemas.microsoft.com/office/drawing/2014/main" id="{6CC84191-28A6-4C24-BCA4-2FFC4AB2FE35}"/>
              </a:ext>
            </a:extLst>
          </p:cNvPr>
          <p:cNvCxnSpPr>
            <a:cxnSpLocks/>
          </p:cNvCxnSpPr>
          <p:nvPr userDrawn="1"/>
        </p:nvCxnSpPr>
        <p:spPr>
          <a:xfrm>
            <a:off x="592153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Forme libre : forme 6">
            <a:extLst>
              <a:ext uri="{FF2B5EF4-FFF2-40B4-BE49-F238E27FC236}">
                <a16:creationId xmlns:a16="http://schemas.microsoft.com/office/drawing/2014/main" id="{FE488466-1398-4704-8AE2-AA61E5BFCC63}"/>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
        <p:nvSpPr>
          <p:cNvPr id="13" name="Espace réservé du texte 9">
            <a:extLst>
              <a:ext uri="{FF2B5EF4-FFF2-40B4-BE49-F238E27FC236}">
                <a16:creationId xmlns:a16="http://schemas.microsoft.com/office/drawing/2014/main" id="{E013E8ED-8131-4055-A9D2-32088F6B3DD5}"/>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
        <p:nvSpPr>
          <p:cNvPr id="15" name="Espace réservé du texte 14">
            <a:extLst>
              <a:ext uri="{FF2B5EF4-FFF2-40B4-BE49-F238E27FC236}">
                <a16:creationId xmlns:a16="http://schemas.microsoft.com/office/drawing/2014/main" id="{1208103C-8428-4B99-931C-4C763BEB003D}"/>
              </a:ext>
            </a:extLst>
          </p:cNvPr>
          <p:cNvSpPr>
            <a:spLocks noGrp="1"/>
          </p:cNvSpPr>
          <p:nvPr>
            <p:ph type="body" sz="quarter" idx="12" hasCustomPrompt="1"/>
          </p:nvPr>
        </p:nvSpPr>
        <p:spPr>
          <a:xfrm>
            <a:off x="2479511" y="5586393"/>
            <a:ext cx="7581900" cy="838200"/>
          </a:xfrm>
        </p:spPr>
        <p:txBody>
          <a:bodyPr anchor="ctr">
            <a:normAutofit/>
          </a:bodyPr>
          <a:lstStyle>
            <a:lvl1pPr marL="0" indent="0" algn="ctr">
              <a:spcBef>
                <a:spcPts val="0"/>
              </a:spcBef>
              <a:buNone/>
              <a:defRPr sz="2400" cap="none" spc="0" baseline="0"/>
            </a:lvl1pPr>
            <a:lvl2pPr marL="223838" indent="0">
              <a:buNone/>
              <a:defRPr/>
            </a:lvl2pPr>
          </a:lstStyle>
          <a:p>
            <a:pPr lvl="0"/>
            <a:r>
              <a:rPr lang="en-GB" dirty="0"/>
              <a:t>Click here to add</a:t>
            </a:r>
          </a:p>
          <a:p>
            <a:pPr lvl="0"/>
            <a:r>
              <a:rPr lang="en-GB" dirty="0"/>
              <a:t>your highlight text</a:t>
            </a:r>
          </a:p>
        </p:txBody>
      </p:sp>
      <p:sp>
        <p:nvSpPr>
          <p:cNvPr id="17" name="Espace réservé du texte 16">
            <a:extLst>
              <a:ext uri="{FF2B5EF4-FFF2-40B4-BE49-F238E27FC236}">
                <a16:creationId xmlns:a16="http://schemas.microsoft.com/office/drawing/2014/main" id="{6AD58E76-9CB4-4808-95F1-AC2D5A63FA3B}"/>
              </a:ext>
            </a:extLst>
          </p:cNvPr>
          <p:cNvSpPr>
            <a:spLocks noGrp="1"/>
          </p:cNvSpPr>
          <p:nvPr>
            <p:ph type="body" sz="quarter" idx="13" hasCustomPrompt="1"/>
          </p:nvPr>
        </p:nvSpPr>
        <p:spPr>
          <a:xfrm>
            <a:off x="74136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24" name="Espace réservé du texte 23">
            <a:extLst>
              <a:ext uri="{FF2B5EF4-FFF2-40B4-BE49-F238E27FC236}">
                <a16:creationId xmlns:a16="http://schemas.microsoft.com/office/drawing/2014/main" id="{449F9F8C-2C1D-4D96-AAC0-A2E5451C7524}"/>
              </a:ext>
            </a:extLst>
          </p:cNvPr>
          <p:cNvSpPr>
            <a:spLocks noGrp="1"/>
          </p:cNvSpPr>
          <p:nvPr>
            <p:ph type="body" sz="quarter" idx="14" hasCustomPrompt="1"/>
          </p:nvPr>
        </p:nvSpPr>
        <p:spPr>
          <a:xfrm>
            <a:off x="690563"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grpSp>
        <p:nvGrpSpPr>
          <p:cNvPr id="25" name="Groupe 24">
            <a:extLst>
              <a:ext uri="{FF2B5EF4-FFF2-40B4-BE49-F238E27FC236}">
                <a16:creationId xmlns:a16="http://schemas.microsoft.com/office/drawing/2014/main" id="{862E7071-2496-449D-AE4B-C04B26289A40}"/>
              </a:ext>
            </a:extLst>
          </p:cNvPr>
          <p:cNvGrpSpPr/>
          <p:nvPr userDrawn="1"/>
        </p:nvGrpSpPr>
        <p:grpSpPr>
          <a:xfrm>
            <a:off x="12371453" y="0"/>
            <a:ext cx="1885826" cy="1528108"/>
            <a:chOff x="7045594" y="2588002"/>
            <a:chExt cx="1885826" cy="1528108"/>
          </a:xfrm>
        </p:grpSpPr>
        <p:grpSp>
          <p:nvGrpSpPr>
            <p:cNvPr id="26" name="Groupe 25">
              <a:extLst>
                <a:ext uri="{FF2B5EF4-FFF2-40B4-BE49-F238E27FC236}">
                  <a16:creationId xmlns:a16="http://schemas.microsoft.com/office/drawing/2014/main" id="{639CC988-DBFC-45AF-AEC9-E4545A139851}"/>
                </a:ext>
              </a:extLst>
            </p:cNvPr>
            <p:cNvGrpSpPr/>
            <p:nvPr/>
          </p:nvGrpSpPr>
          <p:grpSpPr>
            <a:xfrm>
              <a:off x="7045594" y="2588002"/>
              <a:ext cx="1885826" cy="1528108"/>
              <a:chOff x="2689543" y="1651754"/>
              <a:chExt cx="1885826" cy="1528108"/>
            </a:xfrm>
          </p:grpSpPr>
          <p:sp>
            <p:nvSpPr>
              <p:cNvPr id="29" name="Freeform 5">
                <a:extLst>
                  <a:ext uri="{FF2B5EF4-FFF2-40B4-BE49-F238E27FC236}">
                    <a16:creationId xmlns:a16="http://schemas.microsoft.com/office/drawing/2014/main" id="{22DC8C38-F1EC-4996-A2B6-DF03843D8A3B}"/>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30" name="Rectangle 29">
                <a:extLst>
                  <a:ext uri="{FF2B5EF4-FFF2-40B4-BE49-F238E27FC236}">
                    <a16:creationId xmlns:a16="http://schemas.microsoft.com/office/drawing/2014/main" id="{459B9793-268D-4DC2-8CB3-FBBA59D35935}"/>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27" name="Image 26">
              <a:extLst>
                <a:ext uri="{FF2B5EF4-FFF2-40B4-BE49-F238E27FC236}">
                  <a16:creationId xmlns:a16="http://schemas.microsoft.com/office/drawing/2014/main" id="{A9539EDE-4F31-4B97-A208-D3BA8675619F}"/>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28" name="Image 27">
              <a:extLst>
                <a:ext uri="{FF2B5EF4-FFF2-40B4-BE49-F238E27FC236}">
                  <a16:creationId xmlns:a16="http://schemas.microsoft.com/office/drawing/2014/main" id="{1282382C-8224-4F34-9EA7-537BACE032B2}"/>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32" name="Espace réservé du texte 16">
            <a:extLst>
              <a:ext uri="{FF2B5EF4-FFF2-40B4-BE49-F238E27FC236}">
                <a16:creationId xmlns:a16="http://schemas.microsoft.com/office/drawing/2014/main" id="{866F79FD-38B2-4E73-A27F-8285C272C50F}"/>
              </a:ext>
            </a:extLst>
          </p:cNvPr>
          <p:cNvSpPr>
            <a:spLocks noGrp="1"/>
          </p:cNvSpPr>
          <p:nvPr>
            <p:ph type="body" sz="quarter" idx="15" hasCustomPrompt="1"/>
          </p:nvPr>
        </p:nvSpPr>
        <p:spPr>
          <a:xfrm>
            <a:off x="297021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33" name="Espace réservé du texte 23">
            <a:extLst>
              <a:ext uri="{FF2B5EF4-FFF2-40B4-BE49-F238E27FC236}">
                <a16:creationId xmlns:a16="http://schemas.microsoft.com/office/drawing/2014/main" id="{42084413-D97D-46DE-887E-65BB8BEF4002}"/>
              </a:ext>
            </a:extLst>
          </p:cNvPr>
          <p:cNvSpPr>
            <a:spLocks noGrp="1"/>
          </p:cNvSpPr>
          <p:nvPr>
            <p:ph type="body" sz="quarter" idx="16" hasCustomPrompt="1"/>
          </p:nvPr>
        </p:nvSpPr>
        <p:spPr>
          <a:xfrm>
            <a:off x="2903345"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sp>
        <p:nvSpPr>
          <p:cNvPr id="34" name="Espace réservé du texte 16">
            <a:extLst>
              <a:ext uri="{FF2B5EF4-FFF2-40B4-BE49-F238E27FC236}">
                <a16:creationId xmlns:a16="http://schemas.microsoft.com/office/drawing/2014/main" id="{D50B8201-36E4-4D88-AB22-415E18E5FC2C}"/>
              </a:ext>
            </a:extLst>
          </p:cNvPr>
          <p:cNvSpPr>
            <a:spLocks noGrp="1"/>
          </p:cNvSpPr>
          <p:nvPr>
            <p:ph type="body" sz="quarter" idx="17" hasCustomPrompt="1"/>
          </p:nvPr>
        </p:nvSpPr>
        <p:spPr>
          <a:xfrm>
            <a:off x="519906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35" name="Espace réservé du texte 23">
            <a:extLst>
              <a:ext uri="{FF2B5EF4-FFF2-40B4-BE49-F238E27FC236}">
                <a16:creationId xmlns:a16="http://schemas.microsoft.com/office/drawing/2014/main" id="{A17522A0-84AB-4C84-A808-EAFCC61D9BA3}"/>
              </a:ext>
            </a:extLst>
          </p:cNvPr>
          <p:cNvSpPr>
            <a:spLocks noGrp="1"/>
          </p:cNvSpPr>
          <p:nvPr>
            <p:ph type="body" sz="quarter" idx="18" hasCustomPrompt="1"/>
          </p:nvPr>
        </p:nvSpPr>
        <p:spPr>
          <a:xfrm>
            <a:off x="5132195"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sp>
        <p:nvSpPr>
          <p:cNvPr id="37" name="Espace réservé du texte 16">
            <a:extLst>
              <a:ext uri="{FF2B5EF4-FFF2-40B4-BE49-F238E27FC236}">
                <a16:creationId xmlns:a16="http://schemas.microsoft.com/office/drawing/2014/main" id="{A35576DA-2F82-461F-B22F-CABD53880CE1}"/>
              </a:ext>
            </a:extLst>
          </p:cNvPr>
          <p:cNvSpPr>
            <a:spLocks noGrp="1"/>
          </p:cNvSpPr>
          <p:nvPr>
            <p:ph type="body" sz="quarter" idx="19" hasCustomPrompt="1"/>
          </p:nvPr>
        </p:nvSpPr>
        <p:spPr>
          <a:xfrm>
            <a:off x="742791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38" name="Espace réservé du texte 23">
            <a:extLst>
              <a:ext uri="{FF2B5EF4-FFF2-40B4-BE49-F238E27FC236}">
                <a16:creationId xmlns:a16="http://schemas.microsoft.com/office/drawing/2014/main" id="{F59CC6CA-2790-44FF-BC9E-B51F918C86E4}"/>
              </a:ext>
            </a:extLst>
          </p:cNvPr>
          <p:cNvSpPr>
            <a:spLocks noGrp="1"/>
          </p:cNvSpPr>
          <p:nvPr>
            <p:ph type="body" sz="quarter" idx="20" hasCustomPrompt="1"/>
          </p:nvPr>
        </p:nvSpPr>
        <p:spPr>
          <a:xfrm>
            <a:off x="7361045"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sp>
        <p:nvSpPr>
          <p:cNvPr id="39" name="Espace réservé du texte 16">
            <a:extLst>
              <a:ext uri="{FF2B5EF4-FFF2-40B4-BE49-F238E27FC236}">
                <a16:creationId xmlns:a16="http://schemas.microsoft.com/office/drawing/2014/main" id="{15E5E103-E731-4147-BE37-E66CDCD72657}"/>
              </a:ext>
            </a:extLst>
          </p:cNvPr>
          <p:cNvSpPr>
            <a:spLocks noGrp="1"/>
          </p:cNvSpPr>
          <p:nvPr>
            <p:ph type="body" sz="quarter" idx="21" hasCustomPrompt="1"/>
          </p:nvPr>
        </p:nvSpPr>
        <p:spPr>
          <a:xfrm>
            <a:off x="9656762" y="1670597"/>
            <a:ext cx="2001837" cy="1286689"/>
          </a:xfrm>
          <a:blipFill>
            <a:blip r:embed="rId6"/>
            <a:stretch>
              <a:fillRect/>
            </a:stretch>
          </a:blipFill>
        </p:spPr>
        <p:txBody>
          <a:bodyPr bIns="180000" anchor="b">
            <a:noAutofit/>
          </a:bodyPr>
          <a:lstStyle>
            <a:lvl1pPr marL="0" indent="0">
              <a:spcBef>
                <a:spcPts val="0"/>
              </a:spcBef>
              <a:buNone/>
              <a:defRPr sz="1100" b="1"/>
            </a:lvl1pPr>
          </a:lstStyle>
          <a:p>
            <a:pPr lvl="0"/>
            <a:r>
              <a:rPr lang="en-GB" dirty="0"/>
              <a:t>Section</a:t>
            </a:r>
          </a:p>
          <a:p>
            <a:pPr lvl="0"/>
            <a:r>
              <a:rPr lang="en-GB" dirty="0"/>
              <a:t>title</a:t>
            </a:r>
          </a:p>
        </p:txBody>
      </p:sp>
      <p:sp>
        <p:nvSpPr>
          <p:cNvPr id="40" name="Espace réservé du texte 23">
            <a:extLst>
              <a:ext uri="{FF2B5EF4-FFF2-40B4-BE49-F238E27FC236}">
                <a16:creationId xmlns:a16="http://schemas.microsoft.com/office/drawing/2014/main" id="{9537BFBB-76D7-4087-A2FF-74ADC074F6E0}"/>
              </a:ext>
            </a:extLst>
          </p:cNvPr>
          <p:cNvSpPr>
            <a:spLocks noGrp="1"/>
          </p:cNvSpPr>
          <p:nvPr>
            <p:ph type="body" sz="quarter" idx="22" hasCustomPrompt="1"/>
          </p:nvPr>
        </p:nvSpPr>
        <p:spPr>
          <a:xfrm>
            <a:off x="9656762" y="3251200"/>
            <a:ext cx="2068704" cy="1666875"/>
          </a:xfrm>
        </p:spPr>
        <p:txBody>
          <a:bodyPr/>
          <a:lstStyle>
            <a:lvl1pPr marL="47625" indent="-47625">
              <a:defRPr sz="1200" cap="none" spc="0" baseline="0"/>
            </a:lvl1pPr>
            <a:lvl2pPr marL="228600" indent="-180975">
              <a:defRPr sz="1050"/>
            </a:lvl2pPr>
          </a:lstStyle>
          <a:p>
            <a:pPr lvl="0"/>
            <a:r>
              <a:rPr lang="en-GB" dirty="0"/>
              <a:t>Paragraph title</a:t>
            </a:r>
          </a:p>
          <a:p>
            <a:pPr lvl="1"/>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marL="228600" marR="0" lvl="1" indent="-180975" algn="l" defTabSz="914400" rtl="0" eaLnBrk="1" fontAlgn="auto" latinLnBrk="0" hangingPunct="1">
              <a:lnSpc>
                <a:spcPct val="90000"/>
              </a:lnSpc>
              <a:spcBef>
                <a:spcPts val="500"/>
              </a:spcBef>
              <a:spcAft>
                <a:spcPts val="0"/>
              </a:spcAft>
              <a:buClr>
                <a:schemeClr val="accent3"/>
              </a:buClr>
              <a:buSzTx/>
              <a:buFont typeface="Arial" panose="020B0604020202020204" pitchFamily="34" charset="0"/>
              <a:buChar char="›"/>
              <a:tabLst/>
              <a:defRPr/>
            </a:pPr>
            <a:r>
              <a:rPr lang="en-GB" dirty="0"/>
              <a:t>Level 02 text</a:t>
            </a:r>
          </a:p>
          <a:p>
            <a:pPr lvl="1"/>
            <a:endParaRPr lang="en-GB" dirty="0"/>
          </a:p>
        </p:txBody>
      </p:sp>
    </p:spTree>
    <p:extLst>
      <p:ext uri="{BB962C8B-B14F-4D97-AF65-F5344CB8AC3E}">
        <p14:creationId xmlns:p14="http://schemas.microsoft.com/office/powerpoint/2010/main" val="186227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 Txt + Highlight Number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50"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30" y="440971"/>
            <a:ext cx="5098817" cy="480131"/>
          </a:xfrm>
        </p:spPr>
        <p:txBody>
          <a:bodyPr vert="horz"/>
          <a:lstStyle>
            <a:lvl1pPr>
              <a:defRPr/>
            </a:lvl1pPr>
          </a:lstStyle>
          <a:p>
            <a:r>
              <a:rPr lang="en-GB" dirty="0"/>
              <a:t>TITLE OF THE SLIDE</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447800"/>
            <a:ext cx="5421247" cy="4572000"/>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cxnSp>
        <p:nvCxnSpPr>
          <p:cNvPr id="39" name="Connecteur droit 38">
            <a:extLst>
              <a:ext uri="{FF2B5EF4-FFF2-40B4-BE49-F238E27FC236}">
                <a16:creationId xmlns:a16="http://schemas.microsoft.com/office/drawing/2014/main" id="{28552D5A-1C95-456D-BEFD-6B1E020936E3}"/>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29E44835-D5D4-411D-B234-B90A145C20FF}"/>
              </a:ext>
            </a:extLst>
          </p:cNvPr>
          <p:cNvSpPr/>
          <p:nvPr userDrawn="1"/>
        </p:nvSpPr>
        <p:spPr>
          <a:xfrm>
            <a:off x="6019800" y="0"/>
            <a:ext cx="6172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1" name="Image 20">
            <a:extLst>
              <a:ext uri="{FF2B5EF4-FFF2-40B4-BE49-F238E27FC236}">
                <a16:creationId xmlns:a16="http://schemas.microsoft.com/office/drawing/2014/main" id="{74B46013-BAA0-473A-984E-C8EABA70ACF8}"/>
              </a:ext>
            </a:extLst>
          </p:cNvPr>
          <p:cNvPicPr>
            <a:picLocks noChangeAspect="1"/>
          </p:cNvPicPr>
          <p:nvPr userDrawn="1"/>
        </p:nvPicPr>
        <p:blipFill rotWithShape="1">
          <a:blip r:embed="rId8"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
        <p:nvSpPr>
          <p:cNvPr id="24" name="Espace réservé du texte 9">
            <a:extLst>
              <a:ext uri="{FF2B5EF4-FFF2-40B4-BE49-F238E27FC236}">
                <a16:creationId xmlns:a16="http://schemas.microsoft.com/office/drawing/2014/main" id="{F7523A43-9D59-4E6F-8ABB-E88F90A9A028}"/>
              </a:ext>
            </a:extLst>
          </p:cNvPr>
          <p:cNvSpPr>
            <a:spLocks noGrp="1"/>
          </p:cNvSpPr>
          <p:nvPr>
            <p:ph type="body" sz="quarter" idx="11" hasCustomPrompt="1"/>
          </p:nvPr>
        </p:nvSpPr>
        <p:spPr>
          <a:xfrm>
            <a:off x="419100" y="6580610"/>
            <a:ext cx="5421247"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
        <p:nvSpPr>
          <p:cNvPr id="6" name="Espace réservé du texte 5">
            <a:extLst>
              <a:ext uri="{FF2B5EF4-FFF2-40B4-BE49-F238E27FC236}">
                <a16:creationId xmlns:a16="http://schemas.microsoft.com/office/drawing/2014/main" id="{A5599ABF-7CDB-4B67-9B54-FA05CE9CC6C3}"/>
              </a:ext>
            </a:extLst>
          </p:cNvPr>
          <p:cNvSpPr>
            <a:spLocks noGrp="1"/>
          </p:cNvSpPr>
          <p:nvPr>
            <p:ph type="body" sz="quarter" idx="12" hasCustomPrompt="1"/>
          </p:nvPr>
        </p:nvSpPr>
        <p:spPr>
          <a:xfrm>
            <a:off x="8233038" y="733291"/>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26" name="Espace réservé du texte 5">
            <a:extLst>
              <a:ext uri="{FF2B5EF4-FFF2-40B4-BE49-F238E27FC236}">
                <a16:creationId xmlns:a16="http://schemas.microsoft.com/office/drawing/2014/main" id="{0ED4DEEF-D0AC-4510-8626-05A506815E7D}"/>
              </a:ext>
            </a:extLst>
          </p:cNvPr>
          <p:cNvSpPr>
            <a:spLocks noGrp="1"/>
          </p:cNvSpPr>
          <p:nvPr>
            <p:ph type="body" sz="quarter" idx="13" hasCustomPrompt="1"/>
          </p:nvPr>
        </p:nvSpPr>
        <p:spPr>
          <a:xfrm>
            <a:off x="8233038" y="1735669"/>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28" name="Espace réservé du texte 5">
            <a:extLst>
              <a:ext uri="{FF2B5EF4-FFF2-40B4-BE49-F238E27FC236}">
                <a16:creationId xmlns:a16="http://schemas.microsoft.com/office/drawing/2014/main" id="{262FE36F-5E65-4DE9-88DE-D32E9573BF7E}"/>
              </a:ext>
            </a:extLst>
          </p:cNvPr>
          <p:cNvSpPr>
            <a:spLocks noGrp="1"/>
          </p:cNvSpPr>
          <p:nvPr>
            <p:ph type="body" sz="quarter" idx="14" hasCustomPrompt="1"/>
          </p:nvPr>
        </p:nvSpPr>
        <p:spPr>
          <a:xfrm>
            <a:off x="8233038" y="2462939"/>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29" name="Espace réservé du texte 5">
            <a:extLst>
              <a:ext uri="{FF2B5EF4-FFF2-40B4-BE49-F238E27FC236}">
                <a16:creationId xmlns:a16="http://schemas.microsoft.com/office/drawing/2014/main" id="{5902EBC5-4574-409E-948C-77DA35792AF5}"/>
              </a:ext>
            </a:extLst>
          </p:cNvPr>
          <p:cNvSpPr>
            <a:spLocks noGrp="1"/>
          </p:cNvSpPr>
          <p:nvPr>
            <p:ph type="body" sz="quarter" idx="15" hasCustomPrompt="1"/>
          </p:nvPr>
        </p:nvSpPr>
        <p:spPr>
          <a:xfrm>
            <a:off x="8233038" y="3465317"/>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30" name="Espace réservé du texte 5">
            <a:extLst>
              <a:ext uri="{FF2B5EF4-FFF2-40B4-BE49-F238E27FC236}">
                <a16:creationId xmlns:a16="http://schemas.microsoft.com/office/drawing/2014/main" id="{B0871EDA-89DB-4BC4-A27F-19D696AE1483}"/>
              </a:ext>
            </a:extLst>
          </p:cNvPr>
          <p:cNvSpPr>
            <a:spLocks noGrp="1"/>
          </p:cNvSpPr>
          <p:nvPr>
            <p:ph type="body" sz="quarter" idx="16" hasCustomPrompt="1"/>
          </p:nvPr>
        </p:nvSpPr>
        <p:spPr>
          <a:xfrm>
            <a:off x="8233038" y="4192587"/>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31" name="Espace réservé du texte 5">
            <a:extLst>
              <a:ext uri="{FF2B5EF4-FFF2-40B4-BE49-F238E27FC236}">
                <a16:creationId xmlns:a16="http://schemas.microsoft.com/office/drawing/2014/main" id="{B0BEBC5D-15A4-41FF-BA4C-9F83B50A6C7B}"/>
              </a:ext>
            </a:extLst>
          </p:cNvPr>
          <p:cNvSpPr>
            <a:spLocks noGrp="1"/>
          </p:cNvSpPr>
          <p:nvPr>
            <p:ph type="body" sz="quarter" idx="17" hasCustomPrompt="1"/>
          </p:nvPr>
        </p:nvSpPr>
        <p:spPr>
          <a:xfrm>
            <a:off x="8233038" y="5194965"/>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pic>
        <p:nvPicPr>
          <p:cNvPr id="25" name="Graphique 24">
            <a:extLst>
              <a:ext uri="{FF2B5EF4-FFF2-40B4-BE49-F238E27FC236}">
                <a16:creationId xmlns:a16="http://schemas.microsoft.com/office/drawing/2014/main" id="{476F3186-4CC0-486C-AC24-09149C7050C7}"/>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793787" y="6126385"/>
            <a:ext cx="2659139" cy="731615"/>
          </a:xfrm>
          <a:prstGeom prst="rect">
            <a:avLst/>
          </a:prstGeom>
        </p:spPr>
      </p:pic>
      <p:sp>
        <p:nvSpPr>
          <p:cNvPr id="27" name="Graphique 13">
            <a:extLst>
              <a:ext uri="{FF2B5EF4-FFF2-40B4-BE49-F238E27FC236}">
                <a16:creationId xmlns:a16="http://schemas.microsoft.com/office/drawing/2014/main" id="{F973F7D2-0010-4429-A7B5-E094332A93D2}"/>
              </a:ext>
            </a:extLst>
          </p:cNvPr>
          <p:cNvSpPr/>
          <p:nvPr userDrawn="1"/>
        </p:nvSpPr>
        <p:spPr>
          <a:xfrm>
            <a:off x="9535886" y="0"/>
            <a:ext cx="2656114" cy="728519"/>
          </a:xfrm>
          <a:custGeom>
            <a:avLst/>
            <a:gdLst>
              <a:gd name="connsiteX0" fmla="*/ 2790267 w 3596354"/>
              <a:gd name="connsiteY0" fmla="*/ 0 h 986408"/>
              <a:gd name="connsiteX1" fmla="*/ 1711179 w 3596354"/>
              <a:gd name="connsiteY1" fmla="*/ 560261 h 986408"/>
              <a:gd name="connsiteX2" fmla="*/ 593516 w 3596354"/>
              <a:gd name="connsiteY2" fmla="*/ 0 h 986408"/>
              <a:gd name="connsiteX3" fmla="*/ 213659 w 3596354"/>
              <a:gd name="connsiteY3" fmla="*/ 0 h 986408"/>
              <a:gd name="connsiteX4" fmla="*/ -464 w 3596354"/>
              <a:gd name="connsiteY4" fmla="*/ 431578 h 986408"/>
              <a:gd name="connsiteX5" fmla="*/ 1697558 w 3596354"/>
              <a:gd name="connsiteY5" fmla="*/ 986409 h 986408"/>
              <a:gd name="connsiteX6" fmla="*/ 3595891 w 3596354"/>
              <a:gd name="connsiteY6" fmla="*/ 0 h 9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6354" h="986408">
                <a:moveTo>
                  <a:pt x="2790267" y="0"/>
                </a:moveTo>
                <a:cubicBezTo>
                  <a:pt x="2584812" y="358712"/>
                  <a:pt x="2206193" y="560261"/>
                  <a:pt x="1711179" y="560261"/>
                </a:cubicBezTo>
                <a:cubicBezTo>
                  <a:pt x="1171016" y="560261"/>
                  <a:pt x="804875" y="328041"/>
                  <a:pt x="593516" y="0"/>
                </a:cubicBezTo>
                <a:lnTo>
                  <a:pt x="213659" y="0"/>
                </a:lnTo>
                <a:lnTo>
                  <a:pt x="-464" y="431578"/>
                </a:lnTo>
                <a:cubicBezTo>
                  <a:pt x="351390" y="722567"/>
                  <a:pt x="939845" y="986409"/>
                  <a:pt x="1697558" y="986409"/>
                </a:cubicBezTo>
                <a:cubicBezTo>
                  <a:pt x="2699684" y="986409"/>
                  <a:pt x="3330524" y="593598"/>
                  <a:pt x="3595891" y="0"/>
                </a:cubicBezTo>
                <a:close/>
              </a:path>
            </a:pathLst>
          </a:custGeom>
          <a:solidFill>
            <a:schemeClr val="bg1"/>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963854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2 Lines + Txt + Highlight Numbers">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74"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727200"/>
            <a:ext cx="5421247" cy="4292599"/>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20" name="Rectangle 19">
            <a:extLst>
              <a:ext uri="{FF2B5EF4-FFF2-40B4-BE49-F238E27FC236}">
                <a16:creationId xmlns:a16="http://schemas.microsoft.com/office/drawing/2014/main" id="{29E44835-D5D4-411D-B234-B90A145C20FF}"/>
              </a:ext>
            </a:extLst>
          </p:cNvPr>
          <p:cNvSpPr/>
          <p:nvPr userDrawn="1"/>
        </p:nvSpPr>
        <p:spPr>
          <a:xfrm>
            <a:off x="6019800" y="0"/>
            <a:ext cx="61722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1" name="Image 20">
            <a:extLst>
              <a:ext uri="{FF2B5EF4-FFF2-40B4-BE49-F238E27FC236}">
                <a16:creationId xmlns:a16="http://schemas.microsoft.com/office/drawing/2014/main" id="{74B46013-BAA0-473A-984E-C8EABA70ACF8}"/>
              </a:ext>
            </a:extLst>
          </p:cNvPr>
          <p:cNvPicPr>
            <a:picLocks noChangeAspect="1"/>
          </p:cNvPicPr>
          <p:nvPr userDrawn="1"/>
        </p:nvPicPr>
        <p:blipFill rotWithShape="1">
          <a:blip r:embed="rId8"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
        <p:nvSpPr>
          <p:cNvPr id="24" name="Espace réservé du texte 9">
            <a:extLst>
              <a:ext uri="{FF2B5EF4-FFF2-40B4-BE49-F238E27FC236}">
                <a16:creationId xmlns:a16="http://schemas.microsoft.com/office/drawing/2014/main" id="{F7523A43-9D59-4E6F-8ABB-E88F90A9A028}"/>
              </a:ext>
            </a:extLst>
          </p:cNvPr>
          <p:cNvSpPr>
            <a:spLocks noGrp="1"/>
          </p:cNvSpPr>
          <p:nvPr>
            <p:ph type="body" sz="quarter" idx="11" hasCustomPrompt="1"/>
          </p:nvPr>
        </p:nvSpPr>
        <p:spPr>
          <a:xfrm>
            <a:off x="419100" y="6580610"/>
            <a:ext cx="5421247"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
        <p:nvSpPr>
          <p:cNvPr id="6" name="Espace réservé du texte 5">
            <a:extLst>
              <a:ext uri="{FF2B5EF4-FFF2-40B4-BE49-F238E27FC236}">
                <a16:creationId xmlns:a16="http://schemas.microsoft.com/office/drawing/2014/main" id="{A5599ABF-7CDB-4B67-9B54-FA05CE9CC6C3}"/>
              </a:ext>
            </a:extLst>
          </p:cNvPr>
          <p:cNvSpPr>
            <a:spLocks noGrp="1"/>
          </p:cNvSpPr>
          <p:nvPr>
            <p:ph type="body" sz="quarter" idx="12" hasCustomPrompt="1"/>
          </p:nvPr>
        </p:nvSpPr>
        <p:spPr>
          <a:xfrm>
            <a:off x="8233038" y="733291"/>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26" name="Espace réservé du texte 5">
            <a:extLst>
              <a:ext uri="{FF2B5EF4-FFF2-40B4-BE49-F238E27FC236}">
                <a16:creationId xmlns:a16="http://schemas.microsoft.com/office/drawing/2014/main" id="{0ED4DEEF-D0AC-4510-8626-05A506815E7D}"/>
              </a:ext>
            </a:extLst>
          </p:cNvPr>
          <p:cNvSpPr>
            <a:spLocks noGrp="1"/>
          </p:cNvSpPr>
          <p:nvPr>
            <p:ph type="body" sz="quarter" idx="13" hasCustomPrompt="1"/>
          </p:nvPr>
        </p:nvSpPr>
        <p:spPr>
          <a:xfrm>
            <a:off x="8233038" y="1735669"/>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28" name="Espace réservé du texte 5">
            <a:extLst>
              <a:ext uri="{FF2B5EF4-FFF2-40B4-BE49-F238E27FC236}">
                <a16:creationId xmlns:a16="http://schemas.microsoft.com/office/drawing/2014/main" id="{262FE36F-5E65-4DE9-88DE-D32E9573BF7E}"/>
              </a:ext>
            </a:extLst>
          </p:cNvPr>
          <p:cNvSpPr>
            <a:spLocks noGrp="1"/>
          </p:cNvSpPr>
          <p:nvPr>
            <p:ph type="body" sz="quarter" idx="14" hasCustomPrompt="1"/>
          </p:nvPr>
        </p:nvSpPr>
        <p:spPr>
          <a:xfrm>
            <a:off x="8233038" y="2462939"/>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29" name="Espace réservé du texte 5">
            <a:extLst>
              <a:ext uri="{FF2B5EF4-FFF2-40B4-BE49-F238E27FC236}">
                <a16:creationId xmlns:a16="http://schemas.microsoft.com/office/drawing/2014/main" id="{5902EBC5-4574-409E-948C-77DA35792AF5}"/>
              </a:ext>
            </a:extLst>
          </p:cNvPr>
          <p:cNvSpPr>
            <a:spLocks noGrp="1"/>
          </p:cNvSpPr>
          <p:nvPr>
            <p:ph type="body" sz="quarter" idx="15" hasCustomPrompt="1"/>
          </p:nvPr>
        </p:nvSpPr>
        <p:spPr>
          <a:xfrm>
            <a:off x="8233038" y="3465317"/>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30" name="Espace réservé du texte 5">
            <a:extLst>
              <a:ext uri="{FF2B5EF4-FFF2-40B4-BE49-F238E27FC236}">
                <a16:creationId xmlns:a16="http://schemas.microsoft.com/office/drawing/2014/main" id="{B0871EDA-89DB-4BC4-A27F-19D696AE1483}"/>
              </a:ext>
            </a:extLst>
          </p:cNvPr>
          <p:cNvSpPr>
            <a:spLocks noGrp="1"/>
          </p:cNvSpPr>
          <p:nvPr>
            <p:ph type="body" sz="quarter" idx="16" hasCustomPrompt="1"/>
          </p:nvPr>
        </p:nvSpPr>
        <p:spPr>
          <a:xfrm>
            <a:off x="8233038" y="4192587"/>
            <a:ext cx="1186384" cy="935875"/>
          </a:xfrm>
        </p:spPr>
        <p:txBody>
          <a:bodyPr tIns="1152000" anchor="b">
            <a:noAutofit/>
          </a:bodyPr>
          <a:lstStyle>
            <a:lvl1pPr marL="0" indent="0">
              <a:buNone/>
              <a:defRPr sz="5400" spc="0" baseline="0">
                <a:solidFill>
                  <a:schemeClr val="bg1"/>
                </a:solidFill>
              </a:defRPr>
            </a:lvl1pPr>
          </a:lstStyle>
          <a:p>
            <a:pPr lvl="0"/>
            <a:r>
              <a:rPr lang="en-GB"/>
              <a:t>00</a:t>
            </a:r>
            <a:endParaRPr lang="en-GB" dirty="0"/>
          </a:p>
        </p:txBody>
      </p:sp>
      <p:sp>
        <p:nvSpPr>
          <p:cNvPr id="31" name="Espace réservé du texte 5">
            <a:extLst>
              <a:ext uri="{FF2B5EF4-FFF2-40B4-BE49-F238E27FC236}">
                <a16:creationId xmlns:a16="http://schemas.microsoft.com/office/drawing/2014/main" id="{B0BEBC5D-15A4-41FF-BA4C-9F83B50A6C7B}"/>
              </a:ext>
            </a:extLst>
          </p:cNvPr>
          <p:cNvSpPr>
            <a:spLocks noGrp="1"/>
          </p:cNvSpPr>
          <p:nvPr>
            <p:ph type="body" sz="quarter" idx="17" hasCustomPrompt="1"/>
          </p:nvPr>
        </p:nvSpPr>
        <p:spPr>
          <a:xfrm>
            <a:off x="8233038" y="5194965"/>
            <a:ext cx="3539862" cy="341632"/>
          </a:xfrm>
        </p:spPr>
        <p:txBody>
          <a:bodyPr wrap="square" anchor="t">
            <a:spAutoFit/>
          </a:bodyPr>
          <a:lstStyle>
            <a:lvl1pPr marL="0" indent="0">
              <a:buNone/>
              <a:defRPr sz="1800" baseline="0">
                <a:solidFill>
                  <a:schemeClr val="bg1"/>
                </a:solidFill>
              </a:defRPr>
            </a:lvl1pPr>
          </a:lstStyle>
          <a:p>
            <a:pPr lvl="0"/>
            <a:r>
              <a:rPr lang="en-GB"/>
              <a:t>Your text</a:t>
            </a:r>
            <a:endParaRPr lang="en-GB" dirty="0"/>
          </a:p>
        </p:txBody>
      </p:sp>
      <p:sp>
        <p:nvSpPr>
          <p:cNvPr id="25" name="Titre 1">
            <a:extLst>
              <a:ext uri="{FF2B5EF4-FFF2-40B4-BE49-F238E27FC236}">
                <a16:creationId xmlns:a16="http://schemas.microsoft.com/office/drawing/2014/main" id="{461DF43A-0E33-4178-8264-4750F0D66455}"/>
              </a:ext>
            </a:extLst>
          </p:cNvPr>
          <p:cNvSpPr>
            <a:spLocks noGrp="1"/>
          </p:cNvSpPr>
          <p:nvPr>
            <p:ph type="title" hasCustomPrompt="1"/>
          </p:nvPr>
        </p:nvSpPr>
        <p:spPr>
          <a:xfrm>
            <a:off x="741530" y="440971"/>
            <a:ext cx="5098817" cy="867930"/>
          </a:xfrm>
        </p:spPr>
        <p:txBody>
          <a:bodyPr vert="horz"/>
          <a:lstStyle>
            <a:lvl1pPr>
              <a:defRPr/>
            </a:lvl1pPr>
          </a:lstStyle>
          <a:p>
            <a:r>
              <a:rPr lang="en-GB" dirty="0"/>
              <a:t>TITLE OF THE SLIDE</a:t>
            </a:r>
            <a:br>
              <a:rPr lang="en-GB" dirty="0"/>
            </a:br>
            <a:r>
              <a:rPr lang="en-GB" dirty="0"/>
              <a:t>on two lines</a:t>
            </a:r>
          </a:p>
        </p:txBody>
      </p:sp>
      <p:cxnSp>
        <p:nvCxnSpPr>
          <p:cNvPr id="27" name="Connecteur droit 26">
            <a:extLst>
              <a:ext uri="{FF2B5EF4-FFF2-40B4-BE49-F238E27FC236}">
                <a16:creationId xmlns:a16="http://schemas.microsoft.com/office/drawing/2014/main" id="{10358293-54C6-4D7D-863E-642F1EB66639}"/>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32" name="Graphique 31">
            <a:extLst>
              <a:ext uri="{FF2B5EF4-FFF2-40B4-BE49-F238E27FC236}">
                <a16:creationId xmlns:a16="http://schemas.microsoft.com/office/drawing/2014/main" id="{405E7F78-D0DA-4AB2-BEA3-DF9950A1DA1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5793787" y="6126385"/>
            <a:ext cx="2659139" cy="731615"/>
          </a:xfrm>
          <a:prstGeom prst="rect">
            <a:avLst/>
          </a:prstGeom>
        </p:spPr>
      </p:pic>
      <p:sp>
        <p:nvSpPr>
          <p:cNvPr id="33" name="Graphique 13">
            <a:extLst>
              <a:ext uri="{FF2B5EF4-FFF2-40B4-BE49-F238E27FC236}">
                <a16:creationId xmlns:a16="http://schemas.microsoft.com/office/drawing/2014/main" id="{95739552-1573-4E19-B101-4DAF49FD330B}"/>
              </a:ext>
            </a:extLst>
          </p:cNvPr>
          <p:cNvSpPr/>
          <p:nvPr userDrawn="1"/>
        </p:nvSpPr>
        <p:spPr>
          <a:xfrm>
            <a:off x="9535886" y="0"/>
            <a:ext cx="2656114" cy="728519"/>
          </a:xfrm>
          <a:custGeom>
            <a:avLst/>
            <a:gdLst>
              <a:gd name="connsiteX0" fmla="*/ 2790267 w 3596354"/>
              <a:gd name="connsiteY0" fmla="*/ 0 h 986408"/>
              <a:gd name="connsiteX1" fmla="*/ 1711179 w 3596354"/>
              <a:gd name="connsiteY1" fmla="*/ 560261 h 986408"/>
              <a:gd name="connsiteX2" fmla="*/ 593516 w 3596354"/>
              <a:gd name="connsiteY2" fmla="*/ 0 h 986408"/>
              <a:gd name="connsiteX3" fmla="*/ 213659 w 3596354"/>
              <a:gd name="connsiteY3" fmla="*/ 0 h 986408"/>
              <a:gd name="connsiteX4" fmla="*/ -464 w 3596354"/>
              <a:gd name="connsiteY4" fmla="*/ 431578 h 986408"/>
              <a:gd name="connsiteX5" fmla="*/ 1697558 w 3596354"/>
              <a:gd name="connsiteY5" fmla="*/ 986409 h 986408"/>
              <a:gd name="connsiteX6" fmla="*/ 3595891 w 3596354"/>
              <a:gd name="connsiteY6" fmla="*/ 0 h 9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6354" h="986408">
                <a:moveTo>
                  <a:pt x="2790267" y="0"/>
                </a:moveTo>
                <a:cubicBezTo>
                  <a:pt x="2584812" y="358712"/>
                  <a:pt x="2206193" y="560261"/>
                  <a:pt x="1711179" y="560261"/>
                </a:cubicBezTo>
                <a:cubicBezTo>
                  <a:pt x="1171016" y="560261"/>
                  <a:pt x="804875" y="328041"/>
                  <a:pt x="593516" y="0"/>
                </a:cubicBezTo>
                <a:lnTo>
                  <a:pt x="213659" y="0"/>
                </a:lnTo>
                <a:lnTo>
                  <a:pt x="-464" y="431578"/>
                </a:lnTo>
                <a:cubicBezTo>
                  <a:pt x="351390" y="722567"/>
                  <a:pt x="939845" y="986409"/>
                  <a:pt x="1697558" y="986409"/>
                </a:cubicBezTo>
                <a:cubicBezTo>
                  <a:pt x="2699684" y="986409"/>
                  <a:pt x="3330524" y="593598"/>
                  <a:pt x="3595891" y="0"/>
                </a:cubicBezTo>
                <a:close/>
              </a:path>
            </a:pathLst>
          </a:custGeom>
          <a:solidFill>
            <a:schemeClr val="bg1"/>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25903213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 3 txt blocs">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9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grpSp>
        <p:nvGrpSpPr>
          <p:cNvPr id="25" name="Groupe 24">
            <a:extLst>
              <a:ext uri="{FF2B5EF4-FFF2-40B4-BE49-F238E27FC236}">
                <a16:creationId xmlns:a16="http://schemas.microsoft.com/office/drawing/2014/main" id="{DECC9C60-2407-4889-803E-2D51019EEA71}"/>
              </a:ext>
            </a:extLst>
          </p:cNvPr>
          <p:cNvGrpSpPr/>
          <p:nvPr userDrawn="1"/>
        </p:nvGrpSpPr>
        <p:grpSpPr>
          <a:xfrm>
            <a:off x="12371453" y="1689100"/>
            <a:ext cx="1885826" cy="1528108"/>
            <a:chOff x="4867566" y="1651754"/>
            <a:chExt cx="1885826" cy="1528108"/>
          </a:xfrm>
        </p:grpSpPr>
        <p:sp>
          <p:nvSpPr>
            <p:cNvPr id="27" name="Freeform 5">
              <a:extLst>
                <a:ext uri="{FF2B5EF4-FFF2-40B4-BE49-F238E27FC236}">
                  <a16:creationId xmlns:a16="http://schemas.microsoft.com/office/drawing/2014/main" id="{377CA58C-3EB0-4628-AAC0-EFFFA784EE2E}"/>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32" name="Rectangle 31">
              <a:extLst>
                <a:ext uri="{FF2B5EF4-FFF2-40B4-BE49-F238E27FC236}">
                  <a16:creationId xmlns:a16="http://schemas.microsoft.com/office/drawing/2014/main" id="{1551C0DE-9F99-4A9A-9B69-CBC5A9CD93FF}"/>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ight click on the slide</a:t>
              </a:r>
            </a:p>
            <a:p>
              <a:pPr marL="171450" lvl="0" indent="-171450">
                <a:buFont typeface="Arial" panose="020B0604020202020204" pitchFamily="34" charset="0"/>
                <a:buChar char="•"/>
              </a:pPr>
              <a:r>
                <a:rPr lang="en-US" sz="1000" dirty="0">
                  <a:solidFill>
                    <a:schemeClr val="tx1"/>
                  </a:solidFill>
                  <a:latin typeface="+mj-lt"/>
                </a:rPr>
                <a:t>Click on “Format Background”</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 (1920x1080px)</a:t>
              </a:r>
            </a:p>
          </p:txBody>
        </p:sp>
      </p:grpSp>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30" y="440971"/>
            <a:ext cx="10795150" cy="480131"/>
          </a:xfrm>
        </p:spPr>
        <p:txBody>
          <a:bodyPr vert="horz"/>
          <a:lstStyle>
            <a:lvl1pPr>
              <a:defRPr>
                <a:solidFill>
                  <a:schemeClr val="bg1"/>
                </a:solidFill>
              </a:defRPr>
            </a:lvl1pPr>
          </a:lstStyle>
          <a:p>
            <a:r>
              <a:rPr lang="en-GB" dirty="0"/>
              <a:t>TITLE OF THE SLIDE</a:t>
            </a:r>
          </a:p>
        </p:txBody>
      </p:sp>
      <p:cxnSp>
        <p:nvCxnSpPr>
          <p:cNvPr id="39" name="Connecteur droit 38">
            <a:extLst>
              <a:ext uri="{FF2B5EF4-FFF2-40B4-BE49-F238E27FC236}">
                <a16:creationId xmlns:a16="http://schemas.microsoft.com/office/drawing/2014/main" id="{28552D5A-1C95-456D-BEFD-6B1E020936E3}"/>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Image 20">
            <a:extLst>
              <a:ext uri="{FF2B5EF4-FFF2-40B4-BE49-F238E27FC236}">
                <a16:creationId xmlns:a16="http://schemas.microsoft.com/office/drawing/2014/main" id="{74B46013-BAA0-473A-984E-C8EABA70ACF8}"/>
              </a:ext>
            </a:extLst>
          </p:cNvPr>
          <p:cNvPicPr>
            <a:picLocks noChangeAspect="1"/>
          </p:cNvPicPr>
          <p:nvPr userDrawn="1"/>
        </p:nvPicPr>
        <p:blipFill rotWithShape="1">
          <a:blip r:embed="rId9"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
        <p:nvSpPr>
          <p:cNvPr id="38" name="Espace réservé du texte 7">
            <a:extLst>
              <a:ext uri="{FF2B5EF4-FFF2-40B4-BE49-F238E27FC236}">
                <a16:creationId xmlns:a16="http://schemas.microsoft.com/office/drawing/2014/main" id="{DC3CC124-19C7-4C9A-AA66-80A6295221C9}"/>
              </a:ext>
            </a:extLst>
          </p:cNvPr>
          <p:cNvSpPr>
            <a:spLocks noGrp="1"/>
          </p:cNvSpPr>
          <p:nvPr>
            <p:ph type="body" sz="quarter" idx="12" hasCustomPrompt="1"/>
          </p:nvPr>
        </p:nvSpPr>
        <p:spPr>
          <a:xfrm>
            <a:off x="789482" y="1813560"/>
            <a:ext cx="3210534" cy="4251957"/>
          </a:xfrm>
          <a:solidFill>
            <a:schemeClr val="accent5"/>
          </a:solidFill>
        </p:spPr>
        <p:txBody>
          <a:bodyPr tIns="1260000"/>
          <a:lstStyle>
            <a:lvl1pPr>
              <a:lnSpc>
                <a:spcPct val="110000"/>
              </a:lnSpc>
              <a:defRPr sz="1600" b="0">
                <a:solidFill>
                  <a:schemeClr val="bg1"/>
                </a:solidFill>
              </a:defRPr>
            </a:lvl1pPr>
            <a:lvl2pPr marL="228600" indent="-228600">
              <a:lnSpc>
                <a:spcPct val="110000"/>
              </a:lnSpc>
              <a:spcBef>
                <a:spcPts val="1800"/>
              </a:spcBef>
              <a:buFont typeface="Century Gothic" panose="020B0502020202020204" pitchFamily="34" charset="0"/>
              <a:buChar char=" "/>
              <a:defRPr sz="1050">
                <a:solidFill>
                  <a:schemeClr val="bg1"/>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0" name="Espace réservé du texte 7">
            <a:extLst>
              <a:ext uri="{FF2B5EF4-FFF2-40B4-BE49-F238E27FC236}">
                <a16:creationId xmlns:a16="http://schemas.microsoft.com/office/drawing/2014/main" id="{62A62E1F-32D6-4071-9079-B7144ED9C9F2}"/>
              </a:ext>
            </a:extLst>
          </p:cNvPr>
          <p:cNvSpPr>
            <a:spLocks noGrp="1"/>
          </p:cNvSpPr>
          <p:nvPr>
            <p:ph type="body" sz="quarter" idx="13" hasCustomPrompt="1"/>
          </p:nvPr>
        </p:nvSpPr>
        <p:spPr>
          <a:xfrm>
            <a:off x="4297109" y="1813560"/>
            <a:ext cx="3731941" cy="4251957"/>
          </a:xfrm>
          <a:solidFill>
            <a:schemeClr val="bg2"/>
          </a:solidFill>
        </p:spPr>
        <p:txBody>
          <a:bodyPr tIns="1260000"/>
          <a:lstStyle>
            <a:lvl1pPr>
              <a:lnSpc>
                <a:spcPct val="110000"/>
              </a:lnSpc>
              <a:defRPr sz="1600" b="0">
                <a:solidFill>
                  <a:schemeClr val="bg1"/>
                </a:solidFill>
              </a:defRPr>
            </a:lvl1pPr>
            <a:lvl2pPr marL="228600" indent="-228600">
              <a:lnSpc>
                <a:spcPct val="110000"/>
              </a:lnSpc>
              <a:spcBef>
                <a:spcPts val="1800"/>
              </a:spcBef>
              <a:buFont typeface="Century Gothic" panose="020B0502020202020204" pitchFamily="34" charset="0"/>
              <a:buChar char=" "/>
              <a:defRPr sz="1050">
                <a:solidFill>
                  <a:schemeClr val="bg1"/>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1" name="Espace réservé du texte 7">
            <a:extLst>
              <a:ext uri="{FF2B5EF4-FFF2-40B4-BE49-F238E27FC236}">
                <a16:creationId xmlns:a16="http://schemas.microsoft.com/office/drawing/2014/main" id="{985B5D9C-930C-4A5C-A60E-4D1969A96138}"/>
              </a:ext>
            </a:extLst>
          </p:cNvPr>
          <p:cNvSpPr>
            <a:spLocks noGrp="1"/>
          </p:cNvSpPr>
          <p:nvPr>
            <p:ph type="body" sz="quarter" idx="14" hasCustomPrompt="1"/>
          </p:nvPr>
        </p:nvSpPr>
        <p:spPr>
          <a:xfrm>
            <a:off x="8326143" y="1813560"/>
            <a:ext cx="3210537" cy="4251957"/>
          </a:xfrm>
          <a:solidFill>
            <a:schemeClr val="bg1"/>
          </a:solidFill>
        </p:spPr>
        <p:txBody>
          <a:bodyPr tIns="1260000"/>
          <a:lstStyle>
            <a:lvl1pPr>
              <a:lnSpc>
                <a:spcPct val="110000"/>
              </a:lnSpc>
              <a:defRPr sz="1600" b="0">
                <a:solidFill>
                  <a:schemeClr val="bg2"/>
                </a:solidFill>
              </a:defRPr>
            </a:lvl1pPr>
            <a:lvl2pPr marL="228600" indent="-228600">
              <a:lnSpc>
                <a:spcPct val="110000"/>
              </a:lnSpc>
              <a:spcBef>
                <a:spcPts val="1800"/>
              </a:spcBef>
              <a:buFont typeface="Century Gothic" panose="020B0502020202020204" pitchFamily="34" charset="0"/>
              <a:buChar char=" "/>
              <a:defRPr sz="1050">
                <a:solidFill>
                  <a:schemeClr val="bg2"/>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5" name="Espace réservé du texte 9">
            <a:extLst>
              <a:ext uri="{FF2B5EF4-FFF2-40B4-BE49-F238E27FC236}">
                <a16:creationId xmlns:a16="http://schemas.microsoft.com/office/drawing/2014/main" id="{7F34C2EB-12D8-47DB-8269-DA3E3843F9F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solidFill>
                  <a:schemeClr val="bg1"/>
                </a:solidFill>
              </a:defRPr>
            </a:lvl1pPr>
          </a:lstStyle>
          <a:p>
            <a:pPr lvl="0"/>
            <a:r>
              <a:rPr lang="en-GB" dirty="0"/>
              <a:t>Click here to insert footnotes</a:t>
            </a:r>
          </a:p>
        </p:txBody>
      </p:sp>
    </p:spTree>
    <p:extLst>
      <p:ext uri="{BB962C8B-B14F-4D97-AF65-F5344CB8AC3E}">
        <p14:creationId xmlns:p14="http://schemas.microsoft.com/office/powerpoint/2010/main" val="32342672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2 lines + 3 txt blocs">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2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4" name="Groupe 13">
            <a:extLst>
              <a:ext uri="{FF2B5EF4-FFF2-40B4-BE49-F238E27FC236}">
                <a16:creationId xmlns:a16="http://schemas.microsoft.com/office/drawing/2014/main" id="{3C95714D-CE10-4B68-A1FA-3A7C2BFFCEFA}"/>
              </a:ext>
            </a:extLst>
          </p:cNvPr>
          <p:cNvGrpSpPr/>
          <p:nvPr userDrawn="1"/>
        </p:nvGrpSpPr>
        <p:grpSpPr>
          <a:xfrm>
            <a:off x="12371453" y="0"/>
            <a:ext cx="1885826" cy="1528108"/>
            <a:chOff x="7045594" y="2588002"/>
            <a:chExt cx="1885826" cy="1528108"/>
          </a:xfrm>
        </p:grpSpPr>
        <p:grpSp>
          <p:nvGrpSpPr>
            <p:cNvPr id="15" name="Groupe 14">
              <a:extLst>
                <a:ext uri="{FF2B5EF4-FFF2-40B4-BE49-F238E27FC236}">
                  <a16:creationId xmlns:a16="http://schemas.microsoft.com/office/drawing/2014/main" id="{DFE7F59F-F7C2-46C0-A7E5-6173C8FAC765}"/>
                </a:ext>
              </a:extLst>
            </p:cNvPr>
            <p:cNvGrpSpPr/>
            <p:nvPr/>
          </p:nvGrpSpPr>
          <p:grpSpPr>
            <a:xfrm>
              <a:off x="7045594" y="2588002"/>
              <a:ext cx="1885826" cy="1528108"/>
              <a:chOff x="2689543" y="1651754"/>
              <a:chExt cx="1885826" cy="1528108"/>
            </a:xfrm>
          </p:grpSpPr>
          <p:sp>
            <p:nvSpPr>
              <p:cNvPr id="18" name="Freeform 5">
                <a:extLst>
                  <a:ext uri="{FF2B5EF4-FFF2-40B4-BE49-F238E27FC236}">
                    <a16:creationId xmlns:a16="http://schemas.microsoft.com/office/drawing/2014/main" id="{42F384A9-7118-4474-B68C-9010CE26B59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9" name="Rectangle 18">
                <a:extLst>
                  <a:ext uri="{FF2B5EF4-FFF2-40B4-BE49-F238E27FC236}">
                    <a16:creationId xmlns:a16="http://schemas.microsoft.com/office/drawing/2014/main" id="{B3A3AD60-E19A-4AE2-BD4E-085F497EDCFA}"/>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6" name="Image 15">
              <a:extLst>
                <a:ext uri="{FF2B5EF4-FFF2-40B4-BE49-F238E27FC236}">
                  <a16:creationId xmlns:a16="http://schemas.microsoft.com/office/drawing/2014/main" id="{B5AB8504-4BCB-48DC-A077-17A0240C2CDD}"/>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7" name="Image 16">
              <a:extLst>
                <a:ext uri="{FF2B5EF4-FFF2-40B4-BE49-F238E27FC236}">
                  <a16:creationId xmlns:a16="http://schemas.microsoft.com/office/drawing/2014/main" id="{8A8F4AB3-F698-4FF5-96B2-372A3CF8E86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grpSp>
        <p:nvGrpSpPr>
          <p:cNvPr id="25" name="Groupe 24">
            <a:extLst>
              <a:ext uri="{FF2B5EF4-FFF2-40B4-BE49-F238E27FC236}">
                <a16:creationId xmlns:a16="http://schemas.microsoft.com/office/drawing/2014/main" id="{DECC9C60-2407-4889-803E-2D51019EEA71}"/>
              </a:ext>
            </a:extLst>
          </p:cNvPr>
          <p:cNvGrpSpPr/>
          <p:nvPr userDrawn="1"/>
        </p:nvGrpSpPr>
        <p:grpSpPr>
          <a:xfrm>
            <a:off x="12371453" y="1689100"/>
            <a:ext cx="1885826" cy="1528108"/>
            <a:chOff x="4867566" y="1651754"/>
            <a:chExt cx="1885826" cy="1528108"/>
          </a:xfrm>
        </p:grpSpPr>
        <p:sp>
          <p:nvSpPr>
            <p:cNvPr id="27" name="Freeform 5">
              <a:extLst>
                <a:ext uri="{FF2B5EF4-FFF2-40B4-BE49-F238E27FC236}">
                  <a16:creationId xmlns:a16="http://schemas.microsoft.com/office/drawing/2014/main" id="{377CA58C-3EB0-4628-AAC0-EFFFA784EE2E}"/>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32" name="Rectangle 31">
              <a:extLst>
                <a:ext uri="{FF2B5EF4-FFF2-40B4-BE49-F238E27FC236}">
                  <a16:creationId xmlns:a16="http://schemas.microsoft.com/office/drawing/2014/main" id="{1551C0DE-9F99-4A9A-9B69-CBC5A9CD93FF}"/>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ight click on the slide</a:t>
              </a:r>
            </a:p>
            <a:p>
              <a:pPr marL="171450" lvl="0" indent="-171450">
                <a:buFont typeface="Arial" panose="020B0604020202020204" pitchFamily="34" charset="0"/>
                <a:buChar char="•"/>
              </a:pPr>
              <a:r>
                <a:rPr lang="en-US" sz="1000" dirty="0">
                  <a:solidFill>
                    <a:schemeClr val="tx1"/>
                  </a:solidFill>
                  <a:latin typeface="+mj-lt"/>
                </a:rPr>
                <a:t>Click on “Format Background”</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 (1920x1080px)</a:t>
              </a:r>
            </a:p>
          </p:txBody>
        </p:sp>
      </p:grpSp>
      <p:pic>
        <p:nvPicPr>
          <p:cNvPr id="21" name="Image 20">
            <a:extLst>
              <a:ext uri="{FF2B5EF4-FFF2-40B4-BE49-F238E27FC236}">
                <a16:creationId xmlns:a16="http://schemas.microsoft.com/office/drawing/2014/main" id="{74B46013-BAA0-473A-984E-C8EABA70ACF8}"/>
              </a:ext>
            </a:extLst>
          </p:cNvPr>
          <p:cNvPicPr>
            <a:picLocks noChangeAspect="1"/>
          </p:cNvPicPr>
          <p:nvPr userDrawn="1"/>
        </p:nvPicPr>
        <p:blipFill rotWithShape="1">
          <a:blip r:embed="rId9"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
        <p:nvSpPr>
          <p:cNvPr id="38" name="Espace réservé du texte 7">
            <a:extLst>
              <a:ext uri="{FF2B5EF4-FFF2-40B4-BE49-F238E27FC236}">
                <a16:creationId xmlns:a16="http://schemas.microsoft.com/office/drawing/2014/main" id="{DC3CC124-19C7-4C9A-AA66-80A6295221C9}"/>
              </a:ext>
            </a:extLst>
          </p:cNvPr>
          <p:cNvSpPr>
            <a:spLocks noGrp="1"/>
          </p:cNvSpPr>
          <p:nvPr>
            <p:ph type="body" sz="quarter" idx="12" hasCustomPrompt="1"/>
          </p:nvPr>
        </p:nvSpPr>
        <p:spPr>
          <a:xfrm>
            <a:off x="789482" y="1813560"/>
            <a:ext cx="3210534" cy="4251957"/>
          </a:xfrm>
          <a:solidFill>
            <a:schemeClr val="accent5"/>
          </a:solidFill>
        </p:spPr>
        <p:txBody>
          <a:bodyPr tIns="1260000"/>
          <a:lstStyle>
            <a:lvl1pPr>
              <a:lnSpc>
                <a:spcPct val="110000"/>
              </a:lnSpc>
              <a:defRPr sz="1600" b="0">
                <a:solidFill>
                  <a:schemeClr val="bg1"/>
                </a:solidFill>
              </a:defRPr>
            </a:lvl1pPr>
            <a:lvl2pPr marL="228600" indent="-228600">
              <a:lnSpc>
                <a:spcPct val="110000"/>
              </a:lnSpc>
              <a:spcBef>
                <a:spcPts val="1800"/>
              </a:spcBef>
              <a:buFont typeface="Century Gothic" panose="020B0502020202020204" pitchFamily="34" charset="0"/>
              <a:buChar char=" "/>
              <a:defRPr sz="1050">
                <a:solidFill>
                  <a:schemeClr val="bg1"/>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0" name="Espace réservé du texte 7">
            <a:extLst>
              <a:ext uri="{FF2B5EF4-FFF2-40B4-BE49-F238E27FC236}">
                <a16:creationId xmlns:a16="http://schemas.microsoft.com/office/drawing/2014/main" id="{62A62E1F-32D6-4071-9079-B7144ED9C9F2}"/>
              </a:ext>
            </a:extLst>
          </p:cNvPr>
          <p:cNvSpPr>
            <a:spLocks noGrp="1"/>
          </p:cNvSpPr>
          <p:nvPr>
            <p:ph type="body" sz="quarter" idx="13" hasCustomPrompt="1"/>
          </p:nvPr>
        </p:nvSpPr>
        <p:spPr>
          <a:xfrm>
            <a:off x="4297109" y="1813560"/>
            <a:ext cx="3731941" cy="4251957"/>
          </a:xfrm>
          <a:solidFill>
            <a:schemeClr val="bg2"/>
          </a:solidFill>
        </p:spPr>
        <p:txBody>
          <a:bodyPr tIns="1260000"/>
          <a:lstStyle>
            <a:lvl1pPr>
              <a:lnSpc>
                <a:spcPct val="110000"/>
              </a:lnSpc>
              <a:defRPr sz="1600" b="0">
                <a:solidFill>
                  <a:schemeClr val="bg1"/>
                </a:solidFill>
              </a:defRPr>
            </a:lvl1pPr>
            <a:lvl2pPr marL="228600" indent="-228600">
              <a:lnSpc>
                <a:spcPct val="110000"/>
              </a:lnSpc>
              <a:spcBef>
                <a:spcPts val="1800"/>
              </a:spcBef>
              <a:buFont typeface="Century Gothic" panose="020B0502020202020204" pitchFamily="34" charset="0"/>
              <a:buChar char=" "/>
              <a:defRPr sz="1050">
                <a:solidFill>
                  <a:schemeClr val="bg1"/>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1" name="Espace réservé du texte 7">
            <a:extLst>
              <a:ext uri="{FF2B5EF4-FFF2-40B4-BE49-F238E27FC236}">
                <a16:creationId xmlns:a16="http://schemas.microsoft.com/office/drawing/2014/main" id="{985B5D9C-930C-4A5C-A60E-4D1969A96138}"/>
              </a:ext>
            </a:extLst>
          </p:cNvPr>
          <p:cNvSpPr>
            <a:spLocks noGrp="1"/>
          </p:cNvSpPr>
          <p:nvPr>
            <p:ph type="body" sz="quarter" idx="14" hasCustomPrompt="1"/>
          </p:nvPr>
        </p:nvSpPr>
        <p:spPr>
          <a:xfrm>
            <a:off x="8326143" y="1813560"/>
            <a:ext cx="3210537" cy="4251957"/>
          </a:xfrm>
          <a:solidFill>
            <a:schemeClr val="bg1"/>
          </a:solidFill>
        </p:spPr>
        <p:txBody>
          <a:bodyPr tIns="1260000"/>
          <a:lstStyle>
            <a:lvl1pPr>
              <a:lnSpc>
                <a:spcPct val="110000"/>
              </a:lnSpc>
              <a:defRPr sz="1600" b="0">
                <a:solidFill>
                  <a:schemeClr val="bg2"/>
                </a:solidFill>
              </a:defRPr>
            </a:lvl1pPr>
            <a:lvl2pPr marL="228600" indent="-228600">
              <a:lnSpc>
                <a:spcPct val="110000"/>
              </a:lnSpc>
              <a:spcBef>
                <a:spcPts val="1800"/>
              </a:spcBef>
              <a:buFont typeface="Century Gothic" panose="020B0502020202020204" pitchFamily="34" charset="0"/>
              <a:buChar char=" "/>
              <a:defRPr sz="1050">
                <a:solidFill>
                  <a:schemeClr val="bg2"/>
                </a:solidFill>
              </a:defRPr>
            </a:lvl2pPr>
            <a:lvl3pPr marL="484188" indent="0">
              <a:buNone/>
              <a:defRPr>
                <a:solidFill>
                  <a:schemeClr val="bg1"/>
                </a:solidFill>
              </a:defRPr>
            </a:lvl3pPr>
            <a:lvl4pPr>
              <a:defRPr>
                <a:solidFill>
                  <a:schemeClr val="bg1"/>
                </a:solidFill>
              </a:defRPr>
            </a:lvl4pPr>
            <a:lvl5pPr>
              <a:defRPr>
                <a:solidFill>
                  <a:schemeClr val="bg1"/>
                </a:solidFill>
              </a:defRPr>
            </a:lvl5pPr>
          </a:lstStyle>
          <a:p>
            <a:pPr lvl="0"/>
            <a:r>
              <a:rPr lang="en-GB"/>
              <a:t>Title of the paragraph</a:t>
            </a:r>
          </a:p>
          <a:p>
            <a:pPr lvl="1"/>
            <a:r>
              <a:rPr lang="en-GB"/>
              <a:t>Deuxième niveau</a:t>
            </a:r>
            <a:endParaRPr lang="en-GB" dirty="0"/>
          </a:p>
        </p:txBody>
      </p:sp>
      <p:sp>
        <p:nvSpPr>
          <p:cNvPr id="45" name="Espace réservé du texte 9">
            <a:extLst>
              <a:ext uri="{FF2B5EF4-FFF2-40B4-BE49-F238E27FC236}">
                <a16:creationId xmlns:a16="http://schemas.microsoft.com/office/drawing/2014/main" id="{7F34C2EB-12D8-47DB-8269-DA3E3843F9F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solidFill>
                  <a:schemeClr val="bg1"/>
                </a:solidFill>
              </a:defRPr>
            </a:lvl1pPr>
          </a:lstStyle>
          <a:p>
            <a:pPr lvl="0"/>
            <a:r>
              <a:rPr lang="en-GB" dirty="0"/>
              <a:t>Click here to insert footnotes</a:t>
            </a:r>
          </a:p>
        </p:txBody>
      </p:sp>
      <p:sp>
        <p:nvSpPr>
          <p:cNvPr id="20" name="Titre 1">
            <a:extLst>
              <a:ext uri="{FF2B5EF4-FFF2-40B4-BE49-F238E27FC236}">
                <a16:creationId xmlns:a16="http://schemas.microsoft.com/office/drawing/2014/main" id="{FC98BFBB-6D7E-4A26-98B1-394676FF27D1}"/>
              </a:ext>
            </a:extLst>
          </p:cNvPr>
          <p:cNvSpPr>
            <a:spLocks noGrp="1"/>
          </p:cNvSpPr>
          <p:nvPr>
            <p:ph type="title" hasCustomPrompt="1"/>
          </p:nvPr>
        </p:nvSpPr>
        <p:spPr>
          <a:xfrm>
            <a:off x="741530" y="440971"/>
            <a:ext cx="10795150" cy="867930"/>
          </a:xfrm>
        </p:spPr>
        <p:txBody>
          <a:bodyPr vert="horz"/>
          <a:lstStyle>
            <a:lvl1pPr>
              <a:defRPr>
                <a:solidFill>
                  <a:schemeClr val="bg1"/>
                </a:solidFill>
              </a:defRPr>
            </a:lvl1pPr>
          </a:lstStyle>
          <a:p>
            <a:r>
              <a:rPr lang="en-GB" dirty="0"/>
              <a:t>TITLE OF THE SLIDE</a:t>
            </a:r>
            <a:br>
              <a:rPr lang="en-GB" dirty="0"/>
            </a:br>
            <a:r>
              <a:rPr lang="en-GB" dirty="0"/>
              <a:t>on two lines</a:t>
            </a:r>
          </a:p>
        </p:txBody>
      </p:sp>
      <p:cxnSp>
        <p:nvCxnSpPr>
          <p:cNvPr id="22" name="Connecteur droit 21">
            <a:extLst>
              <a:ext uri="{FF2B5EF4-FFF2-40B4-BE49-F238E27FC236}">
                <a16:creationId xmlns:a16="http://schemas.microsoft.com/office/drawing/2014/main" id="{9A99B96A-6FA9-4F8E-82CA-FF27849E2662}"/>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727103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genda X3">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4"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2413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19"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13" name="Espace réservé du texte 12">
            <a:extLst>
              <a:ext uri="{FF2B5EF4-FFF2-40B4-BE49-F238E27FC236}">
                <a16:creationId xmlns:a16="http://schemas.microsoft.com/office/drawing/2014/main" id="{F95A0250-EC7F-449C-9178-A36C64B242B8}"/>
              </a:ext>
            </a:extLst>
          </p:cNvPr>
          <p:cNvSpPr>
            <a:spLocks noGrp="1"/>
          </p:cNvSpPr>
          <p:nvPr>
            <p:ph type="body" sz="quarter" idx="13" hasCustomPrompt="1"/>
          </p:nvPr>
        </p:nvSpPr>
        <p:spPr>
          <a:xfrm>
            <a:off x="16219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3" name="Espace réservé du texte 12">
            <a:extLst>
              <a:ext uri="{FF2B5EF4-FFF2-40B4-BE49-F238E27FC236}">
                <a16:creationId xmlns:a16="http://schemas.microsoft.com/office/drawing/2014/main" id="{FE492973-3F3C-44A2-9F63-4A0E4EEF66F5}"/>
              </a:ext>
            </a:extLst>
          </p:cNvPr>
          <p:cNvSpPr>
            <a:spLocks noGrp="1"/>
          </p:cNvSpPr>
          <p:nvPr>
            <p:ph type="body" sz="quarter" idx="31" hasCustomPrompt="1"/>
          </p:nvPr>
        </p:nvSpPr>
        <p:spPr>
          <a:xfrm>
            <a:off x="49493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4" name="Espace réservé du texte 12">
            <a:extLst>
              <a:ext uri="{FF2B5EF4-FFF2-40B4-BE49-F238E27FC236}">
                <a16:creationId xmlns:a16="http://schemas.microsoft.com/office/drawing/2014/main" id="{AC00A5EF-032B-4B65-9C16-D0C550EC9A88}"/>
              </a:ext>
            </a:extLst>
          </p:cNvPr>
          <p:cNvSpPr>
            <a:spLocks noGrp="1"/>
          </p:cNvSpPr>
          <p:nvPr>
            <p:ph type="body" sz="quarter" idx="32" hasCustomPrompt="1"/>
          </p:nvPr>
        </p:nvSpPr>
        <p:spPr>
          <a:xfrm>
            <a:off x="82767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11" name="Espace réservé du texte 10">
            <a:extLst>
              <a:ext uri="{FF2B5EF4-FFF2-40B4-BE49-F238E27FC236}">
                <a16:creationId xmlns:a16="http://schemas.microsoft.com/office/drawing/2014/main" id="{09C28D7D-7FAA-4687-8B35-D6B382EEF402}"/>
              </a:ext>
            </a:extLst>
          </p:cNvPr>
          <p:cNvSpPr>
            <a:spLocks noGrp="1"/>
          </p:cNvSpPr>
          <p:nvPr>
            <p:ph type="body" sz="quarter" idx="12" hasCustomPrompt="1"/>
          </p:nvPr>
        </p:nvSpPr>
        <p:spPr>
          <a:xfrm>
            <a:off x="16219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6" name="Espace réservé du texte 10">
            <a:extLst>
              <a:ext uri="{FF2B5EF4-FFF2-40B4-BE49-F238E27FC236}">
                <a16:creationId xmlns:a16="http://schemas.microsoft.com/office/drawing/2014/main" id="{0E3F8EC7-1DAC-46EA-943C-9E807DBAE6DE}"/>
              </a:ext>
            </a:extLst>
          </p:cNvPr>
          <p:cNvSpPr>
            <a:spLocks noGrp="1"/>
          </p:cNvSpPr>
          <p:nvPr>
            <p:ph type="body" sz="quarter" idx="34" hasCustomPrompt="1"/>
          </p:nvPr>
        </p:nvSpPr>
        <p:spPr>
          <a:xfrm>
            <a:off x="49493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7" name="Espace réservé du texte 10">
            <a:extLst>
              <a:ext uri="{FF2B5EF4-FFF2-40B4-BE49-F238E27FC236}">
                <a16:creationId xmlns:a16="http://schemas.microsoft.com/office/drawing/2014/main" id="{5D594DA8-94DC-4ED7-87B3-441F7A5A2015}"/>
              </a:ext>
            </a:extLst>
          </p:cNvPr>
          <p:cNvSpPr>
            <a:spLocks noGrp="1"/>
          </p:cNvSpPr>
          <p:nvPr>
            <p:ph type="body" sz="quarter" idx="35" hasCustomPrompt="1"/>
          </p:nvPr>
        </p:nvSpPr>
        <p:spPr>
          <a:xfrm>
            <a:off x="82767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Tree>
    <p:extLst>
      <p:ext uri="{BB962C8B-B14F-4D97-AF65-F5344CB8AC3E}">
        <p14:creationId xmlns:p14="http://schemas.microsoft.com/office/powerpoint/2010/main" val="22890868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 10 txt blocs">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80AB8A91-42C5-4698-869C-7D717607A8B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746" name="Diapositive think-cell" r:id="rId4" imgW="532" imgH="530" progId="TCLayout.ActiveDocument.1">
                  <p:embed/>
                </p:oleObj>
              </mc:Choice>
              <mc:Fallback>
                <p:oleObj name="Diapositive think-cell" r:id="rId4" imgW="532" imgH="530" progId="TCLayout.ActiveDocument.1">
                  <p:embed/>
                  <p:pic>
                    <p:nvPicPr>
                      <p:cNvPr id="6" name="Objet 5" hidden="1">
                        <a:extLst>
                          <a:ext uri="{FF2B5EF4-FFF2-40B4-BE49-F238E27FC236}">
                            <a16:creationId xmlns:a16="http://schemas.microsoft.com/office/drawing/2014/main" id="{80AB8A91-42C5-4698-869C-7D717607A8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2B851579-7991-49D9-B1AC-E66F5B70F5E4}"/>
              </a:ext>
            </a:extLst>
          </p:cNvPr>
          <p:cNvSpPr/>
          <p:nvPr userDrawn="1"/>
        </p:nvSpPr>
        <p:spPr>
          <a:xfrm>
            <a:off x="0" y="0"/>
            <a:ext cx="12192000" cy="4968240"/>
          </a:xfrm>
          <a:prstGeom prst="rect">
            <a:avLst/>
          </a:prstGeom>
          <a:solidFill>
            <a:srgbClr val="E5ED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re 1">
            <a:extLst>
              <a:ext uri="{FF2B5EF4-FFF2-40B4-BE49-F238E27FC236}">
                <a16:creationId xmlns:a16="http://schemas.microsoft.com/office/drawing/2014/main" id="{74C5B305-401A-4DE6-AD6E-B5549364DE3E}"/>
              </a:ext>
            </a:extLst>
          </p:cNvPr>
          <p:cNvSpPr>
            <a:spLocks noGrp="1"/>
          </p:cNvSpPr>
          <p:nvPr>
            <p:ph type="title" hasCustomPrompt="1"/>
          </p:nvPr>
        </p:nvSpPr>
        <p:spPr/>
        <p:txBody>
          <a:bodyPr vert="horz"/>
          <a:lstStyle>
            <a:lvl1pPr>
              <a:defRPr/>
            </a:lvl1pPr>
          </a:lstStyle>
          <a:p>
            <a:r>
              <a:rPr lang="en-GB"/>
              <a:t>TITLE OF THE SLIDE</a:t>
            </a:r>
            <a:endParaRPr lang="en-GB" dirty="0"/>
          </a:p>
        </p:txBody>
      </p:sp>
      <p:cxnSp>
        <p:nvCxnSpPr>
          <p:cNvPr id="7" name="Connecteur droit 6">
            <a:extLst>
              <a:ext uri="{FF2B5EF4-FFF2-40B4-BE49-F238E27FC236}">
                <a16:creationId xmlns:a16="http://schemas.microsoft.com/office/drawing/2014/main" id="{83873ABF-4CD5-4559-B651-DE5FCB9990BC}"/>
              </a:ext>
            </a:extLst>
          </p:cNvPr>
          <p:cNvCxnSpPr>
            <a:cxnSpLocks/>
          </p:cNvCxnSpPr>
          <p:nvPr userDrawn="1"/>
        </p:nvCxnSpPr>
        <p:spPr>
          <a:xfrm>
            <a:off x="771688" y="8950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Espace réservé du texte 14">
            <a:extLst>
              <a:ext uri="{FF2B5EF4-FFF2-40B4-BE49-F238E27FC236}">
                <a16:creationId xmlns:a16="http://schemas.microsoft.com/office/drawing/2014/main" id="{9BE5C6BF-4E68-40FB-A5B2-264606B96E39}"/>
              </a:ext>
            </a:extLst>
          </p:cNvPr>
          <p:cNvSpPr>
            <a:spLocks noGrp="1"/>
          </p:cNvSpPr>
          <p:nvPr>
            <p:ph type="body" sz="quarter" idx="11" hasCustomPrompt="1"/>
          </p:nvPr>
        </p:nvSpPr>
        <p:spPr>
          <a:xfrm>
            <a:off x="5840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tx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2" name="Espace réservé du texte 14">
            <a:extLst>
              <a:ext uri="{FF2B5EF4-FFF2-40B4-BE49-F238E27FC236}">
                <a16:creationId xmlns:a16="http://schemas.microsoft.com/office/drawing/2014/main" id="{E8788FC9-E4CA-4A7E-A81F-45BF89B3E483}"/>
              </a:ext>
            </a:extLst>
          </p:cNvPr>
          <p:cNvSpPr>
            <a:spLocks noGrp="1"/>
          </p:cNvSpPr>
          <p:nvPr>
            <p:ph type="body" sz="quarter" idx="12" hasCustomPrompt="1"/>
          </p:nvPr>
        </p:nvSpPr>
        <p:spPr>
          <a:xfrm>
            <a:off x="27938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1"/>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3" name="Espace réservé du texte 14">
            <a:extLst>
              <a:ext uri="{FF2B5EF4-FFF2-40B4-BE49-F238E27FC236}">
                <a16:creationId xmlns:a16="http://schemas.microsoft.com/office/drawing/2014/main" id="{AC36CCDA-E418-4F7C-82F9-DE8E967559F6}"/>
              </a:ext>
            </a:extLst>
          </p:cNvPr>
          <p:cNvSpPr>
            <a:spLocks noGrp="1"/>
          </p:cNvSpPr>
          <p:nvPr>
            <p:ph type="body" sz="quarter" idx="13" hasCustomPrompt="1"/>
          </p:nvPr>
        </p:nvSpPr>
        <p:spPr>
          <a:xfrm>
            <a:off x="50036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4" name="Espace réservé du texte 14">
            <a:extLst>
              <a:ext uri="{FF2B5EF4-FFF2-40B4-BE49-F238E27FC236}">
                <a16:creationId xmlns:a16="http://schemas.microsoft.com/office/drawing/2014/main" id="{EC46AA93-464F-4A87-AC55-28A828F2DC89}"/>
              </a:ext>
            </a:extLst>
          </p:cNvPr>
          <p:cNvSpPr>
            <a:spLocks noGrp="1"/>
          </p:cNvSpPr>
          <p:nvPr>
            <p:ph type="body" sz="quarter" idx="14" hasCustomPrompt="1"/>
          </p:nvPr>
        </p:nvSpPr>
        <p:spPr>
          <a:xfrm>
            <a:off x="72134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6"/>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5" name="Espace réservé du texte 14">
            <a:extLst>
              <a:ext uri="{FF2B5EF4-FFF2-40B4-BE49-F238E27FC236}">
                <a16:creationId xmlns:a16="http://schemas.microsoft.com/office/drawing/2014/main" id="{86F58324-EC45-4A95-A89E-C6FC94B847F4}"/>
              </a:ext>
            </a:extLst>
          </p:cNvPr>
          <p:cNvSpPr>
            <a:spLocks noGrp="1"/>
          </p:cNvSpPr>
          <p:nvPr>
            <p:ph type="body" sz="quarter" idx="15" hasCustomPrompt="1"/>
          </p:nvPr>
        </p:nvSpPr>
        <p:spPr>
          <a:xfrm>
            <a:off x="9423242" y="1954001"/>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tx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7" name="Espace réservé du texte 14">
            <a:extLst>
              <a:ext uri="{FF2B5EF4-FFF2-40B4-BE49-F238E27FC236}">
                <a16:creationId xmlns:a16="http://schemas.microsoft.com/office/drawing/2014/main" id="{067CFA64-B9BA-4CBD-B3E4-01C7E089ABDA}"/>
              </a:ext>
            </a:extLst>
          </p:cNvPr>
          <p:cNvSpPr>
            <a:spLocks noGrp="1"/>
          </p:cNvSpPr>
          <p:nvPr>
            <p:ph type="body" sz="quarter" idx="17" hasCustomPrompt="1"/>
          </p:nvPr>
        </p:nvSpPr>
        <p:spPr>
          <a:xfrm>
            <a:off x="27938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8" name="Espace réservé du texte 14">
            <a:extLst>
              <a:ext uri="{FF2B5EF4-FFF2-40B4-BE49-F238E27FC236}">
                <a16:creationId xmlns:a16="http://schemas.microsoft.com/office/drawing/2014/main" id="{AEEA2BF4-B7B4-4BC9-B8E6-32B3DE9F0E2D}"/>
              </a:ext>
            </a:extLst>
          </p:cNvPr>
          <p:cNvSpPr>
            <a:spLocks noGrp="1"/>
          </p:cNvSpPr>
          <p:nvPr>
            <p:ph type="body" sz="quarter" idx="18" hasCustomPrompt="1"/>
          </p:nvPr>
        </p:nvSpPr>
        <p:spPr>
          <a:xfrm>
            <a:off x="50036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6"/>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9" name="Espace réservé du texte 14">
            <a:extLst>
              <a:ext uri="{FF2B5EF4-FFF2-40B4-BE49-F238E27FC236}">
                <a16:creationId xmlns:a16="http://schemas.microsoft.com/office/drawing/2014/main" id="{51A15182-E932-4EBC-ADF2-7455D328F0EC}"/>
              </a:ext>
            </a:extLst>
          </p:cNvPr>
          <p:cNvSpPr>
            <a:spLocks noGrp="1"/>
          </p:cNvSpPr>
          <p:nvPr>
            <p:ph type="body" sz="quarter" idx="19" hasCustomPrompt="1"/>
          </p:nvPr>
        </p:nvSpPr>
        <p:spPr>
          <a:xfrm>
            <a:off x="72134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tx2"/>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40" name="Espace réservé du texte 14">
            <a:extLst>
              <a:ext uri="{FF2B5EF4-FFF2-40B4-BE49-F238E27FC236}">
                <a16:creationId xmlns:a16="http://schemas.microsoft.com/office/drawing/2014/main" id="{0D458BCA-0F21-4B9F-BC28-A88A7F862733}"/>
              </a:ext>
            </a:extLst>
          </p:cNvPr>
          <p:cNvSpPr>
            <a:spLocks noGrp="1"/>
          </p:cNvSpPr>
          <p:nvPr>
            <p:ph type="body" sz="quarter" idx="20" hasCustomPrompt="1"/>
          </p:nvPr>
        </p:nvSpPr>
        <p:spPr>
          <a:xfrm>
            <a:off x="94232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1"/>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sp>
        <p:nvSpPr>
          <p:cNvPr id="36" name="Espace réservé du texte 14">
            <a:extLst>
              <a:ext uri="{FF2B5EF4-FFF2-40B4-BE49-F238E27FC236}">
                <a16:creationId xmlns:a16="http://schemas.microsoft.com/office/drawing/2014/main" id="{A040FCEB-5103-4C0D-911E-3D3737D145CA}"/>
              </a:ext>
            </a:extLst>
          </p:cNvPr>
          <p:cNvSpPr>
            <a:spLocks noGrp="1"/>
          </p:cNvSpPr>
          <p:nvPr>
            <p:ph type="body" sz="quarter" idx="16" hasCustomPrompt="1"/>
          </p:nvPr>
        </p:nvSpPr>
        <p:spPr>
          <a:xfrm>
            <a:off x="584042" y="4178905"/>
            <a:ext cx="1800000" cy="1800000"/>
          </a:xfrm>
          <a:solidFill>
            <a:schemeClr val="bg1"/>
          </a:solidFill>
          <a:effectLst>
            <a:outerShdw blurRad="254000" dist="254000" dir="5400000" algn="ctr" rotWithShape="0">
              <a:srgbClr val="000000">
                <a:alpha val="12000"/>
              </a:srgbClr>
            </a:outerShdw>
          </a:effectLst>
        </p:spPr>
        <p:txBody>
          <a:bodyPr tIns="144000"/>
          <a:lstStyle>
            <a:lvl1pPr marL="88900" indent="-88900">
              <a:spcBef>
                <a:spcPts val="0"/>
              </a:spcBef>
              <a:defRPr spc="0">
                <a:solidFill>
                  <a:schemeClr val="accent1"/>
                </a:solidFill>
              </a:defRPr>
            </a:lvl1pPr>
            <a:lvl2pPr marL="88900" indent="-88900">
              <a:spcBef>
                <a:spcPts val="0"/>
              </a:spcBef>
              <a:buFont typeface="Century Gothic" panose="020B0502020202020204" pitchFamily="34" charset="0"/>
              <a:buChar char=" "/>
              <a:defRPr sz="1000" b="1" spc="0"/>
            </a:lvl2pPr>
            <a:lvl3pPr marL="88900" indent="-88900">
              <a:spcBef>
                <a:spcPts val="0"/>
              </a:spcBef>
              <a:buFont typeface="Century Gothic" panose="020B0502020202020204" pitchFamily="34" charset="0"/>
              <a:buChar char=" "/>
              <a:defRPr sz="1000" spc="0"/>
            </a:lvl3pPr>
          </a:lstStyle>
          <a:p>
            <a:pPr lvl="0"/>
            <a:r>
              <a:rPr lang="en-GB"/>
              <a:t>XX</a:t>
            </a:r>
          </a:p>
          <a:p>
            <a:pPr lvl="1"/>
            <a:r>
              <a:rPr lang="en-GB"/>
              <a:t>Deuxième niveau</a:t>
            </a:r>
          </a:p>
          <a:p>
            <a:pPr lvl="2"/>
            <a:r>
              <a:rPr lang="en-GB"/>
              <a:t>Troisième niveau</a:t>
            </a:r>
            <a:endParaRPr lang="en-GB" dirty="0"/>
          </a:p>
        </p:txBody>
      </p:sp>
      <p:grpSp>
        <p:nvGrpSpPr>
          <p:cNvPr id="41" name="Groupe 40">
            <a:extLst>
              <a:ext uri="{FF2B5EF4-FFF2-40B4-BE49-F238E27FC236}">
                <a16:creationId xmlns:a16="http://schemas.microsoft.com/office/drawing/2014/main" id="{A5D4E8F4-BD66-45BF-AF3E-7AE8BBCCA594}"/>
              </a:ext>
            </a:extLst>
          </p:cNvPr>
          <p:cNvGrpSpPr/>
          <p:nvPr userDrawn="1"/>
        </p:nvGrpSpPr>
        <p:grpSpPr>
          <a:xfrm>
            <a:off x="12371453" y="0"/>
            <a:ext cx="1885826" cy="1528108"/>
            <a:chOff x="7045594" y="2588002"/>
            <a:chExt cx="1885826" cy="1528108"/>
          </a:xfrm>
        </p:grpSpPr>
        <p:grpSp>
          <p:nvGrpSpPr>
            <p:cNvPr id="42" name="Groupe 41">
              <a:extLst>
                <a:ext uri="{FF2B5EF4-FFF2-40B4-BE49-F238E27FC236}">
                  <a16:creationId xmlns:a16="http://schemas.microsoft.com/office/drawing/2014/main" id="{DD294017-D924-4474-8D57-52AFD94560E1}"/>
                </a:ext>
              </a:extLst>
            </p:cNvPr>
            <p:cNvGrpSpPr/>
            <p:nvPr/>
          </p:nvGrpSpPr>
          <p:grpSpPr>
            <a:xfrm>
              <a:off x="7045594" y="2588002"/>
              <a:ext cx="1885826" cy="1528108"/>
              <a:chOff x="2689543" y="1651754"/>
              <a:chExt cx="1885826" cy="1528108"/>
            </a:xfrm>
          </p:grpSpPr>
          <p:sp>
            <p:nvSpPr>
              <p:cNvPr id="45" name="Freeform 5">
                <a:extLst>
                  <a:ext uri="{FF2B5EF4-FFF2-40B4-BE49-F238E27FC236}">
                    <a16:creationId xmlns:a16="http://schemas.microsoft.com/office/drawing/2014/main" id="{6ECA3490-BB25-4B73-BCA5-B3816742C578}"/>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6" name="Rectangle 45">
                <a:extLst>
                  <a:ext uri="{FF2B5EF4-FFF2-40B4-BE49-F238E27FC236}">
                    <a16:creationId xmlns:a16="http://schemas.microsoft.com/office/drawing/2014/main" id="{64AD2F7A-CC2A-4717-94F7-CB74FD9F157E}"/>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43" name="Image 42">
              <a:extLst>
                <a:ext uri="{FF2B5EF4-FFF2-40B4-BE49-F238E27FC236}">
                  <a16:creationId xmlns:a16="http://schemas.microsoft.com/office/drawing/2014/main" id="{B23B9055-FF74-428E-814A-D94B7495A00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44" name="Image 43">
              <a:extLst>
                <a:ext uri="{FF2B5EF4-FFF2-40B4-BE49-F238E27FC236}">
                  <a16:creationId xmlns:a16="http://schemas.microsoft.com/office/drawing/2014/main" id="{A98C00A8-2355-4119-AA0B-5150A1BE92F8}"/>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
        <p:nvSpPr>
          <p:cNvPr id="47" name="Espace réservé du texte 9">
            <a:extLst>
              <a:ext uri="{FF2B5EF4-FFF2-40B4-BE49-F238E27FC236}">
                <a16:creationId xmlns:a16="http://schemas.microsoft.com/office/drawing/2014/main" id="{B3767686-BB6C-4311-A51B-77C4CDECE7DB}"/>
              </a:ext>
            </a:extLst>
          </p:cNvPr>
          <p:cNvSpPr>
            <a:spLocks noGrp="1"/>
          </p:cNvSpPr>
          <p:nvPr>
            <p:ph type="body" sz="quarter" idx="2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solidFill>
                  <a:schemeClr val="bg2"/>
                </a:solidFill>
              </a:defRPr>
            </a:lvl1pPr>
          </a:lstStyle>
          <a:p>
            <a:pPr lvl="0"/>
            <a:r>
              <a:rPr lang="en-GB" dirty="0"/>
              <a:t>Click here to insert footnotes</a:t>
            </a:r>
          </a:p>
        </p:txBody>
      </p:sp>
    </p:spTree>
    <p:extLst>
      <p:ext uri="{BB962C8B-B14F-4D97-AF65-F5344CB8AC3E}">
        <p14:creationId xmlns:p14="http://schemas.microsoft.com/office/powerpoint/2010/main" val="19210102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 Fre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70"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29" y="440971"/>
            <a:ext cx="10942471" cy="480131"/>
          </a:xfrm>
        </p:spPr>
        <p:txBody>
          <a:bodyPr vert="horz"/>
          <a:lstStyle>
            <a:lvl1pPr>
              <a:defRPr/>
            </a:lvl1pPr>
          </a:lstStyle>
          <a:p>
            <a:r>
              <a:rPr lang="en-GB" dirty="0"/>
              <a:t>TITLE OF THE SLIDE</a:t>
            </a:r>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Tree>
    <p:extLst>
      <p:ext uri="{BB962C8B-B14F-4D97-AF65-F5344CB8AC3E}">
        <p14:creationId xmlns:p14="http://schemas.microsoft.com/office/powerpoint/2010/main" val="25144137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2 Lines + Free">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94"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sp>
        <p:nvSpPr>
          <p:cNvPr id="6" name="Titre 1">
            <a:extLst>
              <a:ext uri="{FF2B5EF4-FFF2-40B4-BE49-F238E27FC236}">
                <a16:creationId xmlns:a16="http://schemas.microsoft.com/office/drawing/2014/main" id="{E11F620C-1D62-471C-92A5-5E5706962759}"/>
              </a:ext>
            </a:extLst>
          </p:cNvPr>
          <p:cNvSpPr>
            <a:spLocks noGrp="1"/>
          </p:cNvSpPr>
          <p:nvPr>
            <p:ph type="title" hasCustomPrompt="1"/>
          </p:nvPr>
        </p:nvSpPr>
        <p:spPr>
          <a:xfrm>
            <a:off x="741529" y="440971"/>
            <a:ext cx="10942471" cy="867930"/>
          </a:xfrm>
        </p:spPr>
        <p:txBody>
          <a:bodyPr vert="horz"/>
          <a:lstStyle>
            <a:lvl1pPr>
              <a:defRPr/>
            </a:lvl1pPr>
          </a:lstStyle>
          <a:p>
            <a:r>
              <a:rPr lang="en-GB" dirty="0"/>
              <a:t>TITLE OF THE SLIDE</a:t>
            </a:r>
            <a:br>
              <a:rPr lang="en-GB" dirty="0"/>
            </a:br>
            <a:r>
              <a:rPr lang="en-GB" dirty="0"/>
              <a:t>on two lines</a:t>
            </a:r>
          </a:p>
        </p:txBody>
      </p:sp>
      <p:cxnSp>
        <p:nvCxnSpPr>
          <p:cNvPr id="7" name="Connecteur droit 6">
            <a:extLst>
              <a:ext uri="{FF2B5EF4-FFF2-40B4-BE49-F238E27FC236}">
                <a16:creationId xmlns:a16="http://schemas.microsoft.com/office/drawing/2014/main" id="{90622B41-91FE-4449-A785-BCCA61C01878}"/>
              </a:ext>
            </a:extLst>
          </p:cNvPr>
          <p:cNvCxnSpPr>
            <a:cxnSpLocks/>
          </p:cNvCxnSpPr>
          <p:nvPr userDrawn="1"/>
        </p:nvCxnSpPr>
        <p:spPr>
          <a:xfrm>
            <a:off x="741529" y="1339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0039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sp>
        <p:nvSpPr>
          <p:cNvPr id="7" name="Espace réservé du numéro de diapositive 5"/>
          <p:cNvSpPr>
            <a:spLocks noGrp="1"/>
          </p:cNvSpPr>
          <p:nvPr>
            <p:ph type="sldNum" sz="quarter" idx="4"/>
          </p:nvPr>
        </p:nvSpPr>
        <p:spPr>
          <a:xfrm>
            <a:off x="527051" y="6518709"/>
            <a:ext cx="197752" cy="148312"/>
          </a:xfrm>
          <a:prstGeom prst="rect">
            <a:avLst/>
          </a:prstGeom>
          <a:solidFill>
            <a:schemeClr val="bg2"/>
          </a:solidFill>
        </p:spPr>
        <p:txBody>
          <a:bodyPr vert="horz" wrap="none" lIns="91440" tIns="45720" rIns="91440" bIns="45720" rtlCol="0" anchor="ctr"/>
          <a:lstStyle>
            <a:lvl1pPr algn="ctr">
              <a:defRPr sz="800" b="1">
                <a:solidFill>
                  <a:schemeClr val="bg1"/>
                </a:solidFill>
              </a:defRPr>
            </a:lvl1pPr>
          </a:lstStyle>
          <a:p>
            <a:fld id="{F7A3F48B-818E-4440-B2BA-2245DD423899}" type="slidenum">
              <a:rPr lang="fr-FR" smtClean="0"/>
              <a:pPr/>
              <a:t>‹#›</a:t>
            </a:fld>
            <a:endParaRPr lang="fr-FR" dirty="0"/>
          </a:p>
        </p:txBody>
      </p:sp>
      <p:sp>
        <p:nvSpPr>
          <p:cNvPr id="41" name="Espace réservé du pied de page 4"/>
          <p:cNvSpPr>
            <a:spLocks noGrp="1"/>
          </p:cNvSpPr>
          <p:nvPr>
            <p:ph type="ftr" sz="quarter" idx="3"/>
          </p:nvPr>
        </p:nvSpPr>
        <p:spPr>
          <a:xfrm>
            <a:off x="929429" y="6531310"/>
            <a:ext cx="5712000" cy="123111"/>
          </a:xfrm>
          <a:prstGeom prst="rect">
            <a:avLst/>
          </a:prstGeom>
        </p:spPr>
        <p:txBody>
          <a:bodyPr vert="horz" lIns="0" tIns="0" rIns="0" bIns="0" rtlCol="0" anchor="ctr">
            <a:spAutoFit/>
          </a:bodyPr>
          <a:lstStyle>
            <a:lvl1pPr algn="l">
              <a:defRPr sz="800">
                <a:solidFill>
                  <a:schemeClr val="accent1"/>
                </a:solidFill>
              </a:defRPr>
            </a:lvl1pPr>
          </a:lstStyle>
          <a:p>
            <a:r>
              <a:rPr lang="en-US"/>
              <a:t>COFACE, THE MOST AGILE GLOBAL TRADE CREDIT PARTNER IN THE INDUSTRY</a:t>
            </a:r>
            <a:endParaRPr lang="fr-FR" dirty="0"/>
          </a:p>
        </p:txBody>
      </p:sp>
      <p:sp>
        <p:nvSpPr>
          <p:cNvPr id="52" name="Freeform 6"/>
          <p:cNvSpPr>
            <a:spLocks/>
          </p:cNvSpPr>
          <p:nvPr userDrawn="1"/>
        </p:nvSpPr>
        <p:spPr bwMode="auto">
          <a:xfrm>
            <a:off x="3522135" y="-1588"/>
            <a:ext cx="5147733" cy="6858000"/>
          </a:xfrm>
          <a:custGeom>
            <a:avLst/>
            <a:gdLst>
              <a:gd name="T0" fmla="*/ 0 w 2432"/>
              <a:gd name="T1" fmla="*/ 4320 h 4320"/>
              <a:gd name="T2" fmla="*/ 508 w 2432"/>
              <a:gd name="T3" fmla="*/ 4320 h 4320"/>
              <a:gd name="T4" fmla="*/ 2432 w 2432"/>
              <a:gd name="T5" fmla="*/ 0 h 4320"/>
              <a:gd name="T6" fmla="*/ 1924 w 2432"/>
              <a:gd name="T7" fmla="*/ 0 h 4320"/>
            </a:gdLst>
            <a:ahLst/>
            <a:cxnLst>
              <a:cxn ang="0">
                <a:pos x="T0" y="T1"/>
              </a:cxn>
              <a:cxn ang="0">
                <a:pos x="T2" y="T3"/>
              </a:cxn>
              <a:cxn ang="0">
                <a:pos x="T4" y="T5"/>
              </a:cxn>
              <a:cxn ang="0">
                <a:pos x="T6" y="T7"/>
              </a:cxn>
            </a:cxnLst>
            <a:rect l="0" t="0" r="r" b="b"/>
            <a:pathLst>
              <a:path w="2432" h="4320">
                <a:moveTo>
                  <a:pt x="0" y="4320"/>
                </a:moveTo>
                <a:lnTo>
                  <a:pt x="508" y="4320"/>
                </a:lnTo>
                <a:lnTo>
                  <a:pt x="2432" y="0"/>
                </a:lnTo>
                <a:lnTo>
                  <a:pt x="192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57" name="Freeform 11"/>
          <p:cNvSpPr>
            <a:spLocks/>
          </p:cNvSpPr>
          <p:nvPr userDrawn="1"/>
        </p:nvSpPr>
        <p:spPr bwMode="auto">
          <a:xfrm>
            <a:off x="3875618" y="-1588"/>
            <a:ext cx="4442884" cy="6858000"/>
          </a:xfrm>
          <a:custGeom>
            <a:avLst/>
            <a:gdLst>
              <a:gd name="T0" fmla="*/ 0 w 2099"/>
              <a:gd name="T1" fmla="*/ 4320 h 4320"/>
              <a:gd name="T2" fmla="*/ 174 w 2099"/>
              <a:gd name="T3" fmla="*/ 4320 h 4320"/>
              <a:gd name="T4" fmla="*/ 2099 w 2099"/>
              <a:gd name="T5" fmla="*/ 0 h 4320"/>
              <a:gd name="T6" fmla="*/ 1925 w 2099"/>
              <a:gd name="T7" fmla="*/ 0 h 4320"/>
            </a:gdLst>
            <a:ahLst/>
            <a:cxnLst>
              <a:cxn ang="0">
                <a:pos x="T0" y="T1"/>
              </a:cxn>
              <a:cxn ang="0">
                <a:pos x="T2" y="T3"/>
              </a:cxn>
              <a:cxn ang="0">
                <a:pos x="T4" y="T5"/>
              </a:cxn>
              <a:cxn ang="0">
                <a:pos x="T6" y="T7"/>
              </a:cxn>
            </a:cxnLst>
            <a:rect l="0" t="0" r="r" b="b"/>
            <a:pathLst>
              <a:path w="2099" h="4320">
                <a:moveTo>
                  <a:pt x="0" y="4320"/>
                </a:moveTo>
                <a:lnTo>
                  <a:pt x="174" y="4320"/>
                </a:lnTo>
                <a:lnTo>
                  <a:pt x="2099" y="0"/>
                </a:lnTo>
                <a:lnTo>
                  <a:pt x="192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sz="1800"/>
          </a:p>
        </p:txBody>
      </p:sp>
      <p:sp>
        <p:nvSpPr>
          <p:cNvPr id="11" name="Espace réservé du texte 44"/>
          <p:cNvSpPr>
            <a:spLocks noGrp="1"/>
          </p:cNvSpPr>
          <p:nvPr>
            <p:ph type="body" sz="quarter" idx="13"/>
          </p:nvPr>
        </p:nvSpPr>
        <p:spPr>
          <a:xfrm>
            <a:off x="527050" y="395288"/>
            <a:ext cx="11137901" cy="655564"/>
          </a:xfrm>
          <a:blipFill dpi="0" rotWithShape="1">
            <a:blip r:embed="rId2"/>
            <a:srcRect/>
            <a:tile tx="6350" ty="0" sx="100000" sy="100000" flip="none" algn="tl"/>
          </a:blipFill>
        </p:spPr>
        <p:txBody>
          <a:bodyPr wrap="square" bIns="0">
            <a:spAutoFit/>
          </a:bodyPr>
          <a:lstStyle>
            <a:lvl1pPr marL="0" indent="0">
              <a:spcBef>
                <a:spcPts val="0"/>
              </a:spcBef>
              <a:buNone/>
              <a:defRPr sz="2400" cap="all" baseline="0">
                <a:solidFill>
                  <a:schemeClr val="tx2"/>
                </a:solidFill>
              </a:defRPr>
            </a:lvl1pPr>
            <a:lvl2pPr marL="0" indent="0">
              <a:spcBef>
                <a:spcPts val="0"/>
              </a:spcBef>
              <a:buNone/>
              <a:defRPr sz="2000" cap="all" baseline="0">
                <a:solidFill>
                  <a:schemeClr val="bg2"/>
                </a:solidFill>
              </a:defRPr>
            </a:lvl2pPr>
            <a:lvl3pPr marL="685800" indent="0">
              <a:buNone/>
              <a:defRPr/>
            </a:lvl3pPr>
          </a:lstStyle>
          <a:p>
            <a:pPr lvl="0"/>
            <a:r>
              <a:rPr lang="fr-FR" dirty="0"/>
              <a:t>Modifier les styles du texte du masque</a:t>
            </a:r>
          </a:p>
          <a:p>
            <a:pPr lvl="1"/>
            <a:r>
              <a:rPr lang="fr-FR" dirty="0"/>
              <a:t>Deuxième niveau</a:t>
            </a:r>
          </a:p>
        </p:txBody>
      </p:sp>
      <p:sp>
        <p:nvSpPr>
          <p:cNvPr id="12" name="Espace réservé du texte 18"/>
          <p:cNvSpPr>
            <a:spLocks noGrp="1"/>
          </p:cNvSpPr>
          <p:nvPr>
            <p:ph type="body" sz="quarter" idx="14" hasCustomPrompt="1"/>
          </p:nvPr>
        </p:nvSpPr>
        <p:spPr>
          <a:xfrm>
            <a:off x="825500" y="6534149"/>
            <a:ext cx="4800" cy="118800"/>
          </a:xfrm>
          <a:blipFill>
            <a:blip r:embed="rId3"/>
            <a:stretch>
              <a:fillRect/>
            </a:stretch>
          </a:blipFill>
        </p:spPr>
        <p:txBody>
          <a:bodyPr/>
          <a:lstStyle>
            <a:lvl1pPr marL="0" indent="0">
              <a:buNone/>
              <a:defRPr/>
            </a:lvl1pPr>
          </a:lstStyle>
          <a:p>
            <a:pPr lvl="0"/>
            <a:r>
              <a:rPr lang="fr-FR" dirty="0"/>
              <a:t> </a:t>
            </a:r>
          </a:p>
        </p:txBody>
      </p:sp>
    </p:spTree>
    <p:extLst>
      <p:ext uri="{BB962C8B-B14F-4D97-AF65-F5344CB8AC3E}">
        <p14:creationId xmlns:p14="http://schemas.microsoft.com/office/powerpoint/2010/main" val="27796003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genda X4">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38"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2413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19" y="325639"/>
            <a:ext cx="11095246"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13" name="Espace réservé du texte 12">
            <a:extLst>
              <a:ext uri="{FF2B5EF4-FFF2-40B4-BE49-F238E27FC236}">
                <a16:creationId xmlns:a16="http://schemas.microsoft.com/office/drawing/2014/main" id="{F95A0250-EC7F-449C-9178-A36C64B242B8}"/>
              </a:ext>
            </a:extLst>
          </p:cNvPr>
          <p:cNvSpPr>
            <a:spLocks noGrp="1"/>
          </p:cNvSpPr>
          <p:nvPr>
            <p:ph type="body" sz="quarter" idx="13" hasCustomPrompt="1"/>
          </p:nvPr>
        </p:nvSpPr>
        <p:spPr>
          <a:xfrm>
            <a:off x="9996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3" name="Espace réservé du texte 12">
            <a:extLst>
              <a:ext uri="{FF2B5EF4-FFF2-40B4-BE49-F238E27FC236}">
                <a16:creationId xmlns:a16="http://schemas.microsoft.com/office/drawing/2014/main" id="{FE492973-3F3C-44A2-9F63-4A0E4EEF66F5}"/>
              </a:ext>
            </a:extLst>
          </p:cNvPr>
          <p:cNvSpPr>
            <a:spLocks noGrp="1"/>
          </p:cNvSpPr>
          <p:nvPr>
            <p:ph type="body" sz="quarter" idx="31" hasCustomPrompt="1"/>
          </p:nvPr>
        </p:nvSpPr>
        <p:spPr>
          <a:xfrm>
            <a:off x="35904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4" name="Espace réservé du texte 12">
            <a:extLst>
              <a:ext uri="{FF2B5EF4-FFF2-40B4-BE49-F238E27FC236}">
                <a16:creationId xmlns:a16="http://schemas.microsoft.com/office/drawing/2014/main" id="{AC00A5EF-032B-4B65-9C16-D0C550EC9A88}"/>
              </a:ext>
            </a:extLst>
          </p:cNvPr>
          <p:cNvSpPr>
            <a:spLocks noGrp="1"/>
          </p:cNvSpPr>
          <p:nvPr>
            <p:ph type="body" sz="quarter" idx="32" hasCustomPrompt="1"/>
          </p:nvPr>
        </p:nvSpPr>
        <p:spPr>
          <a:xfrm>
            <a:off x="61812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5" name="Espace réservé du texte 12">
            <a:extLst>
              <a:ext uri="{FF2B5EF4-FFF2-40B4-BE49-F238E27FC236}">
                <a16:creationId xmlns:a16="http://schemas.microsoft.com/office/drawing/2014/main" id="{3BCEFCCC-54C6-4599-B700-908541790405}"/>
              </a:ext>
            </a:extLst>
          </p:cNvPr>
          <p:cNvSpPr>
            <a:spLocks noGrp="1"/>
          </p:cNvSpPr>
          <p:nvPr>
            <p:ph type="body" sz="quarter" idx="33" hasCustomPrompt="1"/>
          </p:nvPr>
        </p:nvSpPr>
        <p:spPr>
          <a:xfrm>
            <a:off x="8937129" y="417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11" name="Espace réservé du texte 10">
            <a:extLst>
              <a:ext uri="{FF2B5EF4-FFF2-40B4-BE49-F238E27FC236}">
                <a16:creationId xmlns:a16="http://schemas.microsoft.com/office/drawing/2014/main" id="{09C28D7D-7FAA-4687-8B35-D6B382EEF402}"/>
              </a:ext>
            </a:extLst>
          </p:cNvPr>
          <p:cNvSpPr>
            <a:spLocks noGrp="1"/>
          </p:cNvSpPr>
          <p:nvPr>
            <p:ph type="body" sz="quarter" idx="12" hasCustomPrompt="1"/>
          </p:nvPr>
        </p:nvSpPr>
        <p:spPr>
          <a:xfrm>
            <a:off x="9996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6" name="Espace réservé du texte 10">
            <a:extLst>
              <a:ext uri="{FF2B5EF4-FFF2-40B4-BE49-F238E27FC236}">
                <a16:creationId xmlns:a16="http://schemas.microsoft.com/office/drawing/2014/main" id="{0E3F8EC7-1DAC-46EA-943C-9E807DBAE6DE}"/>
              </a:ext>
            </a:extLst>
          </p:cNvPr>
          <p:cNvSpPr>
            <a:spLocks noGrp="1"/>
          </p:cNvSpPr>
          <p:nvPr>
            <p:ph type="body" sz="quarter" idx="34" hasCustomPrompt="1"/>
          </p:nvPr>
        </p:nvSpPr>
        <p:spPr>
          <a:xfrm>
            <a:off x="35904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7" name="Espace réservé du texte 10">
            <a:extLst>
              <a:ext uri="{FF2B5EF4-FFF2-40B4-BE49-F238E27FC236}">
                <a16:creationId xmlns:a16="http://schemas.microsoft.com/office/drawing/2014/main" id="{5D594DA8-94DC-4ED7-87B3-441F7A5A2015}"/>
              </a:ext>
            </a:extLst>
          </p:cNvPr>
          <p:cNvSpPr>
            <a:spLocks noGrp="1"/>
          </p:cNvSpPr>
          <p:nvPr>
            <p:ph type="body" sz="quarter" idx="35" hasCustomPrompt="1"/>
          </p:nvPr>
        </p:nvSpPr>
        <p:spPr>
          <a:xfrm>
            <a:off x="61812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8" name="Espace réservé du texte 10">
            <a:extLst>
              <a:ext uri="{FF2B5EF4-FFF2-40B4-BE49-F238E27FC236}">
                <a16:creationId xmlns:a16="http://schemas.microsoft.com/office/drawing/2014/main" id="{DF29378A-1BBE-4DAA-B775-6C67FAF7BE5E}"/>
              </a:ext>
            </a:extLst>
          </p:cNvPr>
          <p:cNvSpPr>
            <a:spLocks noGrp="1"/>
          </p:cNvSpPr>
          <p:nvPr>
            <p:ph type="body" sz="quarter" idx="36" hasCustomPrompt="1"/>
          </p:nvPr>
        </p:nvSpPr>
        <p:spPr>
          <a:xfrm>
            <a:off x="8937129" y="33244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Tree>
    <p:extLst>
      <p:ext uri="{BB962C8B-B14F-4D97-AF65-F5344CB8AC3E}">
        <p14:creationId xmlns:p14="http://schemas.microsoft.com/office/powerpoint/2010/main" val="8044670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X5">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62"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2413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20"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13" name="Espace réservé du texte 12">
            <a:extLst>
              <a:ext uri="{FF2B5EF4-FFF2-40B4-BE49-F238E27FC236}">
                <a16:creationId xmlns:a16="http://schemas.microsoft.com/office/drawing/2014/main" id="{F95A0250-EC7F-449C-9178-A36C64B242B8}"/>
              </a:ext>
            </a:extLst>
          </p:cNvPr>
          <p:cNvSpPr>
            <a:spLocks noGrp="1"/>
          </p:cNvSpPr>
          <p:nvPr>
            <p:ph type="body" sz="quarter" idx="13" hasCustomPrompt="1"/>
          </p:nvPr>
        </p:nvSpPr>
        <p:spPr>
          <a:xfrm>
            <a:off x="807384" y="4173521"/>
            <a:ext cx="1883271"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33" name="Espace réservé du texte 12">
            <a:extLst>
              <a:ext uri="{FF2B5EF4-FFF2-40B4-BE49-F238E27FC236}">
                <a16:creationId xmlns:a16="http://schemas.microsoft.com/office/drawing/2014/main" id="{FE492973-3F3C-44A2-9F63-4A0E4EEF66F5}"/>
              </a:ext>
            </a:extLst>
          </p:cNvPr>
          <p:cNvSpPr>
            <a:spLocks noGrp="1"/>
          </p:cNvSpPr>
          <p:nvPr>
            <p:ph type="body" sz="quarter" idx="31" hasCustomPrompt="1"/>
          </p:nvPr>
        </p:nvSpPr>
        <p:spPr>
          <a:xfrm>
            <a:off x="2964528" y="4173521"/>
            <a:ext cx="1948656"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34" name="Espace réservé du texte 12">
            <a:extLst>
              <a:ext uri="{FF2B5EF4-FFF2-40B4-BE49-F238E27FC236}">
                <a16:creationId xmlns:a16="http://schemas.microsoft.com/office/drawing/2014/main" id="{AC00A5EF-032B-4B65-9C16-D0C550EC9A88}"/>
              </a:ext>
            </a:extLst>
          </p:cNvPr>
          <p:cNvSpPr>
            <a:spLocks noGrp="1"/>
          </p:cNvSpPr>
          <p:nvPr>
            <p:ph type="body" sz="quarter" idx="32" hasCustomPrompt="1"/>
          </p:nvPr>
        </p:nvSpPr>
        <p:spPr>
          <a:xfrm>
            <a:off x="5121672" y="4173521"/>
            <a:ext cx="1948656"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35" name="Espace réservé du texte 12">
            <a:extLst>
              <a:ext uri="{FF2B5EF4-FFF2-40B4-BE49-F238E27FC236}">
                <a16:creationId xmlns:a16="http://schemas.microsoft.com/office/drawing/2014/main" id="{3BCEFCCC-54C6-4599-B700-908541790405}"/>
              </a:ext>
            </a:extLst>
          </p:cNvPr>
          <p:cNvSpPr>
            <a:spLocks noGrp="1"/>
          </p:cNvSpPr>
          <p:nvPr>
            <p:ph type="body" sz="quarter" idx="33" hasCustomPrompt="1"/>
          </p:nvPr>
        </p:nvSpPr>
        <p:spPr>
          <a:xfrm>
            <a:off x="7278816" y="4173521"/>
            <a:ext cx="1948656"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11" name="Espace réservé du texte 10">
            <a:extLst>
              <a:ext uri="{FF2B5EF4-FFF2-40B4-BE49-F238E27FC236}">
                <a16:creationId xmlns:a16="http://schemas.microsoft.com/office/drawing/2014/main" id="{09C28D7D-7FAA-4687-8B35-D6B382EEF402}"/>
              </a:ext>
            </a:extLst>
          </p:cNvPr>
          <p:cNvSpPr>
            <a:spLocks noGrp="1"/>
          </p:cNvSpPr>
          <p:nvPr>
            <p:ph type="body" sz="quarter" idx="12" hasCustomPrompt="1"/>
          </p:nvPr>
        </p:nvSpPr>
        <p:spPr>
          <a:xfrm>
            <a:off x="807384" y="3324481"/>
            <a:ext cx="9942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
        <p:nvSpPr>
          <p:cNvPr id="36" name="Espace réservé du texte 10">
            <a:extLst>
              <a:ext uri="{FF2B5EF4-FFF2-40B4-BE49-F238E27FC236}">
                <a16:creationId xmlns:a16="http://schemas.microsoft.com/office/drawing/2014/main" id="{0E3F8EC7-1DAC-46EA-943C-9E807DBAE6DE}"/>
              </a:ext>
            </a:extLst>
          </p:cNvPr>
          <p:cNvSpPr>
            <a:spLocks noGrp="1"/>
          </p:cNvSpPr>
          <p:nvPr>
            <p:ph type="body" sz="quarter" idx="34" hasCustomPrompt="1"/>
          </p:nvPr>
        </p:nvSpPr>
        <p:spPr>
          <a:xfrm>
            <a:off x="2964528" y="3324481"/>
            <a:ext cx="9815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
        <p:nvSpPr>
          <p:cNvPr id="37" name="Espace réservé du texte 10">
            <a:extLst>
              <a:ext uri="{FF2B5EF4-FFF2-40B4-BE49-F238E27FC236}">
                <a16:creationId xmlns:a16="http://schemas.microsoft.com/office/drawing/2014/main" id="{5D594DA8-94DC-4ED7-87B3-441F7A5A2015}"/>
              </a:ext>
            </a:extLst>
          </p:cNvPr>
          <p:cNvSpPr>
            <a:spLocks noGrp="1"/>
          </p:cNvSpPr>
          <p:nvPr>
            <p:ph type="body" sz="quarter" idx="35" hasCustomPrompt="1"/>
          </p:nvPr>
        </p:nvSpPr>
        <p:spPr>
          <a:xfrm>
            <a:off x="5121672" y="3324481"/>
            <a:ext cx="9815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
        <p:nvSpPr>
          <p:cNvPr id="38" name="Espace réservé du texte 10">
            <a:extLst>
              <a:ext uri="{FF2B5EF4-FFF2-40B4-BE49-F238E27FC236}">
                <a16:creationId xmlns:a16="http://schemas.microsoft.com/office/drawing/2014/main" id="{DF29378A-1BBE-4DAA-B775-6C67FAF7BE5E}"/>
              </a:ext>
            </a:extLst>
          </p:cNvPr>
          <p:cNvSpPr>
            <a:spLocks noGrp="1"/>
          </p:cNvSpPr>
          <p:nvPr>
            <p:ph type="body" sz="quarter" idx="36" hasCustomPrompt="1"/>
          </p:nvPr>
        </p:nvSpPr>
        <p:spPr>
          <a:xfrm>
            <a:off x="7278816" y="3324481"/>
            <a:ext cx="9815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
        <p:nvSpPr>
          <p:cNvPr id="30" name="Espace réservé du texte 12">
            <a:extLst>
              <a:ext uri="{FF2B5EF4-FFF2-40B4-BE49-F238E27FC236}">
                <a16:creationId xmlns:a16="http://schemas.microsoft.com/office/drawing/2014/main" id="{15C3A941-E50A-43D0-8D5A-E70D5839461D}"/>
              </a:ext>
            </a:extLst>
          </p:cNvPr>
          <p:cNvSpPr>
            <a:spLocks noGrp="1"/>
          </p:cNvSpPr>
          <p:nvPr>
            <p:ph type="body" sz="quarter" idx="37" hasCustomPrompt="1"/>
          </p:nvPr>
        </p:nvSpPr>
        <p:spPr>
          <a:xfrm>
            <a:off x="9435960" y="4173521"/>
            <a:ext cx="1948656" cy="700087"/>
          </a:xfrm>
          <a:noFill/>
        </p:spPr>
        <p:txBody>
          <a:bodyPr lIns="72000" anchor="t">
            <a:noAutofit/>
          </a:bodyPr>
          <a:lstStyle>
            <a:lvl1pPr marL="0" indent="0">
              <a:spcBef>
                <a:spcPts val="0"/>
              </a:spcBef>
              <a:buNone/>
              <a:defRPr sz="1400">
                <a:solidFill>
                  <a:schemeClr val="bg2"/>
                </a:solidFill>
              </a:defRPr>
            </a:lvl1pPr>
          </a:lstStyle>
          <a:p>
            <a:pPr lvl="0"/>
            <a:r>
              <a:rPr lang="en-GB" dirty="0"/>
              <a:t>TITLE OF</a:t>
            </a:r>
            <a:br>
              <a:rPr lang="en-GB" dirty="0"/>
            </a:br>
            <a:r>
              <a:rPr lang="en-GB" dirty="0"/>
              <a:t>THE CHAPTER</a:t>
            </a:r>
          </a:p>
        </p:txBody>
      </p:sp>
      <p:sp>
        <p:nvSpPr>
          <p:cNvPr id="31" name="Espace réservé du texte 10">
            <a:extLst>
              <a:ext uri="{FF2B5EF4-FFF2-40B4-BE49-F238E27FC236}">
                <a16:creationId xmlns:a16="http://schemas.microsoft.com/office/drawing/2014/main" id="{D86A4FD3-6FCB-4FD8-8807-795BD547FDC7}"/>
              </a:ext>
            </a:extLst>
          </p:cNvPr>
          <p:cNvSpPr>
            <a:spLocks noGrp="1"/>
          </p:cNvSpPr>
          <p:nvPr>
            <p:ph type="body" sz="quarter" idx="38" hasCustomPrompt="1"/>
          </p:nvPr>
        </p:nvSpPr>
        <p:spPr>
          <a:xfrm>
            <a:off x="9435960" y="3324481"/>
            <a:ext cx="981571" cy="700088"/>
          </a:xfrm>
        </p:spPr>
        <p:txBody>
          <a:bodyPr lIns="72000" tIns="900000" bIns="0" anchor="b">
            <a:noAutofit/>
          </a:bodyPr>
          <a:lstStyle>
            <a:lvl1pPr marL="0" indent="0" algn="l">
              <a:buNone/>
              <a:defRPr sz="4000" b="1" spc="0" baseline="0">
                <a:solidFill>
                  <a:schemeClr val="bg1"/>
                </a:solidFill>
              </a:defRPr>
            </a:lvl1pPr>
          </a:lstStyle>
          <a:p>
            <a:pPr lvl="0"/>
            <a:r>
              <a:rPr lang="en-GB" dirty="0"/>
              <a:t>XX</a:t>
            </a:r>
          </a:p>
        </p:txBody>
      </p:sp>
    </p:spTree>
    <p:extLst>
      <p:ext uri="{BB962C8B-B14F-4D97-AF65-F5344CB8AC3E}">
        <p14:creationId xmlns:p14="http://schemas.microsoft.com/office/powerpoint/2010/main" val="20390011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X6">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86"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34036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20"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13" name="Espace réservé du texte 12">
            <a:extLst>
              <a:ext uri="{FF2B5EF4-FFF2-40B4-BE49-F238E27FC236}">
                <a16:creationId xmlns:a16="http://schemas.microsoft.com/office/drawing/2014/main" id="{F95A0250-EC7F-449C-9178-A36C64B242B8}"/>
              </a:ext>
            </a:extLst>
          </p:cNvPr>
          <p:cNvSpPr>
            <a:spLocks noGrp="1"/>
          </p:cNvSpPr>
          <p:nvPr>
            <p:ph type="body" sz="quarter" idx="13" hasCustomPrompt="1"/>
          </p:nvPr>
        </p:nvSpPr>
        <p:spPr>
          <a:xfrm>
            <a:off x="1621929" y="38433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3" name="Espace réservé du texte 12">
            <a:extLst>
              <a:ext uri="{FF2B5EF4-FFF2-40B4-BE49-F238E27FC236}">
                <a16:creationId xmlns:a16="http://schemas.microsoft.com/office/drawing/2014/main" id="{FE492973-3F3C-44A2-9F63-4A0E4EEF66F5}"/>
              </a:ext>
            </a:extLst>
          </p:cNvPr>
          <p:cNvSpPr>
            <a:spLocks noGrp="1"/>
          </p:cNvSpPr>
          <p:nvPr>
            <p:ph type="body" sz="quarter" idx="31" hasCustomPrompt="1"/>
          </p:nvPr>
        </p:nvSpPr>
        <p:spPr>
          <a:xfrm>
            <a:off x="4949329" y="38433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4" name="Espace réservé du texte 12">
            <a:extLst>
              <a:ext uri="{FF2B5EF4-FFF2-40B4-BE49-F238E27FC236}">
                <a16:creationId xmlns:a16="http://schemas.microsoft.com/office/drawing/2014/main" id="{AC00A5EF-032B-4B65-9C16-D0C550EC9A88}"/>
              </a:ext>
            </a:extLst>
          </p:cNvPr>
          <p:cNvSpPr>
            <a:spLocks noGrp="1"/>
          </p:cNvSpPr>
          <p:nvPr>
            <p:ph type="body" sz="quarter" idx="32" hasCustomPrompt="1"/>
          </p:nvPr>
        </p:nvSpPr>
        <p:spPr>
          <a:xfrm>
            <a:off x="8276729" y="38433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11" name="Espace réservé du texte 10">
            <a:extLst>
              <a:ext uri="{FF2B5EF4-FFF2-40B4-BE49-F238E27FC236}">
                <a16:creationId xmlns:a16="http://schemas.microsoft.com/office/drawing/2014/main" id="{09C28D7D-7FAA-4687-8B35-D6B382EEF402}"/>
              </a:ext>
            </a:extLst>
          </p:cNvPr>
          <p:cNvSpPr>
            <a:spLocks noGrp="1"/>
          </p:cNvSpPr>
          <p:nvPr>
            <p:ph type="body" sz="quarter" idx="12" hasCustomPrompt="1"/>
          </p:nvPr>
        </p:nvSpPr>
        <p:spPr>
          <a:xfrm>
            <a:off x="1621929" y="30831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6" name="Espace réservé du texte 10">
            <a:extLst>
              <a:ext uri="{FF2B5EF4-FFF2-40B4-BE49-F238E27FC236}">
                <a16:creationId xmlns:a16="http://schemas.microsoft.com/office/drawing/2014/main" id="{0E3F8EC7-1DAC-46EA-943C-9E807DBAE6DE}"/>
              </a:ext>
            </a:extLst>
          </p:cNvPr>
          <p:cNvSpPr>
            <a:spLocks noGrp="1"/>
          </p:cNvSpPr>
          <p:nvPr>
            <p:ph type="body" sz="quarter" idx="34" hasCustomPrompt="1"/>
          </p:nvPr>
        </p:nvSpPr>
        <p:spPr>
          <a:xfrm>
            <a:off x="4949329" y="30831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7" name="Espace réservé du texte 10">
            <a:extLst>
              <a:ext uri="{FF2B5EF4-FFF2-40B4-BE49-F238E27FC236}">
                <a16:creationId xmlns:a16="http://schemas.microsoft.com/office/drawing/2014/main" id="{5D594DA8-94DC-4ED7-87B3-441F7A5A2015}"/>
              </a:ext>
            </a:extLst>
          </p:cNvPr>
          <p:cNvSpPr>
            <a:spLocks noGrp="1"/>
          </p:cNvSpPr>
          <p:nvPr>
            <p:ph type="body" sz="quarter" idx="35" hasCustomPrompt="1"/>
          </p:nvPr>
        </p:nvSpPr>
        <p:spPr>
          <a:xfrm>
            <a:off x="8276729" y="30831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
        <p:nvSpPr>
          <p:cNvPr id="18" name="Espace réservé du texte 12">
            <a:extLst>
              <a:ext uri="{FF2B5EF4-FFF2-40B4-BE49-F238E27FC236}">
                <a16:creationId xmlns:a16="http://schemas.microsoft.com/office/drawing/2014/main" id="{043A2610-DC92-4E54-9923-D1D64E0BB741}"/>
              </a:ext>
            </a:extLst>
          </p:cNvPr>
          <p:cNvSpPr>
            <a:spLocks noGrp="1"/>
          </p:cNvSpPr>
          <p:nvPr>
            <p:ph type="body" sz="quarter" idx="36" hasCustomPrompt="1"/>
          </p:nvPr>
        </p:nvSpPr>
        <p:spPr>
          <a:xfrm>
            <a:off x="1621929" y="544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19" name="Espace réservé du texte 12">
            <a:extLst>
              <a:ext uri="{FF2B5EF4-FFF2-40B4-BE49-F238E27FC236}">
                <a16:creationId xmlns:a16="http://schemas.microsoft.com/office/drawing/2014/main" id="{099E4FE9-A36A-4623-83F8-9A4CD5CB6D80}"/>
              </a:ext>
            </a:extLst>
          </p:cNvPr>
          <p:cNvSpPr>
            <a:spLocks noGrp="1"/>
          </p:cNvSpPr>
          <p:nvPr>
            <p:ph type="body" sz="quarter" idx="37" hasCustomPrompt="1"/>
          </p:nvPr>
        </p:nvSpPr>
        <p:spPr>
          <a:xfrm>
            <a:off x="4949329" y="544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0" name="Espace réservé du texte 12">
            <a:extLst>
              <a:ext uri="{FF2B5EF4-FFF2-40B4-BE49-F238E27FC236}">
                <a16:creationId xmlns:a16="http://schemas.microsoft.com/office/drawing/2014/main" id="{332C4CAF-C8B6-4365-A0B1-6645C7358CF3}"/>
              </a:ext>
            </a:extLst>
          </p:cNvPr>
          <p:cNvSpPr>
            <a:spLocks noGrp="1"/>
          </p:cNvSpPr>
          <p:nvPr>
            <p:ph type="body" sz="quarter" idx="38" hasCustomPrompt="1"/>
          </p:nvPr>
        </p:nvSpPr>
        <p:spPr>
          <a:xfrm>
            <a:off x="8276729" y="54435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1" name="Espace réservé du texte 10">
            <a:extLst>
              <a:ext uri="{FF2B5EF4-FFF2-40B4-BE49-F238E27FC236}">
                <a16:creationId xmlns:a16="http://schemas.microsoft.com/office/drawing/2014/main" id="{01D1A5BB-9656-4E29-B8E6-46AD6CA6C820}"/>
              </a:ext>
            </a:extLst>
          </p:cNvPr>
          <p:cNvSpPr>
            <a:spLocks noGrp="1"/>
          </p:cNvSpPr>
          <p:nvPr>
            <p:ph type="body" sz="quarter" idx="39" hasCustomPrompt="1"/>
          </p:nvPr>
        </p:nvSpPr>
        <p:spPr>
          <a:xfrm>
            <a:off x="1621929" y="46833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22" name="Espace réservé du texte 10">
            <a:extLst>
              <a:ext uri="{FF2B5EF4-FFF2-40B4-BE49-F238E27FC236}">
                <a16:creationId xmlns:a16="http://schemas.microsoft.com/office/drawing/2014/main" id="{B020CBAD-51B3-4353-BF62-03582F27C887}"/>
              </a:ext>
            </a:extLst>
          </p:cNvPr>
          <p:cNvSpPr>
            <a:spLocks noGrp="1"/>
          </p:cNvSpPr>
          <p:nvPr>
            <p:ph type="body" sz="quarter" idx="40" hasCustomPrompt="1"/>
          </p:nvPr>
        </p:nvSpPr>
        <p:spPr>
          <a:xfrm>
            <a:off x="4949329" y="46833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23" name="Espace réservé du texte 10">
            <a:extLst>
              <a:ext uri="{FF2B5EF4-FFF2-40B4-BE49-F238E27FC236}">
                <a16:creationId xmlns:a16="http://schemas.microsoft.com/office/drawing/2014/main" id="{EAE653F5-69D2-40AA-BAB6-95401868A553}"/>
              </a:ext>
            </a:extLst>
          </p:cNvPr>
          <p:cNvSpPr>
            <a:spLocks noGrp="1"/>
          </p:cNvSpPr>
          <p:nvPr>
            <p:ph type="body" sz="quarter" idx="41" hasCustomPrompt="1"/>
          </p:nvPr>
        </p:nvSpPr>
        <p:spPr>
          <a:xfrm>
            <a:off x="8276729" y="46833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Tree>
    <p:extLst>
      <p:ext uri="{BB962C8B-B14F-4D97-AF65-F5344CB8AC3E}">
        <p14:creationId xmlns:p14="http://schemas.microsoft.com/office/powerpoint/2010/main" val="38967878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X7">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10"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34036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20"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
        <p:nvSpPr>
          <p:cNvPr id="26" name="Espace réservé du texte 12">
            <a:extLst>
              <a:ext uri="{FF2B5EF4-FFF2-40B4-BE49-F238E27FC236}">
                <a16:creationId xmlns:a16="http://schemas.microsoft.com/office/drawing/2014/main" id="{8D18274F-5BAE-48EF-A005-04CE982C29C3}"/>
              </a:ext>
            </a:extLst>
          </p:cNvPr>
          <p:cNvSpPr>
            <a:spLocks noGrp="1"/>
          </p:cNvSpPr>
          <p:nvPr>
            <p:ph type="body" sz="quarter" idx="13" hasCustomPrompt="1"/>
          </p:nvPr>
        </p:nvSpPr>
        <p:spPr>
          <a:xfrm>
            <a:off x="9996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7" name="Espace réservé du texte 12">
            <a:extLst>
              <a:ext uri="{FF2B5EF4-FFF2-40B4-BE49-F238E27FC236}">
                <a16:creationId xmlns:a16="http://schemas.microsoft.com/office/drawing/2014/main" id="{E004642F-2125-4EE5-AF91-5DE26664DB45}"/>
              </a:ext>
            </a:extLst>
          </p:cNvPr>
          <p:cNvSpPr>
            <a:spLocks noGrp="1"/>
          </p:cNvSpPr>
          <p:nvPr>
            <p:ph type="body" sz="quarter" idx="31" hasCustomPrompt="1"/>
          </p:nvPr>
        </p:nvSpPr>
        <p:spPr>
          <a:xfrm>
            <a:off x="35904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8" name="Espace réservé du texte 12">
            <a:extLst>
              <a:ext uri="{FF2B5EF4-FFF2-40B4-BE49-F238E27FC236}">
                <a16:creationId xmlns:a16="http://schemas.microsoft.com/office/drawing/2014/main" id="{DFCE2C1A-8B46-4360-A86D-5A126247EADB}"/>
              </a:ext>
            </a:extLst>
          </p:cNvPr>
          <p:cNvSpPr>
            <a:spLocks noGrp="1"/>
          </p:cNvSpPr>
          <p:nvPr>
            <p:ph type="body" sz="quarter" idx="32" hasCustomPrompt="1"/>
          </p:nvPr>
        </p:nvSpPr>
        <p:spPr>
          <a:xfrm>
            <a:off x="61812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29" name="Espace réservé du texte 12">
            <a:extLst>
              <a:ext uri="{FF2B5EF4-FFF2-40B4-BE49-F238E27FC236}">
                <a16:creationId xmlns:a16="http://schemas.microsoft.com/office/drawing/2014/main" id="{5543027A-C3B6-47F0-97AC-9722F64276A3}"/>
              </a:ext>
            </a:extLst>
          </p:cNvPr>
          <p:cNvSpPr>
            <a:spLocks noGrp="1"/>
          </p:cNvSpPr>
          <p:nvPr>
            <p:ph type="body" sz="quarter" idx="33" hasCustomPrompt="1"/>
          </p:nvPr>
        </p:nvSpPr>
        <p:spPr>
          <a:xfrm>
            <a:off x="89371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30" name="Espace réservé du texte 10">
            <a:extLst>
              <a:ext uri="{FF2B5EF4-FFF2-40B4-BE49-F238E27FC236}">
                <a16:creationId xmlns:a16="http://schemas.microsoft.com/office/drawing/2014/main" id="{3913701F-BB6F-42E7-98FD-799DD04A1D56}"/>
              </a:ext>
            </a:extLst>
          </p:cNvPr>
          <p:cNvSpPr>
            <a:spLocks noGrp="1"/>
          </p:cNvSpPr>
          <p:nvPr>
            <p:ph type="body" sz="quarter" idx="12" hasCustomPrompt="1"/>
          </p:nvPr>
        </p:nvSpPr>
        <p:spPr>
          <a:xfrm>
            <a:off x="9996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1" name="Espace réservé du texte 10">
            <a:extLst>
              <a:ext uri="{FF2B5EF4-FFF2-40B4-BE49-F238E27FC236}">
                <a16:creationId xmlns:a16="http://schemas.microsoft.com/office/drawing/2014/main" id="{FC9B4F73-A56C-4B60-B543-2D4AC74BD75A}"/>
              </a:ext>
            </a:extLst>
          </p:cNvPr>
          <p:cNvSpPr>
            <a:spLocks noGrp="1"/>
          </p:cNvSpPr>
          <p:nvPr>
            <p:ph type="body" sz="quarter" idx="34" hasCustomPrompt="1"/>
          </p:nvPr>
        </p:nvSpPr>
        <p:spPr>
          <a:xfrm>
            <a:off x="35904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2" name="Espace réservé du texte 10">
            <a:extLst>
              <a:ext uri="{FF2B5EF4-FFF2-40B4-BE49-F238E27FC236}">
                <a16:creationId xmlns:a16="http://schemas.microsoft.com/office/drawing/2014/main" id="{6A4871A8-C6A6-4E62-BC87-7307333BF4F3}"/>
              </a:ext>
            </a:extLst>
          </p:cNvPr>
          <p:cNvSpPr>
            <a:spLocks noGrp="1"/>
          </p:cNvSpPr>
          <p:nvPr>
            <p:ph type="body" sz="quarter" idx="35" hasCustomPrompt="1"/>
          </p:nvPr>
        </p:nvSpPr>
        <p:spPr>
          <a:xfrm>
            <a:off x="61812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35" name="Espace réservé du texte 10">
            <a:extLst>
              <a:ext uri="{FF2B5EF4-FFF2-40B4-BE49-F238E27FC236}">
                <a16:creationId xmlns:a16="http://schemas.microsoft.com/office/drawing/2014/main" id="{1BE4BCAE-B980-4932-ABCA-0AABF72628F9}"/>
              </a:ext>
            </a:extLst>
          </p:cNvPr>
          <p:cNvSpPr>
            <a:spLocks noGrp="1"/>
          </p:cNvSpPr>
          <p:nvPr>
            <p:ph type="body" sz="quarter" idx="36" hasCustomPrompt="1"/>
          </p:nvPr>
        </p:nvSpPr>
        <p:spPr>
          <a:xfrm>
            <a:off x="89371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2" name="Espace réservé du texte 12">
            <a:extLst>
              <a:ext uri="{FF2B5EF4-FFF2-40B4-BE49-F238E27FC236}">
                <a16:creationId xmlns:a16="http://schemas.microsoft.com/office/drawing/2014/main" id="{0D93981F-5062-49C4-A3F4-AE1ADC81F0C8}"/>
              </a:ext>
            </a:extLst>
          </p:cNvPr>
          <p:cNvSpPr>
            <a:spLocks noGrp="1"/>
          </p:cNvSpPr>
          <p:nvPr>
            <p:ph type="body" sz="quarter" idx="37" hasCustomPrompt="1"/>
          </p:nvPr>
        </p:nvSpPr>
        <p:spPr>
          <a:xfrm>
            <a:off x="9996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3" name="Espace réservé du texte 12">
            <a:extLst>
              <a:ext uri="{FF2B5EF4-FFF2-40B4-BE49-F238E27FC236}">
                <a16:creationId xmlns:a16="http://schemas.microsoft.com/office/drawing/2014/main" id="{AB9692FA-049A-4090-BF60-E7B3899114EF}"/>
              </a:ext>
            </a:extLst>
          </p:cNvPr>
          <p:cNvSpPr>
            <a:spLocks noGrp="1"/>
          </p:cNvSpPr>
          <p:nvPr>
            <p:ph type="body" sz="quarter" idx="38" hasCustomPrompt="1"/>
          </p:nvPr>
        </p:nvSpPr>
        <p:spPr>
          <a:xfrm>
            <a:off x="35904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4" name="Espace réservé du texte 12">
            <a:extLst>
              <a:ext uri="{FF2B5EF4-FFF2-40B4-BE49-F238E27FC236}">
                <a16:creationId xmlns:a16="http://schemas.microsoft.com/office/drawing/2014/main" id="{C58C462D-1727-4215-959E-737D016E9463}"/>
              </a:ext>
            </a:extLst>
          </p:cNvPr>
          <p:cNvSpPr>
            <a:spLocks noGrp="1"/>
          </p:cNvSpPr>
          <p:nvPr>
            <p:ph type="body" sz="quarter" idx="39" hasCustomPrompt="1"/>
          </p:nvPr>
        </p:nvSpPr>
        <p:spPr>
          <a:xfrm>
            <a:off x="61812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6" name="Espace réservé du texte 10">
            <a:extLst>
              <a:ext uri="{FF2B5EF4-FFF2-40B4-BE49-F238E27FC236}">
                <a16:creationId xmlns:a16="http://schemas.microsoft.com/office/drawing/2014/main" id="{2C062820-86CD-4DD8-935C-8C91756DBC08}"/>
              </a:ext>
            </a:extLst>
          </p:cNvPr>
          <p:cNvSpPr>
            <a:spLocks noGrp="1"/>
          </p:cNvSpPr>
          <p:nvPr>
            <p:ph type="body" sz="quarter" idx="41" hasCustomPrompt="1"/>
          </p:nvPr>
        </p:nvSpPr>
        <p:spPr>
          <a:xfrm>
            <a:off x="9996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7" name="Espace réservé du texte 10">
            <a:extLst>
              <a:ext uri="{FF2B5EF4-FFF2-40B4-BE49-F238E27FC236}">
                <a16:creationId xmlns:a16="http://schemas.microsoft.com/office/drawing/2014/main" id="{0B715A53-939B-4A6A-909A-A8321C63E40E}"/>
              </a:ext>
            </a:extLst>
          </p:cNvPr>
          <p:cNvSpPr>
            <a:spLocks noGrp="1"/>
          </p:cNvSpPr>
          <p:nvPr>
            <p:ph type="body" sz="quarter" idx="42" hasCustomPrompt="1"/>
          </p:nvPr>
        </p:nvSpPr>
        <p:spPr>
          <a:xfrm>
            <a:off x="35904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8" name="Espace réservé du texte 10">
            <a:extLst>
              <a:ext uri="{FF2B5EF4-FFF2-40B4-BE49-F238E27FC236}">
                <a16:creationId xmlns:a16="http://schemas.microsoft.com/office/drawing/2014/main" id="{8BC307AC-DC4F-449B-A6F8-24B6C3200378}"/>
              </a:ext>
            </a:extLst>
          </p:cNvPr>
          <p:cNvSpPr>
            <a:spLocks noGrp="1"/>
          </p:cNvSpPr>
          <p:nvPr>
            <p:ph type="body" sz="quarter" idx="43" hasCustomPrompt="1"/>
          </p:nvPr>
        </p:nvSpPr>
        <p:spPr>
          <a:xfrm>
            <a:off x="61812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Tree>
    <p:extLst>
      <p:ext uri="{BB962C8B-B14F-4D97-AF65-F5344CB8AC3E}">
        <p14:creationId xmlns:p14="http://schemas.microsoft.com/office/powerpoint/2010/main" val="28617869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X8">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B73485A9-17A6-435D-8200-2DF05F4C70C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34" name="Diapositive think-cell" r:id="rId4" imgW="532" imgH="530" progId="TCLayout.ActiveDocument.1">
                  <p:embed/>
                </p:oleObj>
              </mc:Choice>
              <mc:Fallback>
                <p:oleObj name="Diapositive think-cell" r:id="rId4" imgW="532" imgH="530" progId="TCLayout.ActiveDocument.1">
                  <p:embed/>
                  <p:pic>
                    <p:nvPicPr>
                      <p:cNvPr id="4" name="Objet 3" hidden="1">
                        <a:extLst>
                          <a:ext uri="{FF2B5EF4-FFF2-40B4-BE49-F238E27FC236}">
                            <a16:creationId xmlns:a16="http://schemas.microsoft.com/office/drawing/2014/main" id="{B73485A9-17A6-435D-8200-2DF05F4C70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1" name="Rectangle 50">
            <a:extLst>
              <a:ext uri="{FF2B5EF4-FFF2-40B4-BE49-F238E27FC236}">
                <a16:creationId xmlns:a16="http://schemas.microsoft.com/office/drawing/2014/main" id="{17AFDA40-C449-45F6-8053-C9B9E0FADAD2}"/>
              </a:ext>
            </a:extLst>
          </p:cNvPr>
          <p:cNvSpPr/>
          <p:nvPr userDrawn="1"/>
        </p:nvSpPr>
        <p:spPr>
          <a:xfrm>
            <a:off x="546020" y="2908300"/>
            <a:ext cx="11099880" cy="340368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0" name="Espace réservé pour une image  49">
            <a:extLst>
              <a:ext uri="{FF2B5EF4-FFF2-40B4-BE49-F238E27FC236}">
                <a16:creationId xmlns:a16="http://schemas.microsoft.com/office/drawing/2014/main" id="{1BF632A4-1363-45BE-9C9B-1C350D05F760}"/>
              </a:ext>
            </a:extLst>
          </p:cNvPr>
          <p:cNvSpPr>
            <a:spLocks noGrp="1"/>
          </p:cNvSpPr>
          <p:nvPr>
            <p:ph type="pic" sz="quarter" idx="30" hasCustomPrompt="1"/>
          </p:nvPr>
        </p:nvSpPr>
        <p:spPr>
          <a:xfrm>
            <a:off x="0" y="0"/>
            <a:ext cx="12192000" cy="4089400"/>
          </a:xfrm>
          <a:custGeom>
            <a:avLst/>
            <a:gdLst>
              <a:gd name="connsiteX0" fmla="*/ 0 w 12192000"/>
              <a:gd name="connsiteY0" fmla="*/ 0 h 4089400"/>
              <a:gd name="connsiteX1" fmla="*/ 12192000 w 12192000"/>
              <a:gd name="connsiteY1" fmla="*/ 0 h 4089400"/>
              <a:gd name="connsiteX2" fmla="*/ 12192000 w 12192000"/>
              <a:gd name="connsiteY2" fmla="*/ 4089400 h 4089400"/>
              <a:gd name="connsiteX3" fmla="*/ 11645900 w 12192000"/>
              <a:gd name="connsiteY3" fmla="*/ 4089400 h 4089400"/>
              <a:gd name="connsiteX4" fmla="*/ 11645900 w 12192000"/>
              <a:gd name="connsiteY4" fmla="*/ 2908300 h 4089400"/>
              <a:gd name="connsiteX5" fmla="*/ 546020 w 12192000"/>
              <a:gd name="connsiteY5" fmla="*/ 2908300 h 4089400"/>
              <a:gd name="connsiteX6" fmla="*/ 546020 w 12192000"/>
              <a:gd name="connsiteY6" fmla="*/ 4089400 h 4089400"/>
              <a:gd name="connsiteX7" fmla="*/ 0 w 12192000"/>
              <a:gd name="connsiteY7" fmla="*/ 4089400 h 408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4089400">
                <a:moveTo>
                  <a:pt x="0" y="0"/>
                </a:moveTo>
                <a:lnTo>
                  <a:pt x="12192000" y="0"/>
                </a:lnTo>
                <a:lnTo>
                  <a:pt x="12192000" y="4089400"/>
                </a:lnTo>
                <a:lnTo>
                  <a:pt x="11645900" y="4089400"/>
                </a:lnTo>
                <a:lnTo>
                  <a:pt x="11645900" y="2908300"/>
                </a:lnTo>
                <a:lnTo>
                  <a:pt x="546020" y="2908300"/>
                </a:lnTo>
                <a:lnTo>
                  <a:pt x="546020" y="4089400"/>
                </a:lnTo>
                <a:lnTo>
                  <a:pt x="0" y="4089400"/>
                </a:lnTo>
                <a:close/>
              </a:path>
            </a:pathLst>
          </a:custGeom>
          <a:solidFill>
            <a:schemeClr val="bg1">
              <a:lumMod val="95000"/>
            </a:schemeClr>
          </a:solidFill>
        </p:spPr>
        <p:txBody>
          <a:bodyPr wrap="square">
            <a:noAutofit/>
          </a:bodyPr>
          <a:lstStyle>
            <a:lvl1pPr marL="0" indent="0">
              <a:buNone/>
              <a:defRPr/>
            </a:lvl1pPr>
          </a:lstStyle>
          <a:p>
            <a:r>
              <a:rPr lang="en-GB" dirty="0"/>
              <a:t> </a:t>
            </a:r>
          </a:p>
        </p:txBody>
      </p:sp>
      <p:sp>
        <p:nvSpPr>
          <p:cNvPr id="8" name="Espace réservé du texte 8">
            <a:extLst>
              <a:ext uri="{FF2B5EF4-FFF2-40B4-BE49-F238E27FC236}">
                <a16:creationId xmlns:a16="http://schemas.microsoft.com/office/drawing/2014/main" id="{EE7BCE36-8782-4614-BDC3-A5172C19A958}"/>
              </a:ext>
            </a:extLst>
          </p:cNvPr>
          <p:cNvSpPr>
            <a:spLocks noGrp="1"/>
          </p:cNvSpPr>
          <p:nvPr>
            <p:ph type="body" sz="quarter" idx="11" hasCustomPrompt="1"/>
          </p:nvPr>
        </p:nvSpPr>
        <p:spPr>
          <a:xfrm>
            <a:off x="546020" y="325639"/>
            <a:ext cx="11095245" cy="1016454"/>
          </a:xfrm>
        </p:spPr>
        <p:txBody>
          <a:bodyPr anchor="ctr">
            <a:normAutofit/>
          </a:bodyPr>
          <a:lstStyle>
            <a:lvl1pPr marL="0" indent="0" algn="ctr">
              <a:buNone/>
              <a:defRPr sz="3200" spc="300" baseline="0">
                <a:solidFill>
                  <a:schemeClr val="bg1"/>
                </a:solidFill>
              </a:defRPr>
            </a:lvl1pPr>
          </a:lstStyle>
          <a:p>
            <a:pPr lvl="0"/>
            <a:r>
              <a:rPr lang="en-GB" dirty="0"/>
              <a:t>agenda</a:t>
            </a:r>
          </a:p>
        </p:txBody>
      </p:sp>
      <p:sp>
        <p:nvSpPr>
          <p:cNvPr id="43" name="Forme libre : forme 42">
            <a:extLst>
              <a:ext uri="{FF2B5EF4-FFF2-40B4-BE49-F238E27FC236}">
                <a16:creationId xmlns:a16="http://schemas.microsoft.com/office/drawing/2014/main" id="{8A2F6933-2B74-44F2-8416-DED61E20519A}"/>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grpSp>
        <p:nvGrpSpPr>
          <p:cNvPr id="46" name="Groupe 45">
            <a:extLst>
              <a:ext uri="{FF2B5EF4-FFF2-40B4-BE49-F238E27FC236}">
                <a16:creationId xmlns:a16="http://schemas.microsoft.com/office/drawing/2014/main" id="{07B3012D-9E5F-4C2A-BE25-774B6C8CA273}"/>
              </a:ext>
            </a:extLst>
          </p:cNvPr>
          <p:cNvGrpSpPr/>
          <p:nvPr userDrawn="1"/>
        </p:nvGrpSpPr>
        <p:grpSpPr>
          <a:xfrm>
            <a:off x="12371453" y="0"/>
            <a:ext cx="1885826" cy="1835885"/>
            <a:chOff x="2689543" y="1651754"/>
            <a:chExt cx="1885826" cy="1835885"/>
          </a:xfrm>
        </p:grpSpPr>
        <p:sp>
          <p:nvSpPr>
            <p:cNvPr id="47" name="Freeform 5">
              <a:extLst>
                <a:ext uri="{FF2B5EF4-FFF2-40B4-BE49-F238E27FC236}">
                  <a16:creationId xmlns:a16="http://schemas.microsoft.com/office/drawing/2014/main" id="{9BEC8D51-AAA1-42FA-B9E8-AAF8DC78FA90}"/>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48" name="Rectangle 47">
              <a:extLst>
                <a:ext uri="{FF2B5EF4-FFF2-40B4-BE49-F238E27FC236}">
                  <a16:creationId xmlns:a16="http://schemas.microsoft.com/office/drawing/2014/main" id="{D88D0B02-1833-4DBA-9652-7C44FA8DF3F9}"/>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defRPr/>
              </a:pPr>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emove the visual</a:t>
              </a:r>
            </a:p>
            <a:p>
              <a:pPr marL="171450" lvl="0" indent="-171450">
                <a:buFont typeface="Arial" panose="020B0604020202020204" pitchFamily="34" charset="0"/>
                <a:buChar char="•"/>
              </a:pPr>
              <a:r>
                <a:rPr lang="en-US" sz="1000" dirty="0">
                  <a:solidFill>
                    <a:schemeClr val="tx1"/>
                  </a:solidFill>
                  <a:latin typeface="+mj-lt"/>
                </a:rPr>
                <a:t>Click on the icon </a:t>
              </a:r>
              <a:br>
                <a:rPr lang="en-US" sz="1000" dirty="0">
                  <a:solidFill>
                    <a:schemeClr val="tx1"/>
                  </a:solidFill>
                  <a:latin typeface="+mj-lt"/>
                </a:rPr>
              </a:br>
              <a:r>
                <a:rPr lang="en-US" sz="1000" dirty="0">
                  <a:solidFill>
                    <a:schemeClr val="tx1"/>
                  </a:solidFill>
                  <a:latin typeface="+mj-lt"/>
                </a:rPr>
                <a:t>in the center of the gray block</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a:t>
              </a:r>
            </a:p>
            <a:p>
              <a:pPr marL="171450" lvl="0" indent="-171450">
                <a:buFont typeface="Arial" panose="020B0604020202020204" pitchFamily="34" charset="0"/>
                <a:buChar char="•"/>
              </a:pPr>
              <a:r>
                <a:rPr lang="en-US" sz="1000" dirty="0">
                  <a:solidFill>
                    <a:schemeClr val="tx1"/>
                  </a:solidFill>
                  <a:latin typeface="+mj-lt"/>
                </a:rPr>
                <a:t>Select the visual</a:t>
              </a:r>
            </a:p>
            <a:p>
              <a:pPr marL="171450" lvl="0" indent="-171450">
                <a:buFont typeface="Arial" panose="020B0604020202020204" pitchFamily="34" charset="0"/>
                <a:buChar char="•"/>
              </a:pPr>
              <a:r>
                <a:rPr lang="en-US" sz="1000" dirty="0">
                  <a:solidFill>
                    <a:schemeClr val="tx1"/>
                  </a:solidFill>
                  <a:latin typeface="+mj-lt"/>
                </a:rPr>
                <a:t>Right click &gt; “background”</a:t>
              </a:r>
            </a:p>
          </p:txBody>
        </p:sp>
      </p:grpSp>
      <p:sp>
        <p:nvSpPr>
          <p:cNvPr id="52" name="Espace réservé du texte 12">
            <a:extLst>
              <a:ext uri="{FF2B5EF4-FFF2-40B4-BE49-F238E27FC236}">
                <a16:creationId xmlns:a16="http://schemas.microsoft.com/office/drawing/2014/main" id="{0D93981F-5062-49C4-A3F4-AE1ADC81F0C8}"/>
              </a:ext>
            </a:extLst>
          </p:cNvPr>
          <p:cNvSpPr>
            <a:spLocks noGrp="1"/>
          </p:cNvSpPr>
          <p:nvPr>
            <p:ph type="body" sz="quarter" idx="37" hasCustomPrompt="1"/>
          </p:nvPr>
        </p:nvSpPr>
        <p:spPr>
          <a:xfrm>
            <a:off x="9996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3" name="Espace réservé du texte 12">
            <a:extLst>
              <a:ext uri="{FF2B5EF4-FFF2-40B4-BE49-F238E27FC236}">
                <a16:creationId xmlns:a16="http://schemas.microsoft.com/office/drawing/2014/main" id="{AB9692FA-049A-4090-BF60-E7B3899114EF}"/>
              </a:ext>
            </a:extLst>
          </p:cNvPr>
          <p:cNvSpPr>
            <a:spLocks noGrp="1"/>
          </p:cNvSpPr>
          <p:nvPr>
            <p:ph type="body" sz="quarter" idx="38" hasCustomPrompt="1"/>
          </p:nvPr>
        </p:nvSpPr>
        <p:spPr>
          <a:xfrm>
            <a:off x="35904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4" name="Espace réservé du texte 12">
            <a:extLst>
              <a:ext uri="{FF2B5EF4-FFF2-40B4-BE49-F238E27FC236}">
                <a16:creationId xmlns:a16="http://schemas.microsoft.com/office/drawing/2014/main" id="{C58C462D-1727-4215-959E-737D016E9463}"/>
              </a:ext>
            </a:extLst>
          </p:cNvPr>
          <p:cNvSpPr>
            <a:spLocks noGrp="1"/>
          </p:cNvSpPr>
          <p:nvPr>
            <p:ph type="body" sz="quarter" idx="39" hasCustomPrompt="1"/>
          </p:nvPr>
        </p:nvSpPr>
        <p:spPr>
          <a:xfrm>
            <a:off x="61812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5" name="Espace réservé du texte 12">
            <a:extLst>
              <a:ext uri="{FF2B5EF4-FFF2-40B4-BE49-F238E27FC236}">
                <a16:creationId xmlns:a16="http://schemas.microsoft.com/office/drawing/2014/main" id="{B5A6FD28-4373-425E-8426-6ADBD72C4892}"/>
              </a:ext>
            </a:extLst>
          </p:cNvPr>
          <p:cNvSpPr>
            <a:spLocks noGrp="1"/>
          </p:cNvSpPr>
          <p:nvPr>
            <p:ph type="body" sz="quarter" idx="40" hasCustomPrompt="1"/>
          </p:nvPr>
        </p:nvSpPr>
        <p:spPr>
          <a:xfrm>
            <a:off x="8937129" y="54816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56" name="Espace réservé du texte 10">
            <a:extLst>
              <a:ext uri="{FF2B5EF4-FFF2-40B4-BE49-F238E27FC236}">
                <a16:creationId xmlns:a16="http://schemas.microsoft.com/office/drawing/2014/main" id="{2C062820-86CD-4DD8-935C-8C91756DBC08}"/>
              </a:ext>
            </a:extLst>
          </p:cNvPr>
          <p:cNvSpPr>
            <a:spLocks noGrp="1"/>
          </p:cNvSpPr>
          <p:nvPr>
            <p:ph type="body" sz="quarter" idx="41" hasCustomPrompt="1"/>
          </p:nvPr>
        </p:nvSpPr>
        <p:spPr>
          <a:xfrm>
            <a:off x="9996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7" name="Espace réservé du texte 10">
            <a:extLst>
              <a:ext uri="{FF2B5EF4-FFF2-40B4-BE49-F238E27FC236}">
                <a16:creationId xmlns:a16="http://schemas.microsoft.com/office/drawing/2014/main" id="{0B715A53-939B-4A6A-909A-A8321C63E40E}"/>
              </a:ext>
            </a:extLst>
          </p:cNvPr>
          <p:cNvSpPr>
            <a:spLocks noGrp="1"/>
          </p:cNvSpPr>
          <p:nvPr>
            <p:ph type="body" sz="quarter" idx="42" hasCustomPrompt="1"/>
          </p:nvPr>
        </p:nvSpPr>
        <p:spPr>
          <a:xfrm>
            <a:off x="35904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8" name="Espace réservé du texte 10">
            <a:extLst>
              <a:ext uri="{FF2B5EF4-FFF2-40B4-BE49-F238E27FC236}">
                <a16:creationId xmlns:a16="http://schemas.microsoft.com/office/drawing/2014/main" id="{8BC307AC-DC4F-449B-A6F8-24B6C3200378}"/>
              </a:ext>
            </a:extLst>
          </p:cNvPr>
          <p:cNvSpPr>
            <a:spLocks noGrp="1"/>
          </p:cNvSpPr>
          <p:nvPr>
            <p:ph type="body" sz="quarter" idx="43" hasCustomPrompt="1"/>
          </p:nvPr>
        </p:nvSpPr>
        <p:spPr>
          <a:xfrm>
            <a:off x="61812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59" name="Espace réservé du texte 10">
            <a:extLst>
              <a:ext uri="{FF2B5EF4-FFF2-40B4-BE49-F238E27FC236}">
                <a16:creationId xmlns:a16="http://schemas.microsoft.com/office/drawing/2014/main" id="{8D0311B9-0FA3-4A0B-96F8-03DF0711D4AA}"/>
              </a:ext>
            </a:extLst>
          </p:cNvPr>
          <p:cNvSpPr>
            <a:spLocks noGrp="1"/>
          </p:cNvSpPr>
          <p:nvPr>
            <p:ph type="body" sz="quarter" idx="44" hasCustomPrompt="1"/>
          </p:nvPr>
        </p:nvSpPr>
        <p:spPr>
          <a:xfrm>
            <a:off x="8937129" y="46325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60" name="Espace réservé du texte 12">
            <a:extLst>
              <a:ext uri="{FF2B5EF4-FFF2-40B4-BE49-F238E27FC236}">
                <a16:creationId xmlns:a16="http://schemas.microsoft.com/office/drawing/2014/main" id="{DCC34714-3C83-4C1E-8461-711A62ECA664}"/>
              </a:ext>
            </a:extLst>
          </p:cNvPr>
          <p:cNvSpPr>
            <a:spLocks noGrp="1"/>
          </p:cNvSpPr>
          <p:nvPr>
            <p:ph type="body" sz="quarter" idx="13" hasCustomPrompt="1"/>
          </p:nvPr>
        </p:nvSpPr>
        <p:spPr>
          <a:xfrm>
            <a:off x="9996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61" name="Espace réservé du texte 12">
            <a:extLst>
              <a:ext uri="{FF2B5EF4-FFF2-40B4-BE49-F238E27FC236}">
                <a16:creationId xmlns:a16="http://schemas.microsoft.com/office/drawing/2014/main" id="{9F6C5696-22FF-4A97-B8B5-7277A63E8170}"/>
              </a:ext>
            </a:extLst>
          </p:cNvPr>
          <p:cNvSpPr>
            <a:spLocks noGrp="1"/>
          </p:cNvSpPr>
          <p:nvPr>
            <p:ph type="body" sz="quarter" idx="31" hasCustomPrompt="1"/>
          </p:nvPr>
        </p:nvSpPr>
        <p:spPr>
          <a:xfrm>
            <a:off x="35904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62" name="Espace réservé du texte 12">
            <a:extLst>
              <a:ext uri="{FF2B5EF4-FFF2-40B4-BE49-F238E27FC236}">
                <a16:creationId xmlns:a16="http://schemas.microsoft.com/office/drawing/2014/main" id="{9A79A960-6099-427D-B4BA-1E35C3CFA1D5}"/>
              </a:ext>
            </a:extLst>
          </p:cNvPr>
          <p:cNvSpPr>
            <a:spLocks noGrp="1"/>
          </p:cNvSpPr>
          <p:nvPr>
            <p:ph type="body" sz="quarter" idx="32" hasCustomPrompt="1"/>
          </p:nvPr>
        </p:nvSpPr>
        <p:spPr>
          <a:xfrm>
            <a:off x="61812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63" name="Espace réservé du texte 12">
            <a:extLst>
              <a:ext uri="{FF2B5EF4-FFF2-40B4-BE49-F238E27FC236}">
                <a16:creationId xmlns:a16="http://schemas.microsoft.com/office/drawing/2014/main" id="{DF8B4503-4E75-4AF7-84D5-785F530E121F}"/>
              </a:ext>
            </a:extLst>
          </p:cNvPr>
          <p:cNvSpPr>
            <a:spLocks noGrp="1"/>
          </p:cNvSpPr>
          <p:nvPr>
            <p:ph type="body" sz="quarter" idx="33" hasCustomPrompt="1"/>
          </p:nvPr>
        </p:nvSpPr>
        <p:spPr>
          <a:xfrm>
            <a:off x="8937129" y="3894121"/>
            <a:ext cx="2278969" cy="700087"/>
          </a:xfrm>
          <a:noFill/>
        </p:spPr>
        <p:txBody>
          <a:bodyPr lIns="72000" anchor="t">
            <a:noAutofit/>
          </a:bodyPr>
          <a:lstStyle>
            <a:lvl1pPr marL="0" indent="0">
              <a:spcBef>
                <a:spcPts val="0"/>
              </a:spcBef>
              <a:buNone/>
              <a:defRPr>
                <a:solidFill>
                  <a:schemeClr val="bg2"/>
                </a:solidFill>
              </a:defRPr>
            </a:lvl1pPr>
          </a:lstStyle>
          <a:p>
            <a:pPr lvl="0"/>
            <a:r>
              <a:rPr lang="en-GB" dirty="0"/>
              <a:t>TITLE OF</a:t>
            </a:r>
            <a:br>
              <a:rPr lang="en-GB" dirty="0"/>
            </a:br>
            <a:r>
              <a:rPr lang="en-GB" dirty="0"/>
              <a:t>THE CHAPTER</a:t>
            </a:r>
          </a:p>
        </p:txBody>
      </p:sp>
      <p:sp>
        <p:nvSpPr>
          <p:cNvPr id="64" name="Espace réservé du texte 10">
            <a:extLst>
              <a:ext uri="{FF2B5EF4-FFF2-40B4-BE49-F238E27FC236}">
                <a16:creationId xmlns:a16="http://schemas.microsoft.com/office/drawing/2014/main" id="{B12C813C-8C72-4952-A250-5A073A7FB007}"/>
              </a:ext>
            </a:extLst>
          </p:cNvPr>
          <p:cNvSpPr>
            <a:spLocks noGrp="1"/>
          </p:cNvSpPr>
          <p:nvPr>
            <p:ph type="body" sz="quarter" idx="12" hasCustomPrompt="1"/>
          </p:nvPr>
        </p:nvSpPr>
        <p:spPr>
          <a:xfrm>
            <a:off x="9996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65" name="Espace réservé du texte 10">
            <a:extLst>
              <a:ext uri="{FF2B5EF4-FFF2-40B4-BE49-F238E27FC236}">
                <a16:creationId xmlns:a16="http://schemas.microsoft.com/office/drawing/2014/main" id="{1A116434-159C-4DE8-8A97-696FE868C072}"/>
              </a:ext>
            </a:extLst>
          </p:cNvPr>
          <p:cNvSpPr>
            <a:spLocks noGrp="1"/>
          </p:cNvSpPr>
          <p:nvPr>
            <p:ph type="body" sz="quarter" idx="34" hasCustomPrompt="1"/>
          </p:nvPr>
        </p:nvSpPr>
        <p:spPr>
          <a:xfrm>
            <a:off x="35904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66" name="Espace réservé du texte 10">
            <a:extLst>
              <a:ext uri="{FF2B5EF4-FFF2-40B4-BE49-F238E27FC236}">
                <a16:creationId xmlns:a16="http://schemas.microsoft.com/office/drawing/2014/main" id="{9FC6768E-BD8A-4E51-BDFE-466F95B9AA8F}"/>
              </a:ext>
            </a:extLst>
          </p:cNvPr>
          <p:cNvSpPr>
            <a:spLocks noGrp="1"/>
          </p:cNvSpPr>
          <p:nvPr>
            <p:ph type="body" sz="quarter" idx="35" hasCustomPrompt="1"/>
          </p:nvPr>
        </p:nvSpPr>
        <p:spPr>
          <a:xfrm>
            <a:off x="61812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
        <p:nvSpPr>
          <p:cNvPr id="67" name="Espace réservé du texte 10">
            <a:extLst>
              <a:ext uri="{FF2B5EF4-FFF2-40B4-BE49-F238E27FC236}">
                <a16:creationId xmlns:a16="http://schemas.microsoft.com/office/drawing/2014/main" id="{586304D2-CB9B-4871-82C6-F8F7F72433AE}"/>
              </a:ext>
            </a:extLst>
          </p:cNvPr>
          <p:cNvSpPr>
            <a:spLocks noGrp="1"/>
          </p:cNvSpPr>
          <p:nvPr>
            <p:ph type="body" sz="quarter" idx="36" hasCustomPrompt="1"/>
          </p:nvPr>
        </p:nvSpPr>
        <p:spPr>
          <a:xfrm>
            <a:off x="8937129" y="3045081"/>
            <a:ext cx="1691699" cy="700088"/>
          </a:xfrm>
        </p:spPr>
        <p:txBody>
          <a:bodyPr lIns="72000" tIns="900000" bIns="0" anchor="b">
            <a:noAutofit/>
          </a:bodyPr>
          <a:lstStyle>
            <a:lvl1pPr marL="0" indent="0" algn="l">
              <a:buNone/>
              <a:defRPr sz="4800" b="1" spc="0" baseline="0">
                <a:solidFill>
                  <a:schemeClr val="bg1"/>
                </a:solidFill>
              </a:defRPr>
            </a:lvl1pPr>
          </a:lstStyle>
          <a:p>
            <a:pPr lvl="0"/>
            <a:r>
              <a:rPr lang="en-GB" dirty="0"/>
              <a:t>XX</a:t>
            </a:r>
          </a:p>
        </p:txBody>
      </p:sp>
    </p:spTree>
    <p:extLst>
      <p:ext uri="{BB962C8B-B14F-4D97-AF65-F5344CB8AC3E}">
        <p14:creationId xmlns:p14="http://schemas.microsoft.com/office/powerpoint/2010/main" val="16457706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1D1F5E85-BDB9-41BD-AF2D-AB4C7B43A8C2}"/>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5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1D1F5E85-BDB9-41BD-AF2D-AB4C7B43A8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Image 4">
            <a:extLst>
              <a:ext uri="{FF2B5EF4-FFF2-40B4-BE49-F238E27FC236}">
                <a16:creationId xmlns:a16="http://schemas.microsoft.com/office/drawing/2014/main" id="{1E236246-1280-49B8-9ED1-116887064997}"/>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544509" y="398398"/>
            <a:ext cx="2460341" cy="827006"/>
          </a:xfrm>
          <a:prstGeom prst="rect">
            <a:avLst/>
          </a:prstGeom>
        </p:spPr>
      </p:pic>
      <p:sp>
        <p:nvSpPr>
          <p:cNvPr id="7" name="Espace réservé du texte 6">
            <a:extLst>
              <a:ext uri="{FF2B5EF4-FFF2-40B4-BE49-F238E27FC236}">
                <a16:creationId xmlns:a16="http://schemas.microsoft.com/office/drawing/2014/main" id="{4BFDEFE6-D208-4885-B85D-5D9A525F5060}"/>
              </a:ext>
            </a:extLst>
          </p:cNvPr>
          <p:cNvSpPr>
            <a:spLocks noGrp="1"/>
          </p:cNvSpPr>
          <p:nvPr>
            <p:ph type="body" sz="quarter" idx="10" hasCustomPrompt="1"/>
          </p:nvPr>
        </p:nvSpPr>
        <p:spPr>
          <a:xfrm>
            <a:off x="544513" y="1528108"/>
            <a:ext cx="5551487" cy="2013523"/>
          </a:xfrm>
        </p:spPr>
        <p:txBody>
          <a:bodyPr anchor="b">
            <a:normAutofit/>
          </a:bodyPr>
          <a:lstStyle>
            <a:lvl1pPr marL="0" indent="0">
              <a:buNone/>
              <a:defRPr sz="5400" b="0" spc="0" baseline="0">
                <a:solidFill>
                  <a:schemeClr val="tx2"/>
                </a:solidFill>
              </a:defRPr>
            </a:lvl1pPr>
          </a:lstStyle>
          <a:p>
            <a:pPr lvl="0"/>
            <a:r>
              <a:rPr lang="en-GB" dirty="0"/>
              <a:t>TITLE</a:t>
            </a:r>
          </a:p>
        </p:txBody>
      </p:sp>
      <p:sp>
        <p:nvSpPr>
          <p:cNvPr id="9" name="Espace réservé du texte 8">
            <a:extLst>
              <a:ext uri="{FF2B5EF4-FFF2-40B4-BE49-F238E27FC236}">
                <a16:creationId xmlns:a16="http://schemas.microsoft.com/office/drawing/2014/main" id="{1DB4979E-78BC-4656-948B-AC93C7FD124D}"/>
              </a:ext>
            </a:extLst>
          </p:cNvPr>
          <p:cNvSpPr>
            <a:spLocks noGrp="1"/>
          </p:cNvSpPr>
          <p:nvPr>
            <p:ph type="body" sz="quarter" idx="11" hasCustomPrompt="1"/>
          </p:nvPr>
        </p:nvSpPr>
        <p:spPr>
          <a:xfrm>
            <a:off x="544513" y="3584575"/>
            <a:ext cx="5551487" cy="2395311"/>
          </a:xfrm>
        </p:spPr>
        <p:txBody>
          <a:bodyPr>
            <a:normAutofit/>
          </a:bodyPr>
          <a:lstStyle>
            <a:lvl1pPr marL="0" indent="0">
              <a:buNone/>
              <a:defRPr sz="3200" spc="0" baseline="0"/>
            </a:lvl1pPr>
          </a:lstStyle>
          <a:p>
            <a:pPr lvl="0"/>
            <a:r>
              <a:rPr lang="en-GB" dirty="0"/>
              <a:t>OF THE CHAPTER</a:t>
            </a:r>
          </a:p>
        </p:txBody>
      </p:sp>
      <p:grpSp>
        <p:nvGrpSpPr>
          <p:cNvPr id="10" name="Groupe 9">
            <a:extLst>
              <a:ext uri="{FF2B5EF4-FFF2-40B4-BE49-F238E27FC236}">
                <a16:creationId xmlns:a16="http://schemas.microsoft.com/office/drawing/2014/main" id="{4739E17A-8299-4A4C-8ECC-398C48A648E5}"/>
              </a:ext>
            </a:extLst>
          </p:cNvPr>
          <p:cNvGrpSpPr/>
          <p:nvPr userDrawn="1"/>
        </p:nvGrpSpPr>
        <p:grpSpPr>
          <a:xfrm>
            <a:off x="12371453" y="0"/>
            <a:ext cx="1885826" cy="1528108"/>
            <a:chOff x="4867566" y="1651754"/>
            <a:chExt cx="1885826" cy="1528108"/>
          </a:xfrm>
        </p:grpSpPr>
        <p:sp>
          <p:nvSpPr>
            <p:cNvPr id="11" name="Freeform 5">
              <a:extLst>
                <a:ext uri="{FF2B5EF4-FFF2-40B4-BE49-F238E27FC236}">
                  <a16:creationId xmlns:a16="http://schemas.microsoft.com/office/drawing/2014/main" id="{A3C02829-481A-40D4-8DE2-69D7CBE30E84}"/>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2" name="Rectangle 11">
              <a:extLst>
                <a:ext uri="{FF2B5EF4-FFF2-40B4-BE49-F238E27FC236}">
                  <a16:creationId xmlns:a16="http://schemas.microsoft.com/office/drawing/2014/main" id="{4E4E3199-996F-4349-B520-77FBABF5BFA5}"/>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dirty="0">
                  <a:solidFill>
                    <a:schemeClr val="tx2"/>
                  </a:solidFill>
                  <a:latin typeface="+mj-lt"/>
                </a:rPr>
                <a:t>To change the </a:t>
              </a:r>
              <a:r>
                <a:rPr lang="fr-FR" sz="1000" b="1" dirty="0" err="1">
                  <a:solidFill>
                    <a:schemeClr val="tx2"/>
                  </a:solidFill>
                  <a:latin typeface="+mj-lt"/>
                </a:rPr>
                <a:t>visual</a:t>
              </a:r>
              <a:r>
                <a:rPr lang="fr-FR" sz="1000" b="1" dirty="0">
                  <a:solidFill>
                    <a:schemeClr val="tx2"/>
                  </a:solidFill>
                  <a:latin typeface="+mj-lt"/>
                </a:rPr>
                <a:t>:</a:t>
              </a:r>
            </a:p>
            <a:p>
              <a:pPr marL="171450" lvl="0" indent="-171450">
                <a:buFont typeface="Arial" panose="020B0604020202020204" pitchFamily="34" charset="0"/>
                <a:buChar char="•"/>
              </a:pPr>
              <a:r>
                <a:rPr lang="en-US" sz="1000" dirty="0">
                  <a:solidFill>
                    <a:schemeClr val="tx1"/>
                  </a:solidFill>
                  <a:latin typeface="+mj-lt"/>
                </a:rPr>
                <a:t>Right click on the slide</a:t>
              </a:r>
            </a:p>
            <a:p>
              <a:pPr marL="171450" lvl="0" indent="-171450">
                <a:buFont typeface="Arial" panose="020B0604020202020204" pitchFamily="34" charset="0"/>
                <a:buChar char="•"/>
              </a:pPr>
              <a:r>
                <a:rPr lang="en-US" sz="1000" dirty="0">
                  <a:solidFill>
                    <a:schemeClr val="tx1"/>
                  </a:solidFill>
                  <a:latin typeface="+mj-lt"/>
                </a:rPr>
                <a:t>Click on “Format Background”</a:t>
              </a:r>
            </a:p>
            <a:p>
              <a:pPr marL="171450" lvl="0" indent="-171450">
                <a:buFont typeface="Arial" panose="020B0604020202020204" pitchFamily="34" charset="0"/>
                <a:buChar char="•"/>
              </a:pPr>
              <a:r>
                <a:rPr lang="en-US" sz="1000" dirty="0">
                  <a:solidFill>
                    <a:schemeClr val="tx1"/>
                  </a:solidFill>
                  <a:latin typeface="+mj-lt"/>
                </a:rPr>
                <a:t>Import a visual</a:t>
              </a:r>
              <a:br>
                <a:rPr lang="en-US" sz="1000" dirty="0">
                  <a:solidFill>
                    <a:schemeClr val="tx1"/>
                  </a:solidFill>
                  <a:latin typeface="+mj-lt"/>
                </a:rPr>
              </a:br>
              <a:r>
                <a:rPr lang="en-US" sz="1000" dirty="0">
                  <a:solidFill>
                    <a:schemeClr val="tx1"/>
                  </a:solidFill>
                  <a:latin typeface="+mj-lt"/>
                </a:rPr>
                <a:t>from your computer (1920x1080px)</a:t>
              </a:r>
            </a:p>
          </p:txBody>
        </p:sp>
      </p:grpSp>
    </p:spTree>
    <p:extLst>
      <p:ext uri="{BB962C8B-B14F-4D97-AF65-F5344CB8AC3E}">
        <p14:creationId xmlns:p14="http://schemas.microsoft.com/office/powerpoint/2010/main" val="324421645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 Txt">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5D4915F1-FC93-4210-ADC2-9457188EEB5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82"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5D4915F1-FC93-4210-ADC2-9457188EEB5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re 1">
            <a:extLst>
              <a:ext uri="{FF2B5EF4-FFF2-40B4-BE49-F238E27FC236}">
                <a16:creationId xmlns:a16="http://schemas.microsoft.com/office/drawing/2014/main" id="{2A1AAB78-EBCA-47B3-BABA-06AFAC54936D}"/>
              </a:ext>
            </a:extLst>
          </p:cNvPr>
          <p:cNvSpPr>
            <a:spLocks noGrp="1"/>
          </p:cNvSpPr>
          <p:nvPr>
            <p:ph type="title" hasCustomPrompt="1"/>
          </p:nvPr>
        </p:nvSpPr>
        <p:spPr>
          <a:xfrm>
            <a:off x="741529" y="440971"/>
            <a:ext cx="10942471" cy="480131"/>
          </a:xfrm>
        </p:spPr>
        <p:txBody>
          <a:bodyPr vert="horz"/>
          <a:lstStyle>
            <a:lvl1pPr>
              <a:defRPr/>
            </a:lvl1pPr>
          </a:lstStyle>
          <a:p>
            <a:r>
              <a:rPr lang="en-GB" dirty="0"/>
              <a:t>TITLE OF THE SLIDE</a:t>
            </a:r>
          </a:p>
        </p:txBody>
      </p:sp>
      <p:sp>
        <p:nvSpPr>
          <p:cNvPr id="7" name="Espace réservé du texte 6">
            <a:extLst>
              <a:ext uri="{FF2B5EF4-FFF2-40B4-BE49-F238E27FC236}">
                <a16:creationId xmlns:a16="http://schemas.microsoft.com/office/drawing/2014/main" id="{F95EF71F-DF49-4C45-8DAD-4185C75832ED}"/>
              </a:ext>
            </a:extLst>
          </p:cNvPr>
          <p:cNvSpPr>
            <a:spLocks noGrp="1"/>
          </p:cNvSpPr>
          <p:nvPr>
            <p:ph type="body" sz="quarter" idx="10" hasCustomPrompt="1"/>
          </p:nvPr>
        </p:nvSpPr>
        <p:spPr>
          <a:xfrm>
            <a:off x="419100" y="1447800"/>
            <a:ext cx="11264900" cy="4572000"/>
          </a:xfrm>
        </p:spPr>
        <p:txBody>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0" name="Espace réservé du texte 9">
            <a:extLst>
              <a:ext uri="{FF2B5EF4-FFF2-40B4-BE49-F238E27FC236}">
                <a16:creationId xmlns:a16="http://schemas.microsoft.com/office/drawing/2014/main" id="{538D3BC8-90C2-4521-956D-E01AE9E8FD58}"/>
              </a:ext>
            </a:extLst>
          </p:cNvPr>
          <p:cNvSpPr>
            <a:spLocks noGrp="1"/>
          </p:cNvSpPr>
          <p:nvPr>
            <p:ph type="body" sz="quarter" idx="11" hasCustomPrompt="1"/>
          </p:nvPr>
        </p:nvSpPr>
        <p:spPr>
          <a:xfrm>
            <a:off x="419100" y="6580610"/>
            <a:ext cx="10642600" cy="189283"/>
          </a:xfrm>
        </p:spPr>
        <p:txBody>
          <a:bodyPr wrap="square" anchor="b">
            <a:spAutoFit/>
          </a:bodyPr>
          <a:lstStyle>
            <a:lvl1pPr marL="88900" indent="-88900" algn="r">
              <a:buFont typeface="+mj-lt"/>
              <a:buAutoNum type="arabicPeriod"/>
              <a:defRPr sz="700" b="0" cap="none" spc="0" baseline="0"/>
            </a:lvl1pPr>
          </a:lstStyle>
          <a:p>
            <a:pPr lvl="0"/>
            <a:r>
              <a:rPr lang="en-GB" dirty="0"/>
              <a:t>Click here to insert footnotes</a:t>
            </a:r>
          </a:p>
        </p:txBody>
      </p:sp>
      <p:grpSp>
        <p:nvGrpSpPr>
          <p:cNvPr id="15" name="Groupe 14">
            <a:extLst>
              <a:ext uri="{FF2B5EF4-FFF2-40B4-BE49-F238E27FC236}">
                <a16:creationId xmlns:a16="http://schemas.microsoft.com/office/drawing/2014/main" id="{898B08C9-6E53-490D-9DCC-1A12C888DE6F}"/>
              </a:ext>
            </a:extLst>
          </p:cNvPr>
          <p:cNvGrpSpPr/>
          <p:nvPr userDrawn="1"/>
        </p:nvGrpSpPr>
        <p:grpSpPr>
          <a:xfrm>
            <a:off x="12371453" y="0"/>
            <a:ext cx="1885826" cy="1528108"/>
            <a:chOff x="7045594" y="2588002"/>
            <a:chExt cx="1885826" cy="1528108"/>
          </a:xfrm>
        </p:grpSpPr>
        <p:grpSp>
          <p:nvGrpSpPr>
            <p:cNvPr id="16" name="Groupe 15">
              <a:extLst>
                <a:ext uri="{FF2B5EF4-FFF2-40B4-BE49-F238E27FC236}">
                  <a16:creationId xmlns:a16="http://schemas.microsoft.com/office/drawing/2014/main" id="{C18F90D9-B6E8-42F1-8187-ABD8D4A50468}"/>
                </a:ext>
              </a:extLst>
            </p:cNvPr>
            <p:cNvGrpSpPr/>
            <p:nvPr/>
          </p:nvGrpSpPr>
          <p:grpSpPr>
            <a:xfrm>
              <a:off x="7045594" y="2588002"/>
              <a:ext cx="1885826" cy="1528108"/>
              <a:chOff x="2689543" y="1651754"/>
              <a:chExt cx="1885826" cy="1528108"/>
            </a:xfrm>
          </p:grpSpPr>
          <p:sp>
            <p:nvSpPr>
              <p:cNvPr id="19" name="Freeform 5">
                <a:extLst>
                  <a:ext uri="{FF2B5EF4-FFF2-40B4-BE49-F238E27FC236}">
                    <a16:creationId xmlns:a16="http://schemas.microsoft.com/office/drawing/2014/main" id="{AECE9EBF-7C25-4AED-85E4-1F1BA0EF5A5D}"/>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20" name="Rectangle 19">
                <a:extLst>
                  <a:ext uri="{FF2B5EF4-FFF2-40B4-BE49-F238E27FC236}">
                    <a16:creationId xmlns:a16="http://schemas.microsoft.com/office/drawing/2014/main" id="{E57BB8EE-FF58-45C4-B599-6CE7B71C3B3E}"/>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chemeClr val="tx2"/>
                    </a:solidFill>
                    <a:effectLst/>
                    <a:uLnTx/>
                    <a:uFillTx/>
                    <a:latin typeface="+mj-lt"/>
                    <a:ea typeface="+mn-ea"/>
                    <a:cs typeface="+mn-cs"/>
                  </a:rPr>
                  <a:t>To switch from one chip level to another</a:t>
                </a:r>
                <a:r>
                  <a:rPr kumimoji="0" lang="fr-FR" sz="1000" b="1" i="0" u="none" strike="noStrike" kern="1200" cap="none" spc="0" normalizeH="0" baseline="0" noProof="0" dirty="0">
                    <a:ln>
                      <a:noFill/>
                    </a:ln>
                    <a:solidFill>
                      <a:schemeClr val="tx2"/>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schemeClr val="tx1"/>
                    </a:solidFill>
                    <a:effectLst/>
                    <a:uLnTx/>
                    <a:uFillTx/>
                    <a:latin typeface="+mj-lt"/>
                    <a:ea typeface="+mn-ea"/>
                    <a:cs typeface="+mn-cs"/>
                  </a:rPr>
                  <a:t>Select the desired line and use the tab forward or backward</a:t>
                </a:r>
                <a:endParaRPr kumimoji="0" lang="fr-FR" sz="1000" b="0" i="0" u="none" strike="noStrike" kern="1200" cap="none" spc="0" normalizeH="0" baseline="0" noProof="0" dirty="0">
                  <a:ln>
                    <a:noFill/>
                  </a:ln>
                  <a:solidFill>
                    <a:schemeClr val="tx1"/>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dirty="0">
                  <a:ln>
                    <a:noFill/>
                  </a:ln>
                  <a:solidFill>
                    <a:srgbClr val="595959"/>
                  </a:solidFill>
                  <a:effectLst/>
                  <a:uLnTx/>
                  <a:uFillTx/>
                  <a:latin typeface="+mj-lt"/>
                  <a:ea typeface="+mn-ea"/>
                  <a:cs typeface="+mn-cs"/>
                </a:endParaRPr>
              </a:p>
            </p:txBody>
          </p:sp>
        </p:grpSp>
        <p:pic>
          <p:nvPicPr>
            <p:cNvPr id="17" name="Image 16">
              <a:extLst>
                <a:ext uri="{FF2B5EF4-FFF2-40B4-BE49-F238E27FC236}">
                  <a16:creationId xmlns:a16="http://schemas.microsoft.com/office/drawing/2014/main" id="{F5D1479B-88A6-4544-9D89-36F6FBF14FA8}"/>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18" name="Image 17">
              <a:extLst>
                <a:ext uri="{FF2B5EF4-FFF2-40B4-BE49-F238E27FC236}">
                  <a16:creationId xmlns:a16="http://schemas.microsoft.com/office/drawing/2014/main" id="{67976A57-37A2-4A13-820B-DE094F8122C6}"/>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Tree>
    <p:extLst>
      <p:ext uri="{BB962C8B-B14F-4D97-AF65-F5344CB8AC3E}">
        <p14:creationId xmlns:p14="http://schemas.microsoft.com/office/powerpoint/2010/main" val="3153390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C8C713C4-860B-43C3-9A59-EFC6D99D1429}"/>
              </a:ext>
            </a:extLst>
          </p:cNvPr>
          <p:cNvGraphicFramePr>
            <a:graphicFrameLocks noChangeAspect="1"/>
          </p:cNvGraphicFramePr>
          <p:nvPr userDrawn="1">
            <p:custDataLst>
              <p:tags r:id="rId26"/>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7" name="Diapositive think-cell" r:id="rId27" imgW="425" imgH="424" progId="TCLayout.ActiveDocument.1">
                  <p:embed/>
                </p:oleObj>
              </mc:Choice>
              <mc:Fallback>
                <p:oleObj name="Diapositive think-cell" r:id="rId27" imgW="425" imgH="424" progId="TCLayout.ActiveDocument.1">
                  <p:embed/>
                  <p:pic>
                    <p:nvPicPr>
                      <p:cNvPr id="4" name="Objet 3" hidden="1">
                        <a:extLst>
                          <a:ext uri="{FF2B5EF4-FFF2-40B4-BE49-F238E27FC236}">
                            <a16:creationId xmlns:a16="http://schemas.microsoft.com/office/drawing/2014/main" id="{C8C713C4-860B-43C3-9A59-EFC6D99D1429}"/>
                          </a:ext>
                        </a:extLst>
                      </p:cNvPr>
                      <p:cNvPicPr/>
                      <p:nvPr/>
                    </p:nvPicPr>
                    <p:blipFill>
                      <a:blip r:embed="rId28"/>
                      <a:stretch>
                        <a:fillRect/>
                      </a:stretch>
                    </p:blipFill>
                    <p:spPr>
                      <a:xfrm>
                        <a:off x="1588" y="1588"/>
                        <a:ext cx="1588" cy="1588"/>
                      </a:xfrm>
                      <a:prstGeom prst="rect">
                        <a:avLst/>
                      </a:prstGeom>
                    </p:spPr>
                  </p:pic>
                </p:oleObj>
              </mc:Fallback>
            </mc:AlternateContent>
          </a:graphicData>
        </a:graphic>
      </p:graphicFrame>
      <p:sp>
        <p:nvSpPr>
          <p:cNvPr id="10" name="Espace réservé du titre 1">
            <a:extLst>
              <a:ext uri="{FF2B5EF4-FFF2-40B4-BE49-F238E27FC236}">
                <a16:creationId xmlns:a16="http://schemas.microsoft.com/office/drawing/2014/main" id="{0DA339D5-0B99-4498-A083-0F394D068D15}"/>
              </a:ext>
            </a:extLst>
          </p:cNvPr>
          <p:cNvSpPr>
            <a:spLocks noGrp="1"/>
          </p:cNvSpPr>
          <p:nvPr>
            <p:ph type="title"/>
          </p:nvPr>
        </p:nvSpPr>
        <p:spPr>
          <a:xfrm>
            <a:off x="741529" y="440971"/>
            <a:ext cx="10612271" cy="480131"/>
          </a:xfrm>
          <a:prstGeom prst="rect">
            <a:avLst/>
          </a:prstGeom>
        </p:spPr>
        <p:txBody>
          <a:bodyPr vert="horz" lIns="0" tIns="45720" rIns="91440" bIns="45720" rtlCol="0" anchor="t">
            <a:spAutoFit/>
          </a:bodyPr>
          <a:lstStyle/>
          <a:p>
            <a:r>
              <a:rPr lang="en-GB" dirty="0"/>
              <a:t>TITLE OF THE SLIDE</a:t>
            </a:r>
          </a:p>
        </p:txBody>
      </p:sp>
      <p:cxnSp>
        <p:nvCxnSpPr>
          <p:cNvPr id="11" name="Connecteur droit 10">
            <a:extLst>
              <a:ext uri="{FF2B5EF4-FFF2-40B4-BE49-F238E27FC236}">
                <a16:creationId xmlns:a16="http://schemas.microsoft.com/office/drawing/2014/main" id="{5F0E63F3-F69F-4E66-877E-094461D2F552}"/>
              </a:ext>
            </a:extLst>
          </p:cNvPr>
          <p:cNvCxnSpPr>
            <a:cxnSpLocks/>
          </p:cNvCxnSpPr>
          <p:nvPr userDrawn="1"/>
        </p:nvCxnSpPr>
        <p:spPr>
          <a:xfrm>
            <a:off x="741529" y="958574"/>
            <a:ext cx="34892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 name="Espace réservé du texte 2">
            <a:extLst>
              <a:ext uri="{FF2B5EF4-FFF2-40B4-BE49-F238E27FC236}">
                <a16:creationId xmlns:a16="http://schemas.microsoft.com/office/drawing/2014/main" id="{BA037722-EE0A-44B4-AAC5-F14D47043542}"/>
              </a:ext>
            </a:extLst>
          </p:cNvPr>
          <p:cNvSpPr>
            <a:spLocks noGrp="1"/>
          </p:cNvSpPr>
          <p:nvPr>
            <p:ph type="body" idx="1"/>
          </p:nvPr>
        </p:nvSpPr>
        <p:spPr>
          <a:xfrm>
            <a:off x="411982" y="1825625"/>
            <a:ext cx="10941818" cy="4351338"/>
          </a:xfrm>
          <a:prstGeom prst="rect">
            <a:avLst/>
          </a:prstGeom>
        </p:spPr>
        <p:txBody>
          <a:bodyPr vert="horz" lIns="91440" tIns="45720" rIns="91440" bIns="45720" rtlCol="0">
            <a:normAutofit/>
          </a:bodyPr>
          <a:lstStyle/>
          <a:p>
            <a:pPr lvl="0"/>
            <a:r>
              <a:rPr lang="en-GB" dirty="0"/>
              <a:t>click here to modify your level 01 text </a:t>
            </a:r>
          </a:p>
          <a:p>
            <a:pPr lvl="1"/>
            <a:r>
              <a:rPr lang="en-GB" dirty="0"/>
              <a:t>Level 02 text in Arial, 18 corps, without bold</a:t>
            </a:r>
          </a:p>
          <a:p>
            <a:pPr lvl="2"/>
            <a:r>
              <a:rPr lang="en-GB" dirty="0"/>
              <a:t>Level 03 text in Arial, 16 corps, without bold</a:t>
            </a:r>
          </a:p>
          <a:p>
            <a:pPr lvl="3"/>
            <a:r>
              <a:rPr lang="en-US" dirty="0"/>
              <a:t>Level 04 text in Arial, 14 corps, without bold</a:t>
            </a:r>
            <a:endParaRPr lang="en-GB" dirty="0"/>
          </a:p>
        </p:txBody>
      </p:sp>
      <p:sp>
        <p:nvSpPr>
          <p:cNvPr id="15" name="Espace réservé de la date 14">
            <a:extLst>
              <a:ext uri="{FF2B5EF4-FFF2-40B4-BE49-F238E27FC236}">
                <a16:creationId xmlns:a16="http://schemas.microsoft.com/office/drawing/2014/main" id="{A8519979-FC16-43DC-AB98-02D9DBCA885B}"/>
              </a:ext>
            </a:extLst>
          </p:cNvPr>
          <p:cNvSpPr>
            <a:spLocks noGrp="1"/>
          </p:cNvSpPr>
          <p:nvPr>
            <p:ph type="dt" sz="half" idx="2"/>
          </p:nvPr>
        </p:nvSpPr>
        <p:spPr>
          <a:xfrm>
            <a:off x="5100202" y="6358488"/>
            <a:ext cx="1991599" cy="360850"/>
          </a:xfrm>
          <a:prstGeom prst="rect">
            <a:avLst/>
          </a:prstGeom>
          <a:solidFill>
            <a:schemeClr val="bg2"/>
          </a:solidFill>
        </p:spPr>
        <p:txBody>
          <a:bodyPr vert="horz" wrap="none" lIns="144000" tIns="72000" rIns="144000" bIns="72000" rtlCol="0" anchor="ctr">
            <a:spAutoFit/>
          </a:bodyPr>
          <a:lstStyle>
            <a:lvl1pPr algn="ctr">
              <a:defRPr sz="1400" cap="all" spc="300" baseline="0">
                <a:solidFill>
                  <a:schemeClr val="bg1"/>
                </a:solidFill>
              </a:defRPr>
            </a:lvl1pPr>
          </a:lstStyle>
          <a:p>
            <a:fld id="{6C8800D7-27AF-4EE9-96FB-23865760019E}" type="datetime6">
              <a:rPr lang="en-GB" smtClean="0"/>
              <a:pPr/>
              <a:t>April 22</a:t>
            </a:fld>
            <a:endParaRPr lang="en-GB" dirty="0"/>
          </a:p>
        </p:txBody>
      </p:sp>
      <p:sp>
        <p:nvSpPr>
          <p:cNvPr id="16" name="Forme libre : forme 15">
            <a:extLst>
              <a:ext uri="{FF2B5EF4-FFF2-40B4-BE49-F238E27FC236}">
                <a16:creationId xmlns:a16="http://schemas.microsoft.com/office/drawing/2014/main" id="{DDF5DBEF-7E51-488A-B48B-168EFE76CD2F}"/>
              </a:ext>
            </a:extLst>
          </p:cNvPr>
          <p:cNvSpPr>
            <a:spLocks/>
          </p:cNvSpPr>
          <p:nvPr userDrawn="1"/>
        </p:nvSpPr>
        <p:spPr bwMode="auto">
          <a:xfrm>
            <a:off x="11149013" y="6488112"/>
            <a:ext cx="886159" cy="219074"/>
          </a:xfrm>
          <a:custGeom>
            <a:avLst/>
            <a:gdLst>
              <a:gd name="connsiteX0" fmla="*/ 809625 w 886159"/>
              <a:gd name="connsiteY0" fmla="*/ 77787 h 219074"/>
              <a:gd name="connsiteX1" fmla="*/ 885527 w 886159"/>
              <a:gd name="connsiteY1" fmla="*/ 152284 h 219074"/>
              <a:gd name="connsiteX2" fmla="*/ 882997 w 886159"/>
              <a:gd name="connsiteY2" fmla="*/ 154853 h 219074"/>
              <a:gd name="connsiteX3" fmla="*/ 776733 w 886159"/>
              <a:gd name="connsiteY3" fmla="*/ 154853 h 219074"/>
              <a:gd name="connsiteX4" fmla="*/ 776733 w 886159"/>
              <a:gd name="connsiteY4" fmla="*/ 152284 h 219074"/>
              <a:gd name="connsiteX5" fmla="*/ 776733 w 886159"/>
              <a:gd name="connsiteY5" fmla="*/ 142009 h 219074"/>
              <a:gd name="connsiteX6" fmla="*/ 776733 w 886159"/>
              <a:gd name="connsiteY6" fmla="*/ 139440 h 219074"/>
              <a:gd name="connsiteX7" fmla="*/ 855166 w 886159"/>
              <a:gd name="connsiteY7" fmla="*/ 139440 h 219074"/>
              <a:gd name="connsiteX8" fmla="*/ 809625 w 886159"/>
              <a:gd name="connsiteY8" fmla="*/ 93200 h 219074"/>
              <a:gd name="connsiteX9" fmla="*/ 759023 w 886159"/>
              <a:gd name="connsiteY9" fmla="*/ 149715 h 219074"/>
              <a:gd name="connsiteX10" fmla="*/ 822275 w 886159"/>
              <a:gd name="connsiteY10" fmla="*/ 201092 h 219074"/>
              <a:gd name="connsiteX11" fmla="*/ 870346 w 886159"/>
              <a:gd name="connsiteY11" fmla="*/ 193386 h 219074"/>
              <a:gd name="connsiteX12" fmla="*/ 870346 w 886159"/>
              <a:gd name="connsiteY12" fmla="*/ 195955 h 219074"/>
              <a:gd name="connsiteX13" fmla="*/ 862756 w 886159"/>
              <a:gd name="connsiteY13" fmla="*/ 213937 h 219074"/>
              <a:gd name="connsiteX14" fmla="*/ 817215 w 886159"/>
              <a:gd name="connsiteY14" fmla="*/ 219074 h 219074"/>
              <a:gd name="connsiteX15" fmla="*/ 728662 w 886159"/>
              <a:gd name="connsiteY15" fmla="*/ 149715 h 219074"/>
              <a:gd name="connsiteX16" fmla="*/ 809625 w 886159"/>
              <a:gd name="connsiteY16" fmla="*/ 77787 h 219074"/>
              <a:gd name="connsiteX17" fmla="*/ 662197 w 886159"/>
              <a:gd name="connsiteY17" fmla="*/ 77787 h 219074"/>
              <a:gd name="connsiteX18" fmla="*/ 717550 w 886159"/>
              <a:gd name="connsiteY18" fmla="*/ 90632 h 219074"/>
              <a:gd name="connsiteX19" fmla="*/ 707486 w 886159"/>
              <a:gd name="connsiteY19" fmla="*/ 111182 h 219074"/>
              <a:gd name="connsiteX20" fmla="*/ 704970 w 886159"/>
              <a:gd name="connsiteY20" fmla="*/ 111182 h 219074"/>
              <a:gd name="connsiteX21" fmla="*/ 664713 w 886159"/>
              <a:gd name="connsiteY21" fmla="*/ 95769 h 219074"/>
              <a:gd name="connsiteX22" fmla="*/ 614392 w 886159"/>
              <a:gd name="connsiteY22" fmla="*/ 149715 h 219074"/>
              <a:gd name="connsiteX23" fmla="*/ 664713 w 886159"/>
              <a:gd name="connsiteY23" fmla="*/ 201092 h 219074"/>
              <a:gd name="connsiteX24" fmla="*/ 699938 w 886159"/>
              <a:gd name="connsiteY24" fmla="*/ 195955 h 219074"/>
              <a:gd name="connsiteX25" fmla="*/ 702454 w 886159"/>
              <a:gd name="connsiteY25" fmla="*/ 198523 h 219074"/>
              <a:gd name="connsiteX26" fmla="*/ 692390 w 886159"/>
              <a:gd name="connsiteY26" fmla="*/ 213937 h 219074"/>
              <a:gd name="connsiteX27" fmla="*/ 662197 w 886159"/>
              <a:gd name="connsiteY27" fmla="*/ 219074 h 219074"/>
              <a:gd name="connsiteX28" fmla="*/ 584200 w 886159"/>
              <a:gd name="connsiteY28" fmla="*/ 149715 h 219074"/>
              <a:gd name="connsiteX29" fmla="*/ 662197 w 886159"/>
              <a:gd name="connsiteY29" fmla="*/ 77787 h 219074"/>
              <a:gd name="connsiteX30" fmla="*/ 476249 w 886159"/>
              <a:gd name="connsiteY30" fmla="*/ 77787 h 219074"/>
              <a:gd name="connsiteX31" fmla="*/ 557212 w 886159"/>
              <a:gd name="connsiteY31" fmla="*/ 154853 h 219074"/>
              <a:gd name="connsiteX32" fmla="*/ 557212 w 886159"/>
              <a:gd name="connsiteY32" fmla="*/ 216505 h 219074"/>
              <a:gd name="connsiteX33" fmla="*/ 554682 w 886159"/>
              <a:gd name="connsiteY33" fmla="*/ 216505 h 219074"/>
              <a:gd name="connsiteX34" fmla="*/ 526851 w 886159"/>
              <a:gd name="connsiteY34" fmla="*/ 216505 h 219074"/>
              <a:gd name="connsiteX35" fmla="*/ 524321 w 886159"/>
              <a:gd name="connsiteY35" fmla="*/ 216505 h 219074"/>
              <a:gd name="connsiteX36" fmla="*/ 524321 w 886159"/>
              <a:gd name="connsiteY36" fmla="*/ 154853 h 219074"/>
              <a:gd name="connsiteX37" fmla="*/ 476249 w 886159"/>
              <a:gd name="connsiteY37" fmla="*/ 95769 h 219074"/>
              <a:gd name="connsiteX38" fmla="*/ 428178 w 886159"/>
              <a:gd name="connsiteY38" fmla="*/ 149715 h 219074"/>
              <a:gd name="connsiteX39" fmla="*/ 473719 w 886159"/>
              <a:gd name="connsiteY39" fmla="*/ 201092 h 219074"/>
              <a:gd name="connsiteX40" fmla="*/ 499020 w 886159"/>
              <a:gd name="connsiteY40" fmla="*/ 195955 h 219074"/>
              <a:gd name="connsiteX41" fmla="*/ 501550 w 886159"/>
              <a:gd name="connsiteY41" fmla="*/ 198523 h 219074"/>
              <a:gd name="connsiteX42" fmla="*/ 496490 w 886159"/>
              <a:gd name="connsiteY42" fmla="*/ 216505 h 219074"/>
              <a:gd name="connsiteX43" fmla="*/ 471189 w 886159"/>
              <a:gd name="connsiteY43" fmla="*/ 219074 h 219074"/>
              <a:gd name="connsiteX44" fmla="*/ 395287 w 886159"/>
              <a:gd name="connsiteY44" fmla="*/ 149715 h 219074"/>
              <a:gd name="connsiteX45" fmla="*/ 476249 w 886159"/>
              <a:gd name="connsiteY45" fmla="*/ 77787 h 219074"/>
              <a:gd name="connsiteX46" fmla="*/ 202627 w 886159"/>
              <a:gd name="connsiteY46" fmla="*/ 77787 h 219074"/>
              <a:gd name="connsiteX47" fmla="*/ 282575 w 886159"/>
              <a:gd name="connsiteY47" fmla="*/ 149715 h 219074"/>
              <a:gd name="connsiteX48" fmla="*/ 200129 w 886159"/>
              <a:gd name="connsiteY48" fmla="*/ 219074 h 219074"/>
              <a:gd name="connsiteX49" fmla="*/ 130175 w 886159"/>
              <a:gd name="connsiteY49" fmla="*/ 195955 h 219074"/>
              <a:gd name="connsiteX50" fmla="*/ 145165 w 886159"/>
              <a:gd name="connsiteY50" fmla="*/ 165128 h 219074"/>
              <a:gd name="connsiteX51" fmla="*/ 147664 w 886159"/>
              <a:gd name="connsiteY51" fmla="*/ 165128 h 219074"/>
              <a:gd name="connsiteX52" fmla="*/ 200129 w 886159"/>
              <a:gd name="connsiteY52" fmla="*/ 201092 h 219074"/>
              <a:gd name="connsiteX53" fmla="*/ 250096 w 886159"/>
              <a:gd name="connsiteY53" fmla="*/ 149715 h 219074"/>
              <a:gd name="connsiteX54" fmla="*/ 202627 w 886159"/>
              <a:gd name="connsiteY54" fmla="*/ 95769 h 219074"/>
              <a:gd name="connsiteX55" fmla="*/ 175145 w 886159"/>
              <a:gd name="connsiteY55" fmla="*/ 98338 h 219074"/>
              <a:gd name="connsiteX56" fmla="*/ 172647 w 886159"/>
              <a:gd name="connsiteY56" fmla="*/ 95769 h 219074"/>
              <a:gd name="connsiteX57" fmla="*/ 180142 w 886159"/>
              <a:gd name="connsiteY57" fmla="*/ 80356 h 219074"/>
              <a:gd name="connsiteX58" fmla="*/ 202627 w 886159"/>
              <a:gd name="connsiteY58" fmla="*/ 77787 h 219074"/>
              <a:gd name="connsiteX59" fmla="*/ 82446 w 886159"/>
              <a:gd name="connsiteY59" fmla="*/ 77787 h 219074"/>
              <a:gd name="connsiteX60" fmla="*/ 152400 w 886159"/>
              <a:gd name="connsiteY60" fmla="*/ 100907 h 219074"/>
              <a:gd name="connsiteX61" fmla="*/ 137410 w 886159"/>
              <a:gd name="connsiteY61" fmla="*/ 129164 h 219074"/>
              <a:gd name="connsiteX62" fmla="*/ 132413 w 886159"/>
              <a:gd name="connsiteY62" fmla="*/ 129164 h 219074"/>
              <a:gd name="connsiteX63" fmla="*/ 82446 w 886159"/>
              <a:gd name="connsiteY63" fmla="*/ 95769 h 219074"/>
              <a:gd name="connsiteX64" fmla="*/ 32479 w 886159"/>
              <a:gd name="connsiteY64" fmla="*/ 147146 h 219074"/>
              <a:gd name="connsiteX65" fmla="*/ 79948 w 886159"/>
              <a:gd name="connsiteY65" fmla="*/ 201092 h 219074"/>
              <a:gd name="connsiteX66" fmla="*/ 107430 w 886159"/>
              <a:gd name="connsiteY66" fmla="*/ 195955 h 219074"/>
              <a:gd name="connsiteX67" fmla="*/ 109928 w 886159"/>
              <a:gd name="connsiteY67" fmla="*/ 201092 h 219074"/>
              <a:gd name="connsiteX68" fmla="*/ 102433 w 886159"/>
              <a:gd name="connsiteY68" fmla="*/ 216505 h 219074"/>
              <a:gd name="connsiteX69" fmla="*/ 79948 w 886159"/>
              <a:gd name="connsiteY69" fmla="*/ 219074 h 219074"/>
              <a:gd name="connsiteX70" fmla="*/ 0 w 886159"/>
              <a:gd name="connsiteY70" fmla="*/ 147146 h 219074"/>
              <a:gd name="connsiteX71" fmla="*/ 82446 w 886159"/>
              <a:gd name="connsiteY71" fmla="*/ 77787 h 219074"/>
              <a:gd name="connsiteX72" fmla="*/ 385676 w 886159"/>
              <a:gd name="connsiteY72" fmla="*/ 0 h 219074"/>
              <a:gd name="connsiteX73" fmla="*/ 433387 w 886159"/>
              <a:gd name="connsiteY73" fmla="*/ 10160 h 219074"/>
              <a:gd name="connsiteX74" fmla="*/ 423342 w 886159"/>
              <a:gd name="connsiteY74" fmla="*/ 30480 h 219074"/>
              <a:gd name="connsiteX75" fmla="*/ 420831 w 886159"/>
              <a:gd name="connsiteY75" fmla="*/ 30480 h 219074"/>
              <a:gd name="connsiteX76" fmla="*/ 385676 w 886159"/>
              <a:gd name="connsiteY76" fmla="*/ 17780 h 219074"/>
              <a:gd name="connsiteX77" fmla="*/ 345498 w 886159"/>
              <a:gd name="connsiteY77" fmla="*/ 63500 h 219074"/>
              <a:gd name="connsiteX78" fmla="*/ 345498 w 886159"/>
              <a:gd name="connsiteY78" fmla="*/ 83820 h 219074"/>
              <a:gd name="connsiteX79" fmla="*/ 385676 w 886159"/>
              <a:gd name="connsiteY79" fmla="*/ 83820 h 219074"/>
              <a:gd name="connsiteX80" fmla="*/ 388187 w 886159"/>
              <a:gd name="connsiteY80" fmla="*/ 86360 h 219074"/>
              <a:gd name="connsiteX81" fmla="*/ 380653 w 886159"/>
              <a:gd name="connsiteY81" fmla="*/ 96520 h 219074"/>
              <a:gd name="connsiteX82" fmla="*/ 378142 w 886159"/>
              <a:gd name="connsiteY82" fmla="*/ 99060 h 219074"/>
              <a:gd name="connsiteX83" fmla="*/ 345498 w 886159"/>
              <a:gd name="connsiteY83" fmla="*/ 99060 h 219074"/>
              <a:gd name="connsiteX84" fmla="*/ 345498 w 886159"/>
              <a:gd name="connsiteY84" fmla="*/ 215900 h 219074"/>
              <a:gd name="connsiteX85" fmla="*/ 342986 w 886159"/>
              <a:gd name="connsiteY85" fmla="*/ 215900 h 219074"/>
              <a:gd name="connsiteX86" fmla="*/ 317875 w 886159"/>
              <a:gd name="connsiteY86" fmla="*/ 215900 h 219074"/>
              <a:gd name="connsiteX87" fmla="*/ 317875 w 886159"/>
              <a:gd name="connsiteY87" fmla="*/ 99060 h 219074"/>
              <a:gd name="connsiteX88" fmla="*/ 297786 w 886159"/>
              <a:gd name="connsiteY88" fmla="*/ 99060 h 219074"/>
              <a:gd name="connsiteX89" fmla="*/ 295275 w 886159"/>
              <a:gd name="connsiteY89" fmla="*/ 96520 h 219074"/>
              <a:gd name="connsiteX90" fmla="*/ 295275 w 886159"/>
              <a:gd name="connsiteY90" fmla="*/ 86360 h 219074"/>
              <a:gd name="connsiteX91" fmla="*/ 297786 w 886159"/>
              <a:gd name="connsiteY91" fmla="*/ 83820 h 219074"/>
              <a:gd name="connsiteX92" fmla="*/ 315364 w 886159"/>
              <a:gd name="connsiteY92" fmla="*/ 83820 h 219074"/>
              <a:gd name="connsiteX93" fmla="*/ 315364 w 886159"/>
              <a:gd name="connsiteY93" fmla="*/ 68580 h 219074"/>
              <a:gd name="connsiteX94" fmla="*/ 385676 w 886159"/>
              <a:gd name="connsiteY94" fmla="*/ 0 h 219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Lst>
            <a:rect l="l" t="t" r="r" b="b"/>
            <a:pathLst>
              <a:path w="886159" h="219074">
                <a:moveTo>
                  <a:pt x="809625" y="77787"/>
                </a:moveTo>
                <a:cubicBezTo>
                  <a:pt x="865286" y="77787"/>
                  <a:pt x="890587" y="113751"/>
                  <a:pt x="885527" y="152284"/>
                </a:cubicBezTo>
                <a:cubicBezTo>
                  <a:pt x="885527" y="154853"/>
                  <a:pt x="885527" y="154853"/>
                  <a:pt x="882997" y="154853"/>
                </a:cubicBezTo>
                <a:cubicBezTo>
                  <a:pt x="882997" y="154853"/>
                  <a:pt x="882997" y="154853"/>
                  <a:pt x="776733" y="154853"/>
                </a:cubicBezTo>
                <a:cubicBezTo>
                  <a:pt x="776733" y="154853"/>
                  <a:pt x="776733" y="154853"/>
                  <a:pt x="776733" y="152284"/>
                </a:cubicBezTo>
                <a:cubicBezTo>
                  <a:pt x="776733" y="152284"/>
                  <a:pt x="776733" y="152284"/>
                  <a:pt x="776733" y="142009"/>
                </a:cubicBezTo>
                <a:cubicBezTo>
                  <a:pt x="776733" y="142009"/>
                  <a:pt x="776733" y="139440"/>
                  <a:pt x="776733" y="139440"/>
                </a:cubicBezTo>
                <a:cubicBezTo>
                  <a:pt x="776733" y="139440"/>
                  <a:pt x="776733" y="139440"/>
                  <a:pt x="855166" y="139440"/>
                </a:cubicBezTo>
                <a:cubicBezTo>
                  <a:pt x="857696" y="118889"/>
                  <a:pt x="842516" y="93200"/>
                  <a:pt x="809625" y="93200"/>
                </a:cubicBezTo>
                <a:cubicBezTo>
                  <a:pt x="776733" y="93200"/>
                  <a:pt x="759023" y="113751"/>
                  <a:pt x="759023" y="149715"/>
                </a:cubicBezTo>
                <a:cubicBezTo>
                  <a:pt x="759023" y="183110"/>
                  <a:pt x="781794" y="201092"/>
                  <a:pt x="822275" y="201092"/>
                </a:cubicBezTo>
                <a:cubicBezTo>
                  <a:pt x="842516" y="201092"/>
                  <a:pt x="857696" y="198523"/>
                  <a:pt x="870346" y="193386"/>
                </a:cubicBezTo>
                <a:cubicBezTo>
                  <a:pt x="870346" y="193386"/>
                  <a:pt x="872876" y="195955"/>
                  <a:pt x="870346" y="195955"/>
                </a:cubicBezTo>
                <a:cubicBezTo>
                  <a:pt x="870346" y="195955"/>
                  <a:pt x="870346" y="195955"/>
                  <a:pt x="862756" y="213937"/>
                </a:cubicBezTo>
                <a:cubicBezTo>
                  <a:pt x="852636" y="216505"/>
                  <a:pt x="834925" y="219074"/>
                  <a:pt x="817215" y="219074"/>
                </a:cubicBezTo>
                <a:cubicBezTo>
                  <a:pt x="759023" y="219074"/>
                  <a:pt x="728662" y="195955"/>
                  <a:pt x="728662" y="149715"/>
                </a:cubicBezTo>
                <a:cubicBezTo>
                  <a:pt x="728662" y="108614"/>
                  <a:pt x="759023" y="77787"/>
                  <a:pt x="809625" y="77787"/>
                </a:cubicBezTo>
                <a:close/>
                <a:moveTo>
                  <a:pt x="662197" y="77787"/>
                </a:moveTo>
                <a:cubicBezTo>
                  <a:pt x="687358" y="77787"/>
                  <a:pt x="707486" y="85494"/>
                  <a:pt x="717550" y="90632"/>
                </a:cubicBezTo>
                <a:cubicBezTo>
                  <a:pt x="717550" y="90632"/>
                  <a:pt x="717550" y="90632"/>
                  <a:pt x="707486" y="111182"/>
                </a:cubicBezTo>
                <a:cubicBezTo>
                  <a:pt x="707486" y="111182"/>
                  <a:pt x="707486" y="111182"/>
                  <a:pt x="704970" y="111182"/>
                </a:cubicBezTo>
                <a:cubicBezTo>
                  <a:pt x="697422" y="100907"/>
                  <a:pt x="682325" y="95769"/>
                  <a:pt x="664713" y="95769"/>
                </a:cubicBezTo>
                <a:cubicBezTo>
                  <a:pt x="637037" y="95769"/>
                  <a:pt x="614392" y="113751"/>
                  <a:pt x="614392" y="149715"/>
                </a:cubicBezTo>
                <a:cubicBezTo>
                  <a:pt x="614392" y="183110"/>
                  <a:pt x="637037" y="201092"/>
                  <a:pt x="664713" y="201092"/>
                </a:cubicBezTo>
                <a:cubicBezTo>
                  <a:pt x="677293" y="201092"/>
                  <a:pt x="687358" y="201092"/>
                  <a:pt x="699938" y="195955"/>
                </a:cubicBezTo>
                <a:cubicBezTo>
                  <a:pt x="702454" y="195955"/>
                  <a:pt x="702454" y="195955"/>
                  <a:pt x="702454" y="198523"/>
                </a:cubicBezTo>
                <a:cubicBezTo>
                  <a:pt x="702454" y="198523"/>
                  <a:pt x="702454" y="198523"/>
                  <a:pt x="692390" y="213937"/>
                </a:cubicBezTo>
                <a:cubicBezTo>
                  <a:pt x="682325" y="219074"/>
                  <a:pt x="674777" y="219074"/>
                  <a:pt x="662197" y="219074"/>
                </a:cubicBezTo>
                <a:cubicBezTo>
                  <a:pt x="611876" y="219074"/>
                  <a:pt x="584200" y="188248"/>
                  <a:pt x="584200" y="149715"/>
                </a:cubicBezTo>
                <a:cubicBezTo>
                  <a:pt x="584200" y="108614"/>
                  <a:pt x="611876" y="77787"/>
                  <a:pt x="662197" y="77787"/>
                </a:cubicBezTo>
                <a:close/>
                <a:moveTo>
                  <a:pt x="476249" y="77787"/>
                </a:moveTo>
                <a:cubicBezTo>
                  <a:pt x="534441" y="77787"/>
                  <a:pt x="557212" y="111182"/>
                  <a:pt x="557212" y="154853"/>
                </a:cubicBezTo>
                <a:cubicBezTo>
                  <a:pt x="557212" y="154853"/>
                  <a:pt x="557212" y="154853"/>
                  <a:pt x="557212" y="216505"/>
                </a:cubicBezTo>
                <a:cubicBezTo>
                  <a:pt x="557212" y="216505"/>
                  <a:pt x="557212" y="216505"/>
                  <a:pt x="554682" y="216505"/>
                </a:cubicBezTo>
                <a:cubicBezTo>
                  <a:pt x="554682" y="216505"/>
                  <a:pt x="554682" y="216505"/>
                  <a:pt x="526851" y="216505"/>
                </a:cubicBezTo>
                <a:cubicBezTo>
                  <a:pt x="526851" y="216505"/>
                  <a:pt x="524321" y="216505"/>
                  <a:pt x="524321" y="216505"/>
                </a:cubicBezTo>
                <a:cubicBezTo>
                  <a:pt x="524321" y="216505"/>
                  <a:pt x="524321" y="216505"/>
                  <a:pt x="524321" y="154853"/>
                </a:cubicBezTo>
                <a:cubicBezTo>
                  <a:pt x="524321" y="118889"/>
                  <a:pt x="514201" y="95769"/>
                  <a:pt x="476249" y="95769"/>
                </a:cubicBezTo>
                <a:cubicBezTo>
                  <a:pt x="445889" y="95769"/>
                  <a:pt x="428178" y="116320"/>
                  <a:pt x="428178" y="149715"/>
                </a:cubicBezTo>
                <a:cubicBezTo>
                  <a:pt x="428178" y="172835"/>
                  <a:pt x="438298" y="201092"/>
                  <a:pt x="473719" y="201092"/>
                </a:cubicBezTo>
                <a:cubicBezTo>
                  <a:pt x="483840" y="201092"/>
                  <a:pt x="491430" y="198523"/>
                  <a:pt x="499020" y="195955"/>
                </a:cubicBezTo>
                <a:cubicBezTo>
                  <a:pt x="499020" y="195955"/>
                  <a:pt x="501550" y="198523"/>
                  <a:pt x="501550" y="198523"/>
                </a:cubicBezTo>
                <a:cubicBezTo>
                  <a:pt x="501550" y="198523"/>
                  <a:pt x="501550" y="198523"/>
                  <a:pt x="496490" y="216505"/>
                </a:cubicBezTo>
                <a:cubicBezTo>
                  <a:pt x="488900" y="219074"/>
                  <a:pt x="481310" y="219074"/>
                  <a:pt x="471189" y="219074"/>
                </a:cubicBezTo>
                <a:cubicBezTo>
                  <a:pt x="418058" y="219074"/>
                  <a:pt x="395287" y="188248"/>
                  <a:pt x="395287" y="149715"/>
                </a:cubicBezTo>
                <a:cubicBezTo>
                  <a:pt x="395287" y="106045"/>
                  <a:pt x="428178" y="77787"/>
                  <a:pt x="476249" y="77787"/>
                </a:cubicBezTo>
                <a:close/>
                <a:moveTo>
                  <a:pt x="202627" y="77787"/>
                </a:moveTo>
                <a:cubicBezTo>
                  <a:pt x="257591" y="77787"/>
                  <a:pt x="282575" y="108614"/>
                  <a:pt x="282575" y="149715"/>
                </a:cubicBezTo>
                <a:cubicBezTo>
                  <a:pt x="282575" y="188248"/>
                  <a:pt x="255093" y="219074"/>
                  <a:pt x="200129" y="219074"/>
                </a:cubicBezTo>
                <a:cubicBezTo>
                  <a:pt x="167650" y="219074"/>
                  <a:pt x="145165" y="208799"/>
                  <a:pt x="130175" y="195955"/>
                </a:cubicBezTo>
                <a:cubicBezTo>
                  <a:pt x="130175" y="195955"/>
                  <a:pt x="130175" y="195955"/>
                  <a:pt x="145165" y="165128"/>
                </a:cubicBezTo>
                <a:cubicBezTo>
                  <a:pt x="145165" y="165128"/>
                  <a:pt x="147664" y="165128"/>
                  <a:pt x="147664" y="165128"/>
                </a:cubicBezTo>
                <a:cubicBezTo>
                  <a:pt x="155159" y="185679"/>
                  <a:pt x="172647" y="201092"/>
                  <a:pt x="200129" y="201092"/>
                </a:cubicBezTo>
                <a:cubicBezTo>
                  <a:pt x="230109" y="201092"/>
                  <a:pt x="250096" y="180541"/>
                  <a:pt x="250096" y="149715"/>
                </a:cubicBezTo>
                <a:cubicBezTo>
                  <a:pt x="250096" y="111182"/>
                  <a:pt x="230109" y="95769"/>
                  <a:pt x="202627" y="95769"/>
                </a:cubicBezTo>
                <a:cubicBezTo>
                  <a:pt x="190136" y="95769"/>
                  <a:pt x="182641" y="98338"/>
                  <a:pt x="175145" y="98338"/>
                </a:cubicBezTo>
                <a:cubicBezTo>
                  <a:pt x="172647" y="100907"/>
                  <a:pt x="170149" y="98338"/>
                  <a:pt x="172647" y="95769"/>
                </a:cubicBezTo>
                <a:cubicBezTo>
                  <a:pt x="172647" y="95769"/>
                  <a:pt x="172647" y="95769"/>
                  <a:pt x="180142" y="80356"/>
                </a:cubicBezTo>
                <a:cubicBezTo>
                  <a:pt x="187637" y="77787"/>
                  <a:pt x="195132" y="77787"/>
                  <a:pt x="202627" y="77787"/>
                </a:cubicBezTo>
                <a:close/>
                <a:moveTo>
                  <a:pt x="82446" y="77787"/>
                </a:moveTo>
                <a:cubicBezTo>
                  <a:pt x="112426" y="77787"/>
                  <a:pt x="137410" y="88063"/>
                  <a:pt x="152400" y="100907"/>
                </a:cubicBezTo>
                <a:cubicBezTo>
                  <a:pt x="152400" y="100907"/>
                  <a:pt x="152400" y="100907"/>
                  <a:pt x="137410" y="129164"/>
                </a:cubicBezTo>
                <a:cubicBezTo>
                  <a:pt x="137410" y="131733"/>
                  <a:pt x="134911" y="131733"/>
                  <a:pt x="132413" y="129164"/>
                </a:cubicBezTo>
                <a:cubicBezTo>
                  <a:pt x="127416" y="111182"/>
                  <a:pt x="109928" y="95769"/>
                  <a:pt x="82446" y="95769"/>
                </a:cubicBezTo>
                <a:cubicBezTo>
                  <a:pt x="52466" y="95769"/>
                  <a:pt x="32479" y="113751"/>
                  <a:pt x="32479" y="147146"/>
                </a:cubicBezTo>
                <a:cubicBezTo>
                  <a:pt x="32479" y="183110"/>
                  <a:pt x="52466" y="201092"/>
                  <a:pt x="79948" y="201092"/>
                </a:cubicBezTo>
                <a:cubicBezTo>
                  <a:pt x="92439" y="201092"/>
                  <a:pt x="99934" y="198523"/>
                  <a:pt x="107430" y="195955"/>
                </a:cubicBezTo>
                <a:cubicBezTo>
                  <a:pt x="109928" y="195955"/>
                  <a:pt x="109928" y="198523"/>
                  <a:pt x="109928" y="201092"/>
                </a:cubicBezTo>
                <a:cubicBezTo>
                  <a:pt x="109928" y="201092"/>
                  <a:pt x="109928" y="201092"/>
                  <a:pt x="102433" y="216505"/>
                </a:cubicBezTo>
                <a:cubicBezTo>
                  <a:pt x="94938" y="219074"/>
                  <a:pt x="87443" y="219074"/>
                  <a:pt x="79948" y="219074"/>
                </a:cubicBezTo>
                <a:cubicBezTo>
                  <a:pt x="24984" y="219074"/>
                  <a:pt x="0" y="185679"/>
                  <a:pt x="0" y="147146"/>
                </a:cubicBezTo>
                <a:cubicBezTo>
                  <a:pt x="0" y="108614"/>
                  <a:pt x="27482" y="77787"/>
                  <a:pt x="82446" y="77787"/>
                </a:cubicBezTo>
                <a:close/>
                <a:moveTo>
                  <a:pt x="385676" y="0"/>
                </a:moveTo>
                <a:cubicBezTo>
                  <a:pt x="403253" y="0"/>
                  <a:pt x="420831" y="5080"/>
                  <a:pt x="433387" y="10160"/>
                </a:cubicBezTo>
                <a:cubicBezTo>
                  <a:pt x="433387" y="10160"/>
                  <a:pt x="433387" y="10160"/>
                  <a:pt x="423342" y="30480"/>
                </a:cubicBezTo>
                <a:cubicBezTo>
                  <a:pt x="423342" y="30480"/>
                  <a:pt x="423342" y="30480"/>
                  <a:pt x="420831" y="30480"/>
                </a:cubicBezTo>
                <a:cubicBezTo>
                  <a:pt x="413298" y="22860"/>
                  <a:pt x="400742" y="17780"/>
                  <a:pt x="385676" y="17780"/>
                </a:cubicBezTo>
                <a:cubicBezTo>
                  <a:pt x="353031" y="17780"/>
                  <a:pt x="345498" y="40640"/>
                  <a:pt x="345498" y="63500"/>
                </a:cubicBezTo>
                <a:cubicBezTo>
                  <a:pt x="345498" y="63500"/>
                  <a:pt x="345498" y="63500"/>
                  <a:pt x="345498" y="83820"/>
                </a:cubicBezTo>
                <a:cubicBezTo>
                  <a:pt x="345498" y="83820"/>
                  <a:pt x="345498" y="83820"/>
                  <a:pt x="385676" y="83820"/>
                </a:cubicBezTo>
                <a:cubicBezTo>
                  <a:pt x="385676" y="83820"/>
                  <a:pt x="388187" y="83820"/>
                  <a:pt x="388187" y="86360"/>
                </a:cubicBezTo>
                <a:cubicBezTo>
                  <a:pt x="388187" y="86360"/>
                  <a:pt x="388187" y="86360"/>
                  <a:pt x="380653" y="96520"/>
                </a:cubicBezTo>
                <a:cubicBezTo>
                  <a:pt x="380653" y="99060"/>
                  <a:pt x="380653" y="99060"/>
                  <a:pt x="378142" y="99060"/>
                </a:cubicBezTo>
                <a:cubicBezTo>
                  <a:pt x="378142" y="99060"/>
                  <a:pt x="378142" y="99060"/>
                  <a:pt x="345498" y="99060"/>
                </a:cubicBezTo>
                <a:cubicBezTo>
                  <a:pt x="345498" y="99060"/>
                  <a:pt x="345498" y="99060"/>
                  <a:pt x="345498" y="215900"/>
                </a:cubicBezTo>
                <a:cubicBezTo>
                  <a:pt x="345498" y="215900"/>
                  <a:pt x="345498" y="215900"/>
                  <a:pt x="342986" y="215900"/>
                </a:cubicBezTo>
                <a:cubicBezTo>
                  <a:pt x="342986" y="215900"/>
                  <a:pt x="342986" y="215900"/>
                  <a:pt x="317875" y="215900"/>
                </a:cubicBezTo>
                <a:cubicBezTo>
                  <a:pt x="317875" y="215900"/>
                  <a:pt x="317875" y="215900"/>
                  <a:pt x="317875" y="99060"/>
                </a:cubicBezTo>
                <a:cubicBezTo>
                  <a:pt x="317875" y="99060"/>
                  <a:pt x="317875" y="99060"/>
                  <a:pt x="297786" y="99060"/>
                </a:cubicBezTo>
                <a:cubicBezTo>
                  <a:pt x="297786" y="99060"/>
                  <a:pt x="295275" y="99060"/>
                  <a:pt x="295275" y="96520"/>
                </a:cubicBezTo>
                <a:cubicBezTo>
                  <a:pt x="295275" y="96520"/>
                  <a:pt x="295275" y="96520"/>
                  <a:pt x="295275" y="86360"/>
                </a:cubicBezTo>
                <a:cubicBezTo>
                  <a:pt x="295275" y="83820"/>
                  <a:pt x="297786" y="83820"/>
                  <a:pt x="297786" y="83820"/>
                </a:cubicBezTo>
                <a:cubicBezTo>
                  <a:pt x="297786" y="83820"/>
                  <a:pt x="297786" y="83820"/>
                  <a:pt x="315364" y="83820"/>
                </a:cubicBezTo>
                <a:cubicBezTo>
                  <a:pt x="315364" y="83820"/>
                  <a:pt x="315364" y="83820"/>
                  <a:pt x="315364" y="68580"/>
                </a:cubicBezTo>
                <a:cubicBezTo>
                  <a:pt x="315364" y="22860"/>
                  <a:pt x="345498" y="0"/>
                  <a:pt x="385676" y="0"/>
                </a:cubicBezTo>
                <a:close/>
              </a:path>
            </a:pathLst>
          </a:custGeom>
          <a:solidFill>
            <a:srgbClr val="1C35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dirty="0"/>
          </a:p>
        </p:txBody>
      </p:sp>
    </p:spTree>
    <p:extLst>
      <p:ext uri="{BB962C8B-B14F-4D97-AF65-F5344CB8AC3E}">
        <p14:creationId xmlns:p14="http://schemas.microsoft.com/office/powerpoint/2010/main" val="2432433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sldNum="0" hdr="0" ftr="0"/>
  <p:txStyles>
    <p:titleStyle>
      <a:lvl1pPr algn="l" defTabSz="914400" rtl="0" eaLnBrk="1" latinLnBrk="0" hangingPunct="1">
        <a:lnSpc>
          <a:spcPct val="90000"/>
        </a:lnSpc>
        <a:spcBef>
          <a:spcPct val="0"/>
        </a:spcBef>
        <a:buNone/>
        <a:defRPr sz="2800" b="1" kern="1200" cap="all" baseline="0">
          <a:solidFill>
            <a:schemeClr val="bg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Century Gothic" panose="020B0502020202020204" pitchFamily="34" charset="0"/>
        <a:buChar char=" "/>
        <a:defRPr sz="1800" b="1" kern="1200" cap="all" spc="300" baseline="0">
          <a:solidFill>
            <a:schemeClr val="bg2"/>
          </a:solidFill>
          <a:latin typeface="+mn-lt"/>
          <a:ea typeface="+mn-ea"/>
          <a:cs typeface="+mn-cs"/>
        </a:defRPr>
      </a:lvl1pPr>
      <a:lvl2pPr marL="452438"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bg2"/>
          </a:solidFill>
          <a:latin typeface="+mn-lt"/>
          <a:ea typeface="+mn-ea"/>
          <a:cs typeface="+mn-cs"/>
        </a:defRPr>
      </a:lvl2pPr>
      <a:lvl3pPr marL="712788" indent="-228600" algn="l" defTabSz="914400" rtl="0" eaLnBrk="1" latinLnBrk="0" hangingPunct="1">
        <a:lnSpc>
          <a:spcPct val="90000"/>
        </a:lnSpc>
        <a:spcBef>
          <a:spcPts val="500"/>
        </a:spcBef>
        <a:buClr>
          <a:schemeClr val="accent3"/>
        </a:buClr>
        <a:buFont typeface="Arial" panose="020B0604020202020204" pitchFamily="34" charset="0"/>
        <a:buChar char="›"/>
        <a:defRPr sz="1600" kern="1200">
          <a:solidFill>
            <a:schemeClr val="bg2"/>
          </a:solidFill>
          <a:latin typeface="+mn-lt"/>
          <a:ea typeface="+mn-ea"/>
          <a:cs typeface="+mn-cs"/>
        </a:defRPr>
      </a:lvl3pPr>
      <a:lvl4pPr marL="984250" indent="-228600" algn="l" defTabSz="914400" rtl="0" eaLnBrk="1" latinLnBrk="0" hangingPunct="1">
        <a:lnSpc>
          <a:spcPct val="90000"/>
        </a:lnSpc>
        <a:spcBef>
          <a:spcPts val="500"/>
        </a:spcBef>
        <a:buClr>
          <a:schemeClr val="bg2"/>
        </a:buClr>
        <a:buFont typeface="Arial" panose="020B0604020202020204" pitchFamily="34" charset="0"/>
        <a:buChar char="‒"/>
        <a:defRPr sz="1400" kern="1200">
          <a:solidFill>
            <a:schemeClr val="bg2"/>
          </a:solidFill>
          <a:latin typeface="+mn-lt"/>
          <a:ea typeface="+mn-ea"/>
          <a:cs typeface="+mn-cs"/>
        </a:defRPr>
      </a:lvl4pPr>
      <a:lvl5pPr marL="1255713" indent="-228600" algn="l" defTabSz="914400" rtl="0" eaLnBrk="1" latinLnBrk="0" hangingPunct="1">
        <a:lnSpc>
          <a:spcPct val="90000"/>
        </a:lnSpc>
        <a:spcBef>
          <a:spcPts val="500"/>
        </a:spcBef>
        <a:buClr>
          <a:schemeClr val="bg2"/>
        </a:buClr>
        <a:buFont typeface="Arial" panose="020B0604020202020204" pitchFamily="34" charset="0"/>
        <a:buChar char="›"/>
        <a:defRPr sz="120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oleObject" Target="../embeddings/oleObject28.bin"/><Relationship Id="rId5" Type="http://schemas.openxmlformats.org/officeDocument/2006/relationships/image" Target="../media/image18.jp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7"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9.xml"/><Relationship Id="rId6" Type="http://schemas.openxmlformats.org/officeDocument/2006/relationships/hyperlink" Target="https://app.powerbi.com/groups/me/reports/ed107296-9ab0-4eed-b294-7ca269d7b8a2/ReportSection?pbi_source=PowerPoint" TargetMode="External"/><Relationship Id="rId5" Type="http://schemas.openxmlformats.org/officeDocument/2006/relationships/image" Target="../media/image21.png"/><Relationship Id="rId4" Type="http://schemas.openxmlformats.org/officeDocument/2006/relationships/image" Target="../media/image20.png"/></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23.png"/><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image" Target="../media/image25.png"/><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27.png"/><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6.png"/><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0.xml"/><Relationship Id="rId7" Type="http://schemas.openxmlformats.org/officeDocument/2006/relationships/image" Target="../media/image16.png"/><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notesSlide" Target="../notesSlides/notesSlide17.xml"/></Relationships>
</file>

<file path=ppt/slides/_rels/slide19.xml.rels><?xml version="1.0" encoding="UTF-8" standalone="yes"?>
<Relationships xmlns="http://schemas.openxmlformats.org/package/2006/relationships"><Relationship Id="rId8" Type="http://schemas.openxmlformats.org/officeDocument/2006/relationships/hyperlink" Target="http://www.coface.si/" TargetMode="External"/><Relationship Id="rId13" Type="http://schemas.openxmlformats.org/officeDocument/2006/relationships/image" Target="../media/image31.png"/><Relationship Id="rId3" Type="http://schemas.openxmlformats.org/officeDocument/2006/relationships/slideLayout" Target="../slideLayouts/slideLayout13.xml"/><Relationship Id="rId7" Type="http://schemas.openxmlformats.org/officeDocument/2006/relationships/image" Target="../media/image1.emf"/><Relationship Id="rId12" Type="http://schemas.openxmlformats.org/officeDocument/2006/relationships/image" Target="../media/image30.png"/><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oleObject" Target="../embeddings/oleObject31.bin"/><Relationship Id="rId11" Type="http://schemas.openxmlformats.org/officeDocument/2006/relationships/image" Target="../media/image29.png"/><Relationship Id="rId5" Type="http://schemas.openxmlformats.org/officeDocument/2006/relationships/image" Target="../media/image28.jpg"/><Relationship Id="rId10" Type="http://schemas.openxmlformats.org/officeDocument/2006/relationships/image" Target="../media/image3.emf"/><Relationship Id="rId4" Type="http://schemas.openxmlformats.org/officeDocument/2006/relationships/notesSlide" Target="../notesSlides/notesSlide18.xml"/><Relationship Id="rId9" Type="http://schemas.openxmlformats.org/officeDocument/2006/relationships/hyperlink" Target="http://www.cofacestoritoritve.si/"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image" Target="../media/image15.jp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1.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oleObject" Target="../embeddings/oleObject26.bin"/><Relationship Id="rId5" Type="http://schemas.openxmlformats.org/officeDocument/2006/relationships/image" Target="../media/image15.jp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Layout" Target="../slideLayouts/slideLayout10.xml"/><Relationship Id="rId7" Type="http://schemas.openxmlformats.org/officeDocument/2006/relationships/image" Target="../media/image16.png"/><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7.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14.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oleObject" Target="../embeddings/oleObject28.bin"/><Relationship Id="rId5" Type="http://schemas.openxmlformats.org/officeDocument/2006/relationships/image" Target="../media/image18.jp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9FCDB20-0D5E-4811-9719-197D030BBA0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24"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09FCDB20-0D5E-4811-9719-197D030BBA0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Espace réservé de la date 1">
            <a:extLst>
              <a:ext uri="{FF2B5EF4-FFF2-40B4-BE49-F238E27FC236}">
                <a16:creationId xmlns:a16="http://schemas.microsoft.com/office/drawing/2014/main" id="{C2C500E2-D687-42CD-A56C-BE23AFCACFDF}"/>
              </a:ext>
            </a:extLst>
          </p:cNvPr>
          <p:cNvSpPr>
            <a:spLocks noGrp="1"/>
          </p:cNvSpPr>
          <p:nvPr>
            <p:ph type="dt" sz="half" idx="10"/>
          </p:nvPr>
        </p:nvSpPr>
        <p:spPr>
          <a:xfrm>
            <a:off x="4502421" y="6126259"/>
            <a:ext cx="3187183" cy="360850"/>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l-SI" dirty="0">
                <a:solidFill>
                  <a:prstClr val="white"/>
                </a:solidFill>
                <a:latin typeface="Arial"/>
              </a:rPr>
              <a:t>VRANSKO, 7.APRIL</a:t>
            </a:r>
            <a:r>
              <a:rPr kumimoji="0" lang="sl-SI" sz="1400" b="0" i="0" u="none" strike="noStrike" kern="1200" cap="all" spc="300" normalizeH="0" baseline="0" noProof="0" dirty="0">
                <a:ln>
                  <a:noFill/>
                </a:ln>
                <a:solidFill>
                  <a:prstClr val="white"/>
                </a:solidFill>
                <a:effectLst/>
                <a:uLnTx/>
                <a:uFillTx/>
                <a:latin typeface="Arial"/>
                <a:ea typeface="+mn-ea"/>
                <a:cs typeface="+mn-cs"/>
              </a:rPr>
              <a:t> 2022</a:t>
            </a:r>
            <a:endParaRPr kumimoji="0" lang="en-GB" sz="1400" b="0" i="0" u="none" strike="noStrike" kern="1200" cap="all" spc="300" normalizeH="0" baseline="0" noProof="0" dirty="0">
              <a:ln>
                <a:noFill/>
              </a:ln>
              <a:solidFill>
                <a:prstClr val="white"/>
              </a:solidFill>
              <a:effectLst/>
              <a:uLnTx/>
              <a:uFillTx/>
              <a:latin typeface="Arial"/>
              <a:ea typeface="+mn-ea"/>
              <a:cs typeface="+mn-cs"/>
            </a:endParaRPr>
          </a:p>
        </p:txBody>
      </p:sp>
      <p:sp>
        <p:nvSpPr>
          <p:cNvPr id="3" name="Titre 2">
            <a:extLst>
              <a:ext uri="{FF2B5EF4-FFF2-40B4-BE49-F238E27FC236}">
                <a16:creationId xmlns:a16="http://schemas.microsoft.com/office/drawing/2014/main" id="{1B302860-CB76-4587-94A3-453527236704}"/>
              </a:ext>
            </a:extLst>
          </p:cNvPr>
          <p:cNvSpPr>
            <a:spLocks noGrp="1"/>
          </p:cNvSpPr>
          <p:nvPr>
            <p:ph type="title"/>
          </p:nvPr>
        </p:nvSpPr>
        <p:spPr/>
        <p:txBody>
          <a:bodyPr vert="horz">
            <a:normAutofit fontScale="90000"/>
          </a:bodyPr>
          <a:lstStyle/>
          <a:p>
            <a:r>
              <a:rPr lang="sl-SI" dirty="0"/>
              <a:t>OBVLADOVANJE TVEGANJ NEPLAČIL</a:t>
            </a:r>
            <a:br>
              <a:rPr lang="sl-SI" dirty="0"/>
            </a:br>
            <a:endParaRPr lang="en-GB" dirty="0"/>
          </a:p>
        </p:txBody>
      </p:sp>
    </p:spTree>
    <p:extLst>
      <p:ext uri="{BB962C8B-B14F-4D97-AF65-F5344CB8AC3E}">
        <p14:creationId xmlns:p14="http://schemas.microsoft.com/office/powerpoint/2010/main" val="329655971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Espace réservé pour une image  7" descr="Une image contenant ciel, extérieur&#10;&#10;Description générée automatiquement">
            <a:extLst>
              <a:ext uri="{FF2B5EF4-FFF2-40B4-BE49-F238E27FC236}">
                <a16:creationId xmlns:a16="http://schemas.microsoft.com/office/drawing/2014/main" id="{6A172463-48CF-4F7F-9DF4-2A4B0351AC36}"/>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25278" r="25278"/>
          <a:stretch>
            <a:fillRect/>
          </a:stretch>
        </p:blipFill>
        <p:spPr/>
      </p:pic>
      <p:graphicFrame>
        <p:nvGraphicFramePr>
          <p:cNvPr id="11" name="Objet 10" hidden="1">
            <a:extLst>
              <a:ext uri="{FF2B5EF4-FFF2-40B4-BE49-F238E27FC236}">
                <a16:creationId xmlns:a16="http://schemas.microsoft.com/office/drawing/2014/main" id="{B6D777D3-5D0F-40AB-9292-C0D0B0F9EF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629" name="Diapositive think-cell" r:id="rId6" imgW="532" imgH="530" progId="TCLayout.ActiveDocument.1">
                  <p:embed/>
                </p:oleObj>
              </mc:Choice>
              <mc:Fallback>
                <p:oleObj name="Diapositive think-cell" r:id="rId6" imgW="532" imgH="530" progId="TCLayout.ActiveDocument.1">
                  <p:embed/>
                  <p:pic>
                    <p:nvPicPr>
                      <p:cNvPr id="11" name="Objet 10" hidden="1">
                        <a:extLst>
                          <a:ext uri="{FF2B5EF4-FFF2-40B4-BE49-F238E27FC236}">
                            <a16:creationId xmlns:a16="http://schemas.microsoft.com/office/drawing/2014/main" id="{B6D777D3-5D0F-40AB-9292-C0D0B0F9EF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Espace réservé du texte 9">
            <a:extLst>
              <a:ext uri="{FF2B5EF4-FFF2-40B4-BE49-F238E27FC236}">
                <a16:creationId xmlns:a16="http://schemas.microsoft.com/office/drawing/2014/main" id="{F7AD2AF7-0A24-409D-AE30-1B3710B8E209}"/>
              </a:ext>
            </a:extLst>
          </p:cNvPr>
          <p:cNvSpPr>
            <a:spLocks noGrp="1"/>
          </p:cNvSpPr>
          <p:nvPr>
            <p:ph type="body" sz="quarter" idx="13"/>
          </p:nvPr>
        </p:nvSpPr>
        <p:spPr/>
        <p:txBody>
          <a:bodyPr>
            <a:normAutofit/>
          </a:bodyPr>
          <a:lstStyle/>
          <a:p>
            <a:r>
              <a:rPr lang="sl-SI" sz="2400" dirty="0"/>
              <a:t>TERJATVE SO PREMOŽENJE</a:t>
            </a:r>
            <a:endParaRPr lang="en-GB" sz="2400" b="0" dirty="0"/>
          </a:p>
        </p:txBody>
      </p:sp>
      <p:sp>
        <p:nvSpPr>
          <p:cNvPr id="7" name="Espace réservé du texte 6">
            <a:extLst>
              <a:ext uri="{FF2B5EF4-FFF2-40B4-BE49-F238E27FC236}">
                <a16:creationId xmlns:a16="http://schemas.microsoft.com/office/drawing/2014/main" id="{414C7EA9-BF69-4739-9C22-DB768B62DDE6}"/>
              </a:ext>
            </a:extLst>
          </p:cNvPr>
          <p:cNvSpPr>
            <a:spLocks noGrp="1"/>
          </p:cNvSpPr>
          <p:nvPr>
            <p:ph type="body" sz="quarter" idx="10"/>
          </p:nvPr>
        </p:nvSpPr>
        <p:spPr>
          <a:xfrm>
            <a:off x="419100" y="1727200"/>
            <a:ext cx="7039535" cy="4292599"/>
          </a:xfrm>
        </p:spPr>
        <p:txBody>
          <a:bodyPr/>
          <a:lstStyle/>
          <a:p>
            <a:pPr marL="223838" lvl="1" indent="0">
              <a:buNone/>
            </a:pPr>
            <a:r>
              <a:rPr lang="sl-SI" b="1" dirty="0"/>
              <a:t>PRIMER:</a:t>
            </a:r>
          </a:p>
          <a:p>
            <a:pPr lvl="1"/>
            <a:endParaRPr lang="sl-SI" dirty="0"/>
          </a:p>
          <a:p>
            <a:pPr lvl="1"/>
            <a:r>
              <a:rPr lang="sl-SI" dirty="0"/>
              <a:t>Odprta terjatev do kupca: 100.000 EUR. </a:t>
            </a:r>
          </a:p>
          <a:p>
            <a:pPr lvl="1"/>
            <a:r>
              <a:rPr lang="sl-SI" dirty="0"/>
              <a:t>Marža 10%:  10.000 EUR.</a:t>
            </a:r>
          </a:p>
          <a:p>
            <a:pPr lvl="1"/>
            <a:r>
              <a:rPr lang="sl-SI" dirty="0"/>
              <a:t>Če kupec ne plača: prodajalec ne samo, da ne zasluži 10.000 EUR marže, ampak mora nadomestiti tudi glavnico v višini 100.000 EUR.</a:t>
            </a:r>
          </a:p>
          <a:p>
            <a:pPr lvl="1"/>
            <a:r>
              <a:rPr lang="sl-SI" dirty="0"/>
              <a:t>Koliko mora prodajalec dodatno prodati, da to nadomesti: 1.000.000. EUR (pri 10% marži).</a:t>
            </a:r>
          </a:p>
          <a:p>
            <a:pPr lvl="1"/>
            <a:r>
              <a:rPr lang="sl-SI" dirty="0"/>
              <a:t>V kolikor škodo povrne zavarovalnica, podjetje ne utrpi finančnih posledic. </a:t>
            </a:r>
          </a:p>
          <a:p>
            <a:pPr lvl="1"/>
            <a:endParaRPr lang="sl-SI" dirty="0"/>
          </a:p>
          <a:p>
            <a:pPr lvl="1"/>
            <a:endParaRPr lang="sl-SI" dirty="0"/>
          </a:p>
          <a:p>
            <a:pPr lvl="1"/>
            <a:endParaRPr lang="sl-SI" dirty="0"/>
          </a:p>
          <a:p>
            <a:pPr lvl="1"/>
            <a:endParaRPr lang="en-GB" b="1" dirty="0"/>
          </a:p>
        </p:txBody>
      </p:sp>
      <p:sp>
        <p:nvSpPr>
          <p:cNvPr id="6" name="Titre 5">
            <a:extLst>
              <a:ext uri="{FF2B5EF4-FFF2-40B4-BE49-F238E27FC236}">
                <a16:creationId xmlns:a16="http://schemas.microsoft.com/office/drawing/2014/main" id="{22B9405B-B645-4B6D-80E5-657589E92709}"/>
              </a:ext>
            </a:extLst>
          </p:cNvPr>
          <p:cNvSpPr>
            <a:spLocks noGrp="1"/>
          </p:cNvSpPr>
          <p:nvPr>
            <p:ph type="title"/>
          </p:nvPr>
        </p:nvSpPr>
        <p:spPr>
          <a:xfrm>
            <a:off x="741529" y="440971"/>
            <a:ext cx="6233011" cy="867930"/>
          </a:xfrm>
        </p:spPr>
        <p:txBody>
          <a:bodyPr vert="horz"/>
          <a:lstStyle/>
          <a:p>
            <a:r>
              <a:rPr lang="sl-SI" dirty="0"/>
              <a:t>ZAKAJ ZAVAROVATI TERJATVE?</a:t>
            </a:r>
            <a:endParaRPr lang="en-GB" dirty="0"/>
          </a:p>
        </p:txBody>
      </p:sp>
      <p:pic>
        <p:nvPicPr>
          <p:cNvPr id="12" name="Image 11">
            <a:extLst>
              <a:ext uri="{FF2B5EF4-FFF2-40B4-BE49-F238E27FC236}">
                <a16:creationId xmlns:a16="http://schemas.microsoft.com/office/drawing/2014/main" id="{7BC7CF85-7465-45BA-B6D0-024BEFDF3241}"/>
              </a:ext>
            </a:extLst>
          </p:cNvPr>
          <p:cNvPicPr>
            <a:picLocks noChangeAspect="1"/>
          </p:cNvPicPr>
          <p:nvPr/>
        </p:nvPicPr>
        <p:blipFill rotWithShape="1">
          <a:blip r:embed="rId8"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Tree>
    <p:extLst>
      <p:ext uri="{BB962C8B-B14F-4D97-AF65-F5344CB8AC3E}">
        <p14:creationId xmlns:p14="http://schemas.microsoft.com/office/powerpoint/2010/main" val="2393304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Espace réservé du texte 39">
            <a:extLst>
              <a:ext uri="{FF2B5EF4-FFF2-40B4-BE49-F238E27FC236}">
                <a16:creationId xmlns:a16="http://schemas.microsoft.com/office/drawing/2014/main" id="{E6AD1E1B-92CF-4061-B463-11F2752591B9}"/>
              </a:ext>
            </a:extLst>
          </p:cNvPr>
          <p:cNvSpPr>
            <a:spLocks noGrp="1"/>
          </p:cNvSpPr>
          <p:nvPr>
            <p:ph type="body" sz="quarter" idx="10"/>
          </p:nvPr>
        </p:nvSpPr>
        <p:spPr/>
        <p:txBody>
          <a:bodyPr>
            <a:normAutofit/>
          </a:bodyPr>
          <a:lstStyle/>
          <a:p>
            <a:r>
              <a:rPr lang="sl-SI" dirty="0"/>
              <a:t>COFACE STORITVE</a:t>
            </a:r>
            <a:endParaRPr lang="en-GB" dirty="0"/>
          </a:p>
        </p:txBody>
      </p:sp>
    </p:spTree>
    <p:extLst>
      <p:ext uri="{BB962C8B-B14F-4D97-AF65-F5344CB8AC3E}">
        <p14:creationId xmlns:p14="http://schemas.microsoft.com/office/powerpoint/2010/main" val="33668103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 name="Rectangle 43"/>
          <p:cNvSpPr txBox="1"/>
          <p:nvPr/>
        </p:nvSpPr>
        <p:spPr>
          <a:xfrm>
            <a:off x="390068" y="3889142"/>
            <a:ext cx="1487348" cy="4670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defRPr b="1" spc="65"/>
            </a:lvl1p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sz="1300" b="1" i="0" u="none" strike="noStrike" kern="0" cap="none" spc="65" normalizeH="0" baseline="0" noProof="0" dirty="0">
                <a:ln>
                  <a:noFill/>
                </a:ln>
                <a:solidFill>
                  <a:srgbClr val="FFFFFF"/>
                </a:solidFill>
                <a:effectLst/>
                <a:uLnTx/>
                <a:uFillTx/>
                <a:latin typeface="Arial"/>
                <a:ea typeface="+mn-ea"/>
                <a:cs typeface="+mn-cs"/>
                <a:sym typeface="Arial"/>
              </a:rPr>
              <a:t>DETAILED CONTENT</a:t>
            </a:r>
          </a:p>
        </p:txBody>
      </p:sp>
      <p:pic>
        <p:nvPicPr>
          <p:cNvPr id="280" name="Image" descr="Image"/>
          <p:cNvPicPr>
            <a:picLocks noChangeAspect="1"/>
          </p:cNvPicPr>
          <p:nvPr/>
        </p:nvPicPr>
        <p:blipFill>
          <a:blip r:embed="rId3"/>
          <a:stretch>
            <a:fillRect/>
          </a:stretch>
        </p:blipFill>
        <p:spPr>
          <a:xfrm>
            <a:off x="492620" y="2521593"/>
            <a:ext cx="250201" cy="189808"/>
          </a:xfrm>
          <a:prstGeom prst="rect">
            <a:avLst/>
          </a:prstGeom>
          <a:ln w="12700">
            <a:miter lim="400000"/>
          </a:ln>
        </p:spPr>
      </p:pic>
      <p:sp>
        <p:nvSpPr>
          <p:cNvPr id="23" name="OBJECTIVE"/>
          <p:cNvSpPr txBox="1"/>
          <p:nvPr/>
        </p:nvSpPr>
        <p:spPr>
          <a:xfrm>
            <a:off x="611472" y="1142089"/>
            <a:ext cx="261264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defRPr sz="1800" b="1" spc="90"/>
            </a:lvl1p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lang="pl-PL" sz="1800" b="1" i="0" u="none" strike="noStrike" kern="0" cap="none" spc="90" normalizeH="0" baseline="0" noProof="0" dirty="0">
                <a:ln>
                  <a:noFill/>
                </a:ln>
                <a:solidFill>
                  <a:srgbClr val="FFFFFF"/>
                </a:solidFill>
                <a:effectLst/>
                <a:uLnTx/>
                <a:uFillTx/>
                <a:latin typeface="Arial"/>
                <a:ea typeface="+mn-ea"/>
                <a:cs typeface="+mn-cs"/>
                <a:sym typeface="Arial"/>
              </a:rPr>
              <a:t>DRA</a:t>
            </a:r>
            <a:endParaRPr kumimoji="0" sz="1800" b="1" i="0" u="none" strike="noStrike" kern="0" cap="none" spc="90" normalizeH="0" baseline="0" noProof="0" dirty="0">
              <a:ln>
                <a:noFill/>
              </a:ln>
              <a:solidFill>
                <a:srgbClr val="FFFFFF"/>
              </a:solidFill>
              <a:effectLst/>
              <a:uLnTx/>
              <a:uFillTx/>
              <a:latin typeface="Arial"/>
              <a:ea typeface="+mn-ea"/>
              <a:cs typeface="+mn-cs"/>
              <a:sym typeface="Arial"/>
            </a:endParaRPr>
          </a:p>
        </p:txBody>
      </p:sp>
      <p:sp>
        <p:nvSpPr>
          <p:cNvPr id="25" name="Access commercial risk scores and exclusive sector and economic analysis"/>
          <p:cNvSpPr txBox="1"/>
          <p:nvPr/>
        </p:nvSpPr>
        <p:spPr>
          <a:xfrm>
            <a:off x="588132" y="2668124"/>
            <a:ext cx="2874387" cy="3454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2000" tIns="72000" rIns="72000" bIns="72000">
            <a:spAutoFit/>
          </a:bodyPr>
          <a:lstStyle>
            <a:lvl1pPr>
              <a:spcBef>
                <a:spcPts val="0"/>
              </a:spcBef>
              <a:defRPr>
                <a:solidFill>
                  <a:srgbClr val="43517A"/>
                </a:solidFill>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sz="1300" b="0" i="0" u="none" strike="noStrike" kern="0" cap="none" spc="0" normalizeH="0" baseline="0" noProof="0" dirty="0">
              <a:ln>
                <a:noFill/>
              </a:ln>
              <a:solidFill>
                <a:srgbClr val="43517A"/>
              </a:solidFill>
              <a:effectLst/>
              <a:uLnTx/>
              <a:uFillTx/>
              <a:latin typeface="Arial"/>
              <a:ea typeface="+mn-ea"/>
              <a:cs typeface="+mn-cs"/>
              <a:sym typeface="Arial"/>
            </a:endParaRPr>
          </a:p>
        </p:txBody>
      </p:sp>
      <p:sp>
        <p:nvSpPr>
          <p:cNvPr id="4" name="Title 3"/>
          <p:cNvSpPr>
            <a:spLocks noGrp="1"/>
          </p:cNvSpPr>
          <p:nvPr>
            <p:ph type="title"/>
          </p:nvPr>
        </p:nvSpPr>
        <p:spPr>
          <a:xfrm>
            <a:off x="741529" y="440971"/>
            <a:ext cx="10942471" cy="480131"/>
          </a:xfrm>
        </p:spPr>
        <p:txBody>
          <a:bodyPr/>
          <a:lstStyle/>
          <a:p>
            <a:r>
              <a:rPr lang="hr-HR" dirty="0"/>
              <a:t>Ekonomski vpogledi</a:t>
            </a:r>
            <a:endParaRPr lang="en-US" dirty="0"/>
          </a:p>
        </p:txBody>
      </p:sp>
      <p:sp>
        <p:nvSpPr>
          <p:cNvPr id="3" name="Slide Number Placeholder 2"/>
          <p:cNvSpPr>
            <a:spLocks noGrp="1"/>
          </p:cNvSpPr>
          <p:nvPr>
            <p:ph type="sldNum" sz="quarter" idx="4294967295"/>
          </p:nvPr>
        </p:nvSpPr>
        <p:spPr>
          <a:xfrm>
            <a:off x="11861800" y="6423025"/>
            <a:ext cx="330200" cy="307975"/>
          </a:xfrm>
          <a:prstGeom prst="rect">
            <a:avLst/>
          </a:prstGeom>
        </p:spPr>
        <p:txBody>
          <a:bodyPr/>
          <a:lstStyle/>
          <a:p>
            <a:pPr marL="0" marR="0" lvl="0" indent="0" algn="l" defTabSz="685800" rtl="0" eaLnBrk="1" fontAlgn="auto" latinLnBrk="0" hangingPunct="0">
              <a:lnSpc>
                <a:spcPct val="100000"/>
              </a:lnSpc>
              <a:spcBef>
                <a:spcPts val="600"/>
              </a:spcBef>
              <a:spcAft>
                <a:spcPts val="0"/>
              </a:spcAft>
              <a:buClrTx/>
              <a:buSzTx/>
              <a:buFontTx/>
              <a:buNone/>
              <a:tabLst/>
              <a:defRPr/>
            </a:pPr>
            <a:fld id="{86CB4B4D-7CA3-9044-876B-883B54F8677D}" type="slidenum">
              <a:rPr kumimoji="0" lang="en-GB" sz="1300" b="0" i="0" u="none" strike="noStrike" kern="0" cap="none" spc="0" normalizeH="0" baseline="0" noProof="0" smtClean="0">
                <a:ln>
                  <a:noFill/>
                </a:ln>
                <a:solidFill>
                  <a:srgbClr val="FFFFFF"/>
                </a:solidFill>
                <a:effectLst/>
                <a:uLnTx/>
                <a:uFillTx/>
                <a:latin typeface="Arial"/>
                <a:ea typeface="+mn-ea"/>
                <a:cs typeface="+mn-cs"/>
                <a:sym typeface="Arial"/>
              </a:rPr>
              <a:pPr marL="0" marR="0" lvl="0" indent="0" algn="l" defTabSz="685800" rtl="0" eaLnBrk="1" fontAlgn="auto" latinLnBrk="0" hangingPunct="0">
                <a:lnSpc>
                  <a:spcPct val="100000"/>
                </a:lnSpc>
                <a:spcBef>
                  <a:spcPts val="600"/>
                </a:spcBef>
                <a:spcAft>
                  <a:spcPts val="0"/>
                </a:spcAft>
                <a:buClrTx/>
                <a:buSzTx/>
                <a:buFontTx/>
                <a:buNone/>
                <a:tabLst/>
                <a:defRPr/>
              </a:pPr>
              <a:t>12</a:t>
            </a:fld>
            <a:endParaRPr kumimoji="0" lang="en-GB" sz="13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48" name="Rectangle 47"/>
          <p:cNvSpPr/>
          <p:nvPr/>
        </p:nvSpPr>
        <p:spPr>
          <a:xfrm>
            <a:off x="202759" y="2607354"/>
            <a:ext cx="2668778" cy="2702583"/>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49" name="The Debtor Risk Assessment (DRA) evaluates a company's capacity to honor its financial obligations."/>
          <p:cNvSpPr txBox="1"/>
          <p:nvPr/>
        </p:nvSpPr>
        <p:spPr>
          <a:xfrm>
            <a:off x="297521" y="2966897"/>
            <a:ext cx="2574016" cy="169967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2000" tIns="72000" rIns="72000" bIns="72000">
            <a:spAutoFit/>
          </a:bodyPr>
          <a:lstStyle>
            <a:lvl1pPr>
              <a:spcBef>
                <a:spcPts val="0"/>
              </a:spcBef>
              <a:defRPr>
                <a:solidFill>
                  <a:srgbClr val="43517A"/>
                </a:solidFill>
              </a:defRPr>
            </a:lvl1p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lang="sl-SI" sz="1350" b="0" i="0" u="none" strike="noStrike" kern="0" cap="none" spc="0" normalizeH="0" baseline="0" noProof="0" dirty="0">
                <a:ln>
                  <a:noFill/>
                </a:ln>
                <a:solidFill>
                  <a:srgbClr val="43517A"/>
                </a:solidFill>
                <a:effectLst/>
                <a:uLnTx/>
                <a:uFillTx/>
                <a:latin typeface="Arial Narrow"/>
                <a:ea typeface="+mn-ea"/>
                <a:cs typeface="+mn-cs"/>
                <a:sym typeface="Arial"/>
              </a:rPr>
              <a:t>PAMETNI EKONOMSKI VPOGLEDI</a:t>
            </a:r>
          </a:p>
          <a:p>
            <a:pPr marL="171450" marR="0" lvl="0" indent="-171450" algn="l" defTabSz="685800" rtl="0" eaLnBrk="1" fontAlgn="auto" latinLnBrk="0" hangingPunct="0">
              <a:lnSpc>
                <a:spcPct val="100000"/>
              </a:lnSpc>
              <a:spcBef>
                <a:spcPts val="600"/>
              </a:spcBef>
              <a:spcAft>
                <a:spcPts val="0"/>
              </a:spcAft>
              <a:buClrTx/>
              <a:buSzTx/>
              <a:buFont typeface="Arial" panose="020B0604020202020204" pitchFamily="34" charset="0"/>
              <a:buChar char="•"/>
              <a:tabLst/>
              <a:defRPr/>
            </a:pPr>
            <a:r>
              <a:rPr kumimoji="0" lang="sl-SI" sz="1350" b="0" i="0" u="none" strike="noStrike" kern="0" cap="none" spc="0" normalizeH="0" baseline="0" noProof="0" dirty="0">
                <a:ln>
                  <a:noFill/>
                </a:ln>
                <a:solidFill>
                  <a:srgbClr val="43517A"/>
                </a:solidFill>
                <a:effectLst/>
                <a:uLnTx/>
                <a:uFillTx/>
                <a:latin typeface="Arial Narrow"/>
                <a:ea typeface="+mn-ea"/>
                <a:cs typeface="+mn-cs"/>
                <a:sym typeface="Arial"/>
              </a:rPr>
              <a:t>160 držav</a:t>
            </a:r>
          </a:p>
          <a:p>
            <a:pPr marL="171450" marR="0" lvl="0" indent="-171450" algn="l" defTabSz="685800" rtl="0" eaLnBrk="1" fontAlgn="auto" latinLnBrk="0" hangingPunct="0">
              <a:lnSpc>
                <a:spcPct val="100000"/>
              </a:lnSpc>
              <a:spcBef>
                <a:spcPts val="600"/>
              </a:spcBef>
              <a:spcAft>
                <a:spcPts val="0"/>
              </a:spcAft>
              <a:buClrTx/>
              <a:buSzTx/>
              <a:buFont typeface="Arial" panose="020B0604020202020204" pitchFamily="34" charset="0"/>
              <a:buChar char="•"/>
              <a:tabLst/>
              <a:defRPr/>
            </a:pPr>
            <a:r>
              <a:rPr kumimoji="0" lang="sl-SI" sz="1350" b="0" i="0" u="none" strike="noStrike" kern="0" cap="none" spc="0" normalizeH="0" baseline="0" noProof="0" dirty="0">
                <a:ln>
                  <a:noFill/>
                </a:ln>
                <a:solidFill>
                  <a:srgbClr val="43517A"/>
                </a:solidFill>
                <a:effectLst/>
                <a:uLnTx/>
                <a:uFillTx/>
                <a:latin typeface="Arial Narrow"/>
                <a:ea typeface="+mn-ea"/>
                <a:cs typeface="+mn-cs"/>
                <a:sym typeface="Arial"/>
              </a:rPr>
              <a:t>13 sektorjev</a:t>
            </a:r>
          </a:p>
          <a:p>
            <a:pPr marL="0" marR="0" lvl="0" indent="0" algn="l" defTabSz="685800" rtl="0" eaLnBrk="1" fontAlgn="auto" latinLnBrk="0" hangingPunct="0">
              <a:lnSpc>
                <a:spcPct val="100000"/>
              </a:lnSpc>
              <a:spcBef>
                <a:spcPts val="600"/>
              </a:spcBef>
              <a:spcAft>
                <a:spcPts val="0"/>
              </a:spcAft>
              <a:buClrTx/>
              <a:buSzTx/>
              <a:buFontTx/>
              <a:buNone/>
              <a:tabLst/>
              <a:defRPr/>
            </a:pPr>
            <a:r>
              <a:rPr kumimoji="0" lang="sl-SI" sz="1350" b="0" i="0" u="none" strike="noStrike" kern="0" cap="none" spc="0" normalizeH="0" baseline="0" noProof="0" dirty="0">
                <a:ln>
                  <a:noFill/>
                </a:ln>
                <a:solidFill>
                  <a:srgbClr val="43517A"/>
                </a:solidFill>
                <a:effectLst/>
                <a:uLnTx/>
                <a:uFillTx/>
                <a:latin typeface="Arial Narrow"/>
                <a:ea typeface="+mn-ea"/>
                <a:cs typeface="+mn-cs"/>
                <a:sym typeface="Arial"/>
              </a:rPr>
              <a:t>+ 15 stopenjskih ocen, ocen in komentarjev za 160 držav </a:t>
            </a:r>
          </a:p>
          <a:p>
            <a:pPr marL="0" marR="0" lvl="0" indent="0" algn="l" defTabSz="685800" rtl="0" eaLnBrk="1" fontAlgn="auto" latinLnBrk="0" hangingPunct="0">
              <a:lnSpc>
                <a:spcPct val="100000"/>
              </a:lnSpc>
              <a:spcBef>
                <a:spcPts val="600"/>
              </a:spcBef>
              <a:spcAft>
                <a:spcPts val="0"/>
              </a:spcAft>
              <a:buClrTx/>
              <a:buSzTx/>
              <a:buFontTx/>
              <a:buNone/>
              <a:tabLst/>
              <a:defRPr/>
            </a:pPr>
            <a:r>
              <a:rPr kumimoji="0" lang="sl-SI" sz="1350" b="0" i="0" u="none" strike="noStrike" kern="0" cap="none" spc="0" normalizeH="0" baseline="0" noProof="0" dirty="0">
                <a:ln>
                  <a:noFill/>
                </a:ln>
                <a:solidFill>
                  <a:srgbClr val="43517A"/>
                </a:solidFill>
                <a:effectLst/>
                <a:uLnTx/>
                <a:uFillTx/>
                <a:latin typeface="Arial Narrow"/>
                <a:ea typeface="+mn-ea"/>
                <a:cs typeface="+mn-cs"/>
                <a:sym typeface="Arial"/>
              </a:rPr>
              <a:t>+ 1000 podatkovnih točk z zgodovino</a:t>
            </a:r>
          </a:p>
        </p:txBody>
      </p:sp>
      <p:sp>
        <p:nvSpPr>
          <p:cNvPr id="50" name="Rectangle 49"/>
          <p:cNvSpPr/>
          <p:nvPr/>
        </p:nvSpPr>
        <p:spPr>
          <a:xfrm>
            <a:off x="345647" y="1793440"/>
            <a:ext cx="2108795" cy="917961"/>
          </a:xfrm>
          <a:prstGeom prst="rect">
            <a:avLst/>
          </a:prstGeom>
          <a:solidFill>
            <a:schemeClr val="tx2"/>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1" name="Monitored Debtor Risk Assessment or DRA (Score)"/>
          <p:cNvSpPr txBox="1"/>
          <p:nvPr/>
        </p:nvSpPr>
        <p:spPr>
          <a:xfrm>
            <a:off x="390067" y="1907541"/>
            <a:ext cx="2064375" cy="69940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2000" tIns="72000" rIns="72000" bIns="72000">
            <a:spAutoFit/>
          </a:bodyPr>
          <a:lstStyle>
            <a:lvl1pPr>
              <a:defRPr sz="1400" b="1" cap="all" spc="42">
                <a:solidFill>
                  <a:srgbClr val="5CB781"/>
                </a:solidFill>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en-US" sz="1200" b="1" i="0" u="none" strike="noStrike" kern="0" cap="all" spc="42" normalizeH="0" baseline="0" noProof="0" dirty="0" err="1">
                <a:ln>
                  <a:noFill/>
                </a:ln>
                <a:solidFill>
                  <a:prstClr val="white"/>
                </a:solidFill>
                <a:effectLst/>
                <a:uLnTx/>
                <a:uFillTx/>
                <a:latin typeface="Arial"/>
                <a:ea typeface="+mn-ea"/>
                <a:cs typeface="+mn-cs"/>
                <a:sym typeface="Arial"/>
              </a:rPr>
              <a:t>Edinstveni</a:t>
            </a:r>
            <a:r>
              <a:rPr kumimoji="0" lang="en-US" sz="1200" b="1" i="0" u="none" strike="noStrike" kern="0" cap="all" spc="42" normalizeH="0" baseline="0" noProof="0" dirty="0">
                <a:ln>
                  <a:noFill/>
                </a:ln>
                <a:solidFill>
                  <a:prstClr val="white"/>
                </a:solidFill>
                <a:effectLst/>
                <a:uLnTx/>
                <a:uFillTx/>
                <a:latin typeface="Arial"/>
                <a:ea typeface="+mn-ea"/>
                <a:cs typeface="+mn-cs"/>
                <a:sym typeface="Arial"/>
              </a:rPr>
              <a:t> </a:t>
            </a:r>
            <a:r>
              <a:rPr kumimoji="0" lang="en-US" sz="1200" b="1" i="0" u="none" strike="noStrike" kern="0" cap="all" spc="42" normalizeH="0" baseline="0" noProof="0" dirty="0" err="1">
                <a:ln>
                  <a:noFill/>
                </a:ln>
                <a:solidFill>
                  <a:prstClr val="white"/>
                </a:solidFill>
                <a:effectLst/>
                <a:uLnTx/>
                <a:uFillTx/>
                <a:latin typeface="Arial"/>
                <a:ea typeface="+mn-ea"/>
                <a:cs typeface="+mn-cs"/>
                <a:sym typeface="Arial"/>
              </a:rPr>
              <a:t>vpogledi</a:t>
            </a:r>
            <a:r>
              <a:rPr kumimoji="0" lang="en-US" sz="1200" b="1" i="0" u="none" strike="noStrike" kern="0" cap="all" spc="42" normalizeH="0" baseline="0" noProof="0" dirty="0">
                <a:ln>
                  <a:noFill/>
                </a:ln>
                <a:solidFill>
                  <a:prstClr val="white"/>
                </a:solidFill>
                <a:effectLst/>
                <a:uLnTx/>
                <a:uFillTx/>
                <a:latin typeface="Arial"/>
                <a:ea typeface="+mn-ea"/>
                <a:cs typeface="+mn-cs"/>
                <a:sym typeface="Arial"/>
              </a:rPr>
              <a:t> v </a:t>
            </a:r>
            <a:r>
              <a:rPr kumimoji="0" lang="en-US" sz="1200" b="1" i="0" u="none" strike="noStrike" kern="0" cap="all" spc="42" normalizeH="0" baseline="0" noProof="0" dirty="0" err="1">
                <a:ln>
                  <a:noFill/>
                </a:ln>
                <a:solidFill>
                  <a:prstClr val="white"/>
                </a:solidFill>
                <a:effectLst/>
                <a:uLnTx/>
                <a:uFillTx/>
                <a:latin typeface="Arial"/>
                <a:ea typeface="+mn-ea"/>
                <a:cs typeface="+mn-cs"/>
                <a:sym typeface="Arial"/>
              </a:rPr>
              <a:t>današnje</a:t>
            </a:r>
            <a:r>
              <a:rPr kumimoji="0" lang="en-US" sz="1200" b="1" i="0" u="none" strike="noStrike" kern="0" cap="all" spc="42" normalizeH="0" baseline="0" noProof="0" dirty="0">
                <a:ln>
                  <a:noFill/>
                </a:ln>
                <a:solidFill>
                  <a:prstClr val="white"/>
                </a:solidFill>
                <a:effectLst/>
                <a:uLnTx/>
                <a:uFillTx/>
                <a:latin typeface="Arial"/>
                <a:ea typeface="+mn-ea"/>
                <a:cs typeface="+mn-cs"/>
                <a:sym typeface="Arial"/>
              </a:rPr>
              <a:t> </a:t>
            </a:r>
            <a:r>
              <a:rPr kumimoji="0" lang="en-US" sz="1200" b="1" i="0" u="none" strike="noStrike" kern="0" cap="all" spc="42" normalizeH="0" baseline="0" noProof="0" dirty="0" err="1">
                <a:ln>
                  <a:noFill/>
                </a:ln>
                <a:solidFill>
                  <a:prstClr val="white"/>
                </a:solidFill>
                <a:effectLst/>
                <a:uLnTx/>
                <a:uFillTx/>
                <a:latin typeface="Arial"/>
                <a:ea typeface="+mn-ea"/>
                <a:cs typeface="+mn-cs"/>
                <a:sym typeface="Arial"/>
              </a:rPr>
              <a:t>gospodarstvo</a:t>
            </a:r>
            <a:endParaRPr kumimoji="0" lang="en-US" sz="1200" b="1" i="0" u="none" strike="noStrike" kern="0" cap="all" spc="42" normalizeH="0" baseline="0" noProof="0" dirty="0">
              <a:ln>
                <a:noFill/>
              </a:ln>
              <a:solidFill>
                <a:prstClr val="white"/>
              </a:solidFill>
              <a:effectLst/>
              <a:uLnTx/>
              <a:uFillTx/>
              <a:latin typeface="Arial"/>
              <a:ea typeface="+mn-ea"/>
              <a:cs typeface="+mn-cs"/>
              <a:sym typeface="Arial"/>
            </a:endParaRPr>
          </a:p>
        </p:txBody>
      </p:sp>
      <p:sp>
        <p:nvSpPr>
          <p:cNvPr id="52" name="Rectangle 51"/>
          <p:cNvSpPr/>
          <p:nvPr/>
        </p:nvSpPr>
        <p:spPr>
          <a:xfrm>
            <a:off x="3090371" y="2876923"/>
            <a:ext cx="2849244" cy="3219077"/>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3" name="Rectangle 52"/>
          <p:cNvSpPr/>
          <p:nvPr/>
        </p:nvSpPr>
        <p:spPr>
          <a:xfrm>
            <a:off x="3356891" y="1902781"/>
            <a:ext cx="2337185" cy="1120764"/>
          </a:xfrm>
          <a:prstGeom prst="rect">
            <a:avLst/>
          </a:prstGeom>
          <a:solidFill>
            <a:srgbClr val="1C355E"/>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4" name="Rectangle 53"/>
          <p:cNvSpPr/>
          <p:nvPr/>
        </p:nvSpPr>
        <p:spPr>
          <a:xfrm>
            <a:off x="3462519" y="2107971"/>
            <a:ext cx="2121802"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prstClr val="white"/>
                </a:solidFill>
                <a:effectLst/>
                <a:uLnTx/>
                <a:uFillTx/>
                <a:latin typeface="Arial"/>
                <a:ea typeface="+mn-ea"/>
                <a:cs typeface="+mn-cs"/>
                <a:sym typeface="Arial"/>
              </a:rPr>
              <a:t>EKONOMSKI VPOGLEDI NA KRATKO</a:t>
            </a:r>
          </a:p>
        </p:txBody>
      </p:sp>
      <p:sp>
        <p:nvSpPr>
          <p:cNvPr id="56" name="Rectangle 55"/>
          <p:cNvSpPr/>
          <p:nvPr/>
        </p:nvSpPr>
        <p:spPr>
          <a:xfrm>
            <a:off x="3175987" y="3311366"/>
            <a:ext cx="2634428" cy="2531462"/>
          </a:xfrm>
          <a:prstGeom prst="rect">
            <a:avLst/>
          </a:prstGeom>
        </p:spPr>
        <p:txBody>
          <a:bodyPr wrap="square">
            <a:spAutoFit/>
          </a:bodyPr>
          <a:lstStyle/>
          <a:p>
            <a:pPr marL="342900" marR="0" lvl="0" indent="-342900" algn="l" defTabSz="685800" rtl="0" eaLnBrk="1" fontAlgn="auto" latinLnBrk="0" hangingPunct="0">
              <a:lnSpc>
                <a:spcPct val="100000"/>
              </a:lnSpc>
              <a:spcBef>
                <a:spcPts val="600"/>
              </a:spcBef>
              <a:spcAft>
                <a:spcPts val="0"/>
              </a:spcAft>
              <a:buClrTx/>
              <a:buSzTx/>
              <a:buFontTx/>
              <a:buAutoNum type="arabicPeriod"/>
              <a:tabLst/>
              <a:defRPr/>
            </a:pPr>
            <a:r>
              <a:rPr kumimoji="0" lang="sl-SI" sz="1350" b="1" i="0" u="none" strike="noStrike" kern="0" cap="none" spc="0" normalizeH="0" baseline="0" noProof="0" dirty="0">
                <a:ln>
                  <a:noFill/>
                </a:ln>
                <a:solidFill>
                  <a:srgbClr val="03365F"/>
                </a:solidFill>
                <a:effectLst/>
                <a:uLnTx/>
                <a:uFillTx/>
                <a:latin typeface="Arial Narrow"/>
                <a:ea typeface="+mn-ea"/>
                <a:cs typeface="+mn-cs"/>
                <a:sym typeface="Arial"/>
              </a:rPr>
              <a:t>EDINSTVEN GLOBALNI POGLED: </a:t>
            </a:r>
            <a:r>
              <a:rPr kumimoji="0" lang="sl-SI" sz="1350" b="0" i="0" u="none" strike="noStrike" kern="0" cap="none" spc="0" normalizeH="0" baseline="0" noProof="0" dirty="0">
                <a:ln>
                  <a:noFill/>
                </a:ln>
                <a:solidFill>
                  <a:srgbClr val="03365F"/>
                </a:solidFill>
                <a:effectLst/>
                <a:uLnTx/>
                <a:uFillTx/>
                <a:latin typeface="Arial Narrow"/>
                <a:ea typeface="+mn-ea"/>
                <a:cs typeface="+mn-cs"/>
                <a:sym typeface="Arial"/>
              </a:rPr>
              <a:t>tveganja držav in panog</a:t>
            </a:r>
          </a:p>
          <a:p>
            <a:pPr marL="342900" marR="0" lvl="0" indent="-342900" algn="l" defTabSz="685800" rtl="0" eaLnBrk="1" fontAlgn="auto" latinLnBrk="0" hangingPunct="0">
              <a:lnSpc>
                <a:spcPct val="100000"/>
              </a:lnSpc>
              <a:spcBef>
                <a:spcPts val="600"/>
              </a:spcBef>
              <a:spcAft>
                <a:spcPts val="0"/>
              </a:spcAft>
              <a:buClrTx/>
              <a:buSzTx/>
              <a:buFontTx/>
              <a:buAutoNum type="arabicPeriod"/>
              <a:tabLst/>
              <a:defRPr/>
            </a:pPr>
            <a:r>
              <a:rPr kumimoji="0" lang="sl-SI" sz="1350" b="1" i="0" u="none" strike="noStrike" kern="0" cap="none" spc="0" normalizeH="0" baseline="0" noProof="0" dirty="0">
                <a:ln>
                  <a:noFill/>
                </a:ln>
                <a:solidFill>
                  <a:srgbClr val="03365F"/>
                </a:solidFill>
                <a:effectLst/>
                <a:uLnTx/>
                <a:uFillTx/>
                <a:latin typeface="Arial Narrow"/>
                <a:ea typeface="+mn-ea"/>
                <a:cs typeface="+mn-cs"/>
                <a:sym typeface="Arial"/>
              </a:rPr>
              <a:t>OCENE IN PRIMERJAVE: </a:t>
            </a:r>
            <a:r>
              <a:rPr kumimoji="0" lang="sl-SI" sz="1350" b="0" i="0" u="none" strike="noStrike" kern="0" cap="none" spc="0" normalizeH="0" baseline="0" noProof="0" dirty="0">
                <a:ln>
                  <a:noFill/>
                </a:ln>
                <a:solidFill>
                  <a:srgbClr val="03365F"/>
                </a:solidFill>
                <a:effectLst/>
                <a:uLnTx/>
                <a:uFillTx/>
                <a:latin typeface="Arial Narrow"/>
                <a:ea typeface="+mn-ea"/>
                <a:cs typeface="+mn-cs"/>
                <a:sym typeface="Arial"/>
              </a:rPr>
              <a:t>različna tveganja, ki vplivajo na državo; mednarodni trgovinski partnerji; prednosti in pomanjkljivosti gospodarstev </a:t>
            </a:r>
          </a:p>
          <a:p>
            <a:pPr marL="342900" marR="0" lvl="0" indent="-342900" algn="l" defTabSz="685800" rtl="0" eaLnBrk="1" fontAlgn="auto" latinLnBrk="0" hangingPunct="0">
              <a:lnSpc>
                <a:spcPct val="100000"/>
              </a:lnSpc>
              <a:spcBef>
                <a:spcPts val="600"/>
              </a:spcBef>
              <a:spcAft>
                <a:spcPts val="0"/>
              </a:spcAft>
              <a:buClrTx/>
              <a:buSzTx/>
              <a:buFontTx/>
              <a:buAutoNum type="arabicPeriod"/>
              <a:tabLst/>
              <a:defRPr/>
            </a:pPr>
            <a:r>
              <a:rPr kumimoji="0" lang="sl-SI" sz="1350" b="1" i="0" u="none" strike="noStrike" kern="0" cap="none" spc="0" normalizeH="0" baseline="0" noProof="0" dirty="0">
                <a:ln>
                  <a:noFill/>
                </a:ln>
                <a:solidFill>
                  <a:srgbClr val="03365F"/>
                </a:solidFill>
                <a:effectLst/>
                <a:uLnTx/>
                <a:uFillTx/>
                <a:latin typeface="Arial Narrow"/>
                <a:ea typeface="+mn-ea"/>
                <a:cs typeface="+mn-cs"/>
                <a:sym typeface="Arial"/>
              </a:rPr>
              <a:t>VKLJUČITEV PODATKOV IZ VPOGLEDOV V VAŠ SISTEM ODLOČANJA</a:t>
            </a:r>
          </a:p>
        </p:txBody>
      </p:sp>
      <p:pic>
        <p:nvPicPr>
          <p:cNvPr id="24" name="Picture 23"/>
          <p:cNvPicPr>
            <a:picLocks noChangeAspect="1"/>
          </p:cNvPicPr>
          <p:nvPr/>
        </p:nvPicPr>
        <p:blipFill rotWithShape="1">
          <a:blip r:embed="rId4" cstate="email">
            <a:extLst>
              <a:ext uri="{28A0092B-C50C-407E-A947-70E740481C1C}">
                <a14:useLocalDpi xmlns:a14="http://schemas.microsoft.com/office/drawing/2010/main" val="0"/>
              </a:ext>
            </a:extLst>
          </a:blip>
          <a:srcRect r="44734"/>
          <a:stretch/>
        </p:blipFill>
        <p:spPr>
          <a:xfrm>
            <a:off x="8708766" y="228008"/>
            <a:ext cx="2215649" cy="802348"/>
          </a:xfrm>
          <a:prstGeom prst="rect">
            <a:avLst/>
          </a:prstGeom>
        </p:spPr>
      </p:pic>
      <p:pic>
        <p:nvPicPr>
          <p:cNvPr id="26" name="Imag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14292" y="188305"/>
            <a:ext cx="1602348" cy="842051"/>
          </a:xfrm>
          <a:prstGeom prst="rect">
            <a:avLst/>
          </a:prstGeom>
        </p:spPr>
      </p:pic>
      <p:pic>
        <p:nvPicPr>
          <p:cNvPr id="22" name="Picture" title="This slide contains the following visuals: Coutry Risk Assessment, Select countries, image, slicer, textbox, textbox, pivotTable, Assessing Country Risk, clusteredBarChart, image, Country Insights, Pillars of Country Risk, Political Assessment, Sector Assessment, Get the Data, basicShape, textbox, textbox, shape, shape. Please refer to the notes on this slide for details.">
            <a:hlinkClick r:id="rId6"/>
          </p:cNvPr>
          <p:cNvPicPr>
            <a:picLocks noChangeAspect="1"/>
          </p:cNvPicPr>
          <p:nvPr/>
        </p:nvPicPr>
        <p:blipFill>
          <a:blip r:embed="rId7"/>
          <a:stretch>
            <a:fillRect/>
          </a:stretch>
        </p:blipFill>
        <p:spPr>
          <a:xfrm>
            <a:off x="6166884" y="2541825"/>
            <a:ext cx="5849756" cy="3337419"/>
          </a:xfrm>
          <a:prstGeom prst="rect">
            <a:avLst/>
          </a:prstGeom>
          <a:effectLst>
            <a:outerShdw blurRad="63500" sx="102000" sy="102000" algn="ctr" rotWithShape="0">
              <a:prstClr val="black">
                <a:alpha val="40000"/>
              </a:prstClr>
            </a:outerShdw>
          </a:effectLst>
        </p:spPr>
      </p:pic>
      <p:grpSp>
        <p:nvGrpSpPr>
          <p:cNvPr id="27" name="Group 26"/>
          <p:cNvGrpSpPr/>
          <p:nvPr/>
        </p:nvGrpSpPr>
        <p:grpSpPr>
          <a:xfrm>
            <a:off x="7238674" y="1559295"/>
            <a:ext cx="3706176" cy="507014"/>
            <a:chOff x="7179871" y="1261274"/>
            <a:chExt cx="3706176" cy="507014"/>
          </a:xfrm>
        </p:grpSpPr>
        <p:sp>
          <p:nvSpPr>
            <p:cNvPr id="29" name="Shape"/>
            <p:cNvSpPr/>
            <p:nvPr/>
          </p:nvSpPr>
          <p:spPr>
            <a:xfrm>
              <a:off x="7179871" y="1261274"/>
              <a:ext cx="3706176" cy="50701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 y="0"/>
                  </a:lnTo>
                  <a:lnTo>
                    <a:pt x="21600" y="0"/>
                  </a:lnTo>
                  <a:lnTo>
                    <a:pt x="21593" y="21600"/>
                  </a:lnTo>
                  <a:lnTo>
                    <a:pt x="0" y="21600"/>
                  </a:lnTo>
                  <a:close/>
                </a:path>
              </a:pathLst>
            </a:custGeom>
            <a:solidFill>
              <a:srgbClr val="1D3561"/>
            </a:solidFill>
            <a:ln w="12700">
              <a:miter lim="400000"/>
            </a:ln>
          </p:spPr>
          <p:txBody>
            <a:bodyPr lIns="45718" tIns="45718" rIns="45718" bIns="45718" anchor="ctr"/>
            <a:lstStyle/>
            <a:p>
              <a:pPr marL="0" marR="0" lvl="0" indent="0" algn="ctr" defTabSz="914400" rtl="0" eaLnBrk="1" fontAlgn="auto" latinLnBrk="0" hangingPunct="0">
                <a:lnSpc>
                  <a:spcPct val="100000"/>
                </a:lnSpc>
                <a:spcBef>
                  <a:spcPts val="0"/>
                </a:spcBef>
                <a:spcAft>
                  <a:spcPts val="0"/>
                </a:spcAft>
                <a:buClrTx/>
                <a:buSzTx/>
                <a:buFontTx/>
                <a:buNone/>
                <a:tabLst/>
                <a:defRPr sz="1400">
                  <a:latin typeface="PFBeauSansPro-Regular"/>
                  <a:ea typeface="PFBeauSansPro-Regular"/>
                  <a:cs typeface="PFBeauSansPro-Regular"/>
                  <a:sym typeface="PFBeauSansPro-Regular"/>
                </a:defRPr>
              </a:pPr>
              <a:endParaRPr kumimoji="0" sz="1400" b="0" i="0" u="none" strike="noStrike" kern="0" cap="none" spc="0" normalizeH="0" baseline="0" noProof="0" dirty="0">
                <a:ln>
                  <a:noFill/>
                </a:ln>
                <a:solidFill>
                  <a:srgbClr val="FFFFFF"/>
                </a:solidFill>
                <a:effectLst/>
                <a:uLnTx/>
                <a:uFillTx/>
                <a:latin typeface="PFBeauSansPro-Regular"/>
                <a:sym typeface="PFBeauSansPro-Regular"/>
              </a:endParaRPr>
            </a:p>
          </p:txBody>
        </p:sp>
        <p:sp>
          <p:nvSpPr>
            <p:cNvPr id="30" name="COFACE CREDIT OPINION"/>
            <p:cNvSpPr txBox="1"/>
            <p:nvPr/>
          </p:nvSpPr>
          <p:spPr>
            <a:xfrm>
              <a:off x="7452350" y="1372250"/>
              <a:ext cx="3335915"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lvl1pPr algn="ctr">
                <a:defRPr sz="1600" spc="48">
                  <a:latin typeface="Gotham-Bold"/>
                  <a:ea typeface="Gotham-Bold"/>
                  <a:cs typeface="Gotham-Bold"/>
                  <a:sym typeface="Gotham-Bold"/>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sl-SI" sz="1600" b="0" i="0" u="none" strike="noStrike" kern="0" cap="none" spc="48" normalizeH="0" baseline="0" noProof="0" dirty="0">
                  <a:ln>
                    <a:noFill/>
                  </a:ln>
                  <a:solidFill>
                    <a:srgbClr val="FFFFFF"/>
                  </a:solidFill>
                  <a:effectLst/>
                  <a:uLnTx/>
                  <a:uFillTx/>
                  <a:latin typeface="Gotham-Bold"/>
                  <a:sym typeface="Gotham-Bold"/>
                </a:rPr>
                <a:t>Pregledni podatki o ekonomskih vpogledih</a:t>
              </a:r>
            </a:p>
          </p:txBody>
        </p:sp>
      </p:grpSp>
    </p:spTree>
    <p:extLst>
      <p:ext uri="{BB962C8B-B14F-4D97-AF65-F5344CB8AC3E}">
        <p14:creationId xmlns:p14="http://schemas.microsoft.com/office/powerpoint/2010/main" val="1083343400"/>
      </p:ext>
    </p:extLst>
  </p:cSld>
  <p:clrMapOvr>
    <a:masterClrMapping/>
  </p:clrMapOvr>
  <mc:AlternateContent xmlns:mc="http://schemas.openxmlformats.org/markup-compatibility/2006" xmlns:p14="http://schemas.microsoft.com/office/powerpoint/2010/main">
    <mc:Choice Requires="p14">
      <p:transition spd="slow">
        <p:fade/>
      </p:transition>
    </mc:Choice>
    <mc:Fallback xmlns="" xmlns:m="http://schemas.openxmlformats.org/officeDocument/2006/math"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8" name="Rectangle 43"/>
          <p:cNvSpPr txBox="1"/>
          <p:nvPr/>
        </p:nvSpPr>
        <p:spPr>
          <a:xfrm>
            <a:off x="390068" y="3889142"/>
            <a:ext cx="1487348" cy="4670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defRPr b="1" spc="65"/>
            </a:lvl1p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sz="1300" b="1" i="0" u="none" strike="noStrike" kern="0" cap="none" spc="65" normalizeH="0" baseline="0" noProof="0" dirty="0">
                <a:ln>
                  <a:noFill/>
                </a:ln>
                <a:solidFill>
                  <a:srgbClr val="FFFFFF"/>
                </a:solidFill>
                <a:effectLst/>
                <a:uLnTx/>
                <a:uFillTx/>
                <a:latin typeface="Arial"/>
                <a:ea typeface="+mn-ea"/>
                <a:cs typeface="+mn-cs"/>
                <a:sym typeface="Arial"/>
              </a:rPr>
              <a:t>DETAILED CONTENT</a:t>
            </a:r>
          </a:p>
        </p:txBody>
      </p:sp>
      <p:pic>
        <p:nvPicPr>
          <p:cNvPr id="280" name="Image" descr="Image"/>
          <p:cNvPicPr>
            <a:picLocks noChangeAspect="1"/>
          </p:cNvPicPr>
          <p:nvPr/>
        </p:nvPicPr>
        <p:blipFill>
          <a:blip r:embed="rId3"/>
          <a:stretch>
            <a:fillRect/>
          </a:stretch>
        </p:blipFill>
        <p:spPr>
          <a:xfrm>
            <a:off x="492620" y="2521593"/>
            <a:ext cx="250201" cy="189808"/>
          </a:xfrm>
          <a:prstGeom prst="rect">
            <a:avLst/>
          </a:prstGeom>
          <a:ln w="12700">
            <a:miter lim="400000"/>
          </a:ln>
        </p:spPr>
      </p:pic>
      <p:sp>
        <p:nvSpPr>
          <p:cNvPr id="23" name="OBJECTIVE"/>
          <p:cNvSpPr txBox="1"/>
          <p:nvPr/>
        </p:nvSpPr>
        <p:spPr>
          <a:xfrm>
            <a:off x="611472" y="1142089"/>
            <a:ext cx="261264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defRPr sz="1800" b="1" spc="90"/>
            </a:lvl1p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lang="pl-PL" sz="1800" b="1" i="0" u="none" strike="noStrike" kern="0" cap="none" spc="90" normalizeH="0" baseline="0" noProof="0" dirty="0">
                <a:ln>
                  <a:noFill/>
                </a:ln>
                <a:solidFill>
                  <a:srgbClr val="FFFFFF"/>
                </a:solidFill>
                <a:effectLst/>
                <a:uLnTx/>
                <a:uFillTx/>
                <a:latin typeface="Arial"/>
                <a:ea typeface="+mn-ea"/>
                <a:cs typeface="+mn-cs"/>
                <a:sym typeface="Arial"/>
              </a:rPr>
              <a:t>DRA</a:t>
            </a:r>
            <a:endParaRPr kumimoji="0" sz="1800" b="1" i="0" u="none" strike="noStrike" kern="0" cap="none" spc="90" normalizeH="0" baseline="0" noProof="0" dirty="0">
              <a:ln>
                <a:noFill/>
              </a:ln>
              <a:solidFill>
                <a:srgbClr val="FFFFFF"/>
              </a:solidFill>
              <a:effectLst/>
              <a:uLnTx/>
              <a:uFillTx/>
              <a:latin typeface="Arial"/>
              <a:ea typeface="+mn-ea"/>
              <a:cs typeface="+mn-cs"/>
              <a:sym typeface="Arial"/>
            </a:endParaRPr>
          </a:p>
        </p:txBody>
      </p:sp>
      <p:sp>
        <p:nvSpPr>
          <p:cNvPr id="25" name="Access commercial risk scores and exclusive sector and economic analysis"/>
          <p:cNvSpPr txBox="1"/>
          <p:nvPr/>
        </p:nvSpPr>
        <p:spPr>
          <a:xfrm>
            <a:off x="588132" y="2668124"/>
            <a:ext cx="2874387" cy="3454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2000" tIns="72000" rIns="72000" bIns="72000">
            <a:spAutoFit/>
          </a:bodyPr>
          <a:lstStyle>
            <a:lvl1pPr>
              <a:spcBef>
                <a:spcPts val="0"/>
              </a:spcBef>
              <a:defRPr>
                <a:solidFill>
                  <a:srgbClr val="43517A"/>
                </a:solidFill>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sz="1300" b="0" i="0" u="none" strike="noStrike" kern="0" cap="none" spc="0" normalizeH="0" baseline="0" noProof="0" dirty="0">
              <a:ln>
                <a:noFill/>
              </a:ln>
              <a:solidFill>
                <a:srgbClr val="43517A"/>
              </a:solidFill>
              <a:effectLst/>
              <a:uLnTx/>
              <a:uFillTx/>
              <a:latin typeface="Arial"/>
              <a:ea typeface="+mn-ea"/>
              <a:cs typeface="+mn-cs"/>
              <a:sym typeface="Arial"/>
            </a:endParaRPr>
          </a:p>
        </p:txBody>
      </p:sp>
      <p:sp>
        <p:nvSpPr>
          <p:cNvPr id="4" name="Title 3"/>
          <p:cNvSpPr>
            <a:spLocks noGrp="1"/>
          </p:cNvSpPr>
          <p:nvPr>
            <p:ph type="title"/>
          </p:nvPr>
        </p:nvSpPr>
        <p:spPr>
          <a:xfrm>
            <a:off x="741529" y="440971"/>
            <a:ext cx="10942471" cy="480131"/>
          </a:xfrm>
        </p:spPr>
        <p:txBody>
          <a:bodyPr/>
          <a:lstStyle/>
          <a:p>
            <a:r>
              <a:rPr lang="en-US" dirty="0" err="1"/>
              <a:t>Vpogledi</a:t>
            </a:r>
            <a:r>
              <a:rPr lang="en-US" dirty="0"/>
              <a:t> v </a:t>
            </a:r>
            <a:r>
              <a:rPr lang="en-US" dirty="0" err="1"/>
              <a:t>portfelje</a:t>
            </a:r>
            <a:endParaRPr lang="en-US" dirty="0"/>
          </a:p>
        </p:txBody>
      </p:sp>
      <p:sp>
        <p:nvSpPr>
          <p:cNvPr id="3" name="Slide Number Placeholder 2"/>
          <p:cNvSpPr>
            <a:spLocks noGrp="1"/>
          </p:cNvSpPr>
          <p:nvPr>
            <p:ph type="sldNum" sz="quarter" idx="4294967295"/>
          </p:nvPr>
        </p:nvSpPr>
        <p:spPr>
          <a:xfrm>
            <a:off x="11861800" y="6423025"/>
            <a:ext cx="330200" cy="307975"/>
          </a:xfrm>
          <a:prstGeom prst="rect">
            <a:avLst/>
          </a:prstGeom>
        </p:spPr>
        <p:txBody>
          <a:bodyPr/>
          <a:lstStyle/>
          <a:p>
            <a:pPr marL="0" marR="0" lvl="0" indent="0" algn="l" defTabSz="685800" rtl="0" eaLnBrk="1" fontAlgn="auto" latinLnBrk="0" hangingPunct="0">
              <a:lnSpc>
                <a:spcPct val="100000"/>
              </a:lnSpc>
              <a:spcBef>
                <a:spcPts val="600"/>
              </a:spcBef>
              <a:spcAft>
                <a:spcPts val="0"/>
              </a:spcAft>
              <a:buClrTx/>
              <a:buSzTx/>
              <a:buFontTx/>
              <a:buNone/>
              <a:tabLst/>
              <a:defRPr/>
            </a:pPr>
            <a:fld id="{86CB4B4D-7CA3-9044-876B-883B54F8677D}" type="slidenum">
              <a:rPr kumimoji="0" lang="en-GB" sz="1300" b="0" i="0" u="none" strike="noStrike" kern="0" cap="none" spc="0" normalizeH="0" baseline="0" noProof="0" smtClean="0">
                <a:ln>
                  <a:noFill/>
                </a:ln>
                <a:solidFill>
                  <a:srgbClr val="FFFFFF"/>
                </a:solidFill>
                <a:effectLst/>
                <a:uLnTx/>
                <a:uFillTx/>
                <a:latin typeface="Arial"/>
                <a:ea typeface="+mn-ea"/>
                <a:cs typeface="+mn-cs"/>
                <a:sym typeface="Arial"/>
              </a:rPr>
              <a:pPr marL="0" marR="0" lvl="0" indent="0" algn="l" defTabSz="685800" rtl="0" eaLnBrk="1" fontAlgn="auto" latinLnBrk="0" hangingPunct="0">
                <a:lnSpc>
                  <a:spcPct val="100000"/>
                </a:lnSpc>
                <a:spcBef>
                  <a:spcPts val="600"/>
                </a:spcBef>
                <a:spcAft>
                  <a:spcPts val="0"/>
                </a:spcAft>
                <a:buClrTx/>
                <a:buSzTx/>
                <a:buFontTx/>
                <a:buNone/>
                <a:tabLst/>
                <a:defRPr/>
              </a:pPr>
              <a:t>13</a:t>
            </a:fld>
            <a:endParaRPr kumimoji="0" lang="en-GB" sz="13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48" name="Rectangle 47"/>
          <p:cNvSpPr/>
          <p:nvPr/>
        </p:nvSpPr>
        <p:spPr>
          <a:xfrm>
            <a:off x="155452" y="2876527"/>
            <a:ext cx="2410956" cy="2403382"/>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49" name="The Debtor Risk Assessment (DRA) evaluates a company's capacity to honor its financial obligations."/>
          <p:cNvSpPr txBox="1"/>
          <p:nvPr/>
        </p:nvSpPr>
        <p:spPr>
          <a:xfrm>
            <a:off x="368802" y="3154591"/>
            <a:ext cx="2062088" cy="162273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2000" tIns="72000" rIns="72000" bIns="72000">
            <a:spAutoFit/>
          </a:bodyPr>
          <a:lstStyle>
            <a:lvl1pPr>
              <a:spcBef>
                <a:spcPts val="0"/>
              </a:spcBef>
              <a:defRPr>
                <a:solidFill>
                  <a:srgbClr val="43517A"/>
                </a:solidFill>
              </a:defRPr>
            </a:lvl1pP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sl-SI" sz="12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Z vpogledi v portfelje (</a:t>
            </a:r>
            <a:r>
              <a:rPr kumimoji="0" lang="sl-SI" sz="1200" b="0" i="0" u="none" strike="noStrike" kern="0" cap="none" spc="0" normalizeH="0" baseline="0" noProof="0" dirty="0" err="1">
                <a:ln>
                  <a:noFill/>
                </a:ln>
                <a:solidFill>
                  <a:srgbClr val="43517A"/>
                </a:solidFill>
                <a:effectLst/>
                <a:uLnTx/>
                <a:uFillTx/>
                <a:latin typeface="Arial"/>
                <a:ea typeface="+mn-ea"/>
                <a:cs typeface="+mn-cs"/>
                <a:sym typeface="Arial" panose="020B0604020202020204" pitchFamily="34" charset="0"/>
              </a:rPr>
              <a:t>Portfolio</a:t>
            </a:r>
            <a:r>
              <a:rPr kumimoji="0" lang="sl-SI" sz="12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 </a:t>
            </a:r>
            <a:r>
              <a:rPr kumimoji="0" lang="sl-SI" sz="1200" b="0" i="0" u="none" strike="noStrike" kern="0" cap="none" spc="0" normalizeH="0" baseline="0" noProof="0" dirty="0" err="1">
                <a:ln>
                  <a:noFill/>
                </a:ln>
                <a:solidFill>
                  <a:srgbClr val="43517A"/>
                </a:solidFill>
                <a:effectLst/>
                <a:uLnTx/>
                <a:uFillTx/>
                <a:latin typeface="Arial"/>
                <a:ea typeface="+mn-ea"/>
                <a:cs typeface="+mn-cs"/>
                <a:sym typeface="Arial" panose="020B0604020202020204" pitchFamily="34" charset="0"/>
              </a:rPr>
              <a:t>Insights</a:t>
            </a:r>
            <a:r>
              <a:rPr kumimoji="0" lang="sl-SI" sz="12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 dobite vse informacije, ki jih potrebujete za upravljanje tveganj, kar je predstavljeno vizualno privlačno v posebej temu namenjenem preglednem prikazu.</a:t>
            </a:r>
          </a:p>
        </p:txBody>
      </p:sp>
      <p:sp>
        <p:nvSpPr>
          <p:cNvPr id="50" name="Rectangle 49"/>
          <p:cNvSpPr/>
          <p:nvPr/>
        </p:nvSpPr>
        <p:spPr>
          <a:xfrm>
            <a:off x="445313" y="2062612"/>
            <a:ext cx="1727691" cy="917961"/>
          </a:xfrm>
          <a:prstGeom prst="rect">
            <a:avLst/>
          </a:prstGeom>
          <a:solidFill>
            <a:schemeClr val="tx2"/>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1" name="Monitored Debtor Risk Assessment or DRA (Score)"/>
          <p:cNvSpPr txBox="1"/>
          <p:nvPr/>
        </p:nvSpPr>
        <p:spPr>
          <a:xfrm>
            <a:off x="588132" y="2351408"/>
            <a:ext cx="1459032" cy="36085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2000" tIns="72000" rIns="72000" bIns="72000">
            <a:spAutoFit/>
          </a:bodyPr>
          <a:lstStyle>
            <a:lvl1pPr>
              <a:defRPr sz="1400" b="1" cap="all" spc="42">
                <a:solidFill>
                  <a:srgbClr val="5CB781"/>
                </a:solidFill>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pl-PL" sz="1400" b="1" i="0" u="none" strike="noStrike" kern="0" cap="all" spc="42" normalizeH="0" baseline="0" noProof="0" dirty="0">
                <a:ln>
                  <a:noFill/>
                </a:ln>
                <a:solidFill>
                  <a:prstClr val="white"/>
                </a:solidFill>
                <a:effectLst/>
                <a:uLnTx/>
                <a:uFillTx/>
                <a:latin typeface="Arial"/>
                <a:ea typeface="+mn-ea"/>
                <a:cs typeface="+mn-cs"/>
                <a:sym typeface="Arial"/>
              </a:rPr>
              <a:t>Pregled</a:t>
            </a:r>
          </a:p>
        </p:txBody>
      </p:sp>
      <p:sp>
        <p:nvSpPr>
          <p:cNvPr id="52" name="Rectangle 51"/>
          <p:cNvSpPr/>
          <p:nvPr/>
        </p:nvSpPr>
        <p:spPr>
          <a:xfrm>
            <a:off x="2780703" y="2521502"/>
            <a:ext cx="2849244" cy="3189487"/>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3" name="Rectangle 52"/>
          <p:cNvSpPr/>
          <p:nvPr/>
        </p:nvSpPr>
        <p:spPr>
          <a:xfrm>
            <a:off x="3047223" y="1547360"/>
            <a:ext cx="2337185" cy="1120764"/>
          </a:xfrm>
          <a:prstGeom prst="rect">
            <a:avLst/>
          </a:prstGeom>
          <a:solidFill>
            <a:srgbClr val="1C355E"/>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4" name="Rectangle 53"/>
          <p:cNvSpPr/>
          <p:nvPr/>
        </p:nvSpPr>
        <p:spPr>
          <a:xfrm>
            <a:off x="3182396" y="1953853"/>
            <a:ext cx="208262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1" i="0" u="none" strike="noStrike" kern="0" cap="none" spc="0" normalizeH="0" baseline="0" noProof="0" dirty="0">
                <a:ln>
                  <a:noFill/>
                </a:ln>
                <a:solidFill>
                  <a:prstClr val="white"/>
                </a:solidFill>
                <a:effectLst/>
                <a:uLnTx/>
                <a:uFillTx/>
                <a:latin typeface="Arial"/>
                <a:ea typeface="+mn-ea"/>
                <a:cs typeface="+mn-cs"/>
                <a:sym typeface="Arial"/>
              </a:rPr>
              <a:t>PODROBNA VSEBINA</a:t>
            </a:r>
          </a:p>
        </p:txBody>
      </p:sp>
      <p:sp>
        <p:nvSpPr>
          <p:cNvPr id="56" name="Rectangle 55"/>
          <p:cNvSpPr/>
          <p:nvPr/>
        </p:nvSpPr>
        <p:spPr>
          <a:xfrm>
            <a:off x="2780703" y="2839737"/>
            <a:ext cx="2849244" cy="2693045"/>
          </a:xfrm>
          <a:prstGeom prst="rect">
            <a:avLst/>
          </a:prstGeom>
        </p:spPr>
        <p:txBody>
          <a:bodyPr wrap="square">
            <a:spAutoFit/>
          </a:body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lang="sl-SI" sz="11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Vpogledi v portfelje prinašajo informacije, ki jih potrebujete za upravljanje kreditnega tveganja, na treh ključnih področjih:</a:t>
            </a:r>
          </a:p>
          <a:p>
            <a:pPr marL="171450" marR="0" lvl="0" indent="-171450" algn="l" defTabSz="685800" rtl="0" eaLnBrk="1" fontAlgn="auto" latinLnBrk="0" hangingPunct="0">
              <a:lnSpc>
                <a:spcPct val="100000"/>
              </a:lnSpc>
              <a:spcBef>
                <a:spcPts val="600"/>
              </a:spcBef>
              <a:spcAft>
                <a:spcPts val="0"/>
              </a:spcAft>
              <a:buClrTx/>
              <a:buSzTx/>
              <a:buFont typeface="Wingdings" panose="05000000000000000000" pitchFamily="2" charset="2"/>
              <a:buChar char="Ø"/>
              <a:tabLst/>
              <a:defRPr/>
            </a:pPr>
            <a:r>
              <a:rPr kumimoji="0" lang="sl-SI" sz="11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Ocena tveganja dolžnika, ki zajema oceno kreditnega tveganja posameznega podjetja.</a:t>
            </a:r>
          </a:p>
          <a:p>
            <a:pPr marL="171450" marR="0" lvl="0" indent="-171450" algn="l" defTabSz="685800" rtl="0" eaLnBrk="1" fontAlgn="auto" latinLnBrk="0" hangingPunct="0">
              <a:lnSpc>
                <a:spcPct val="100000"/>
              </a:lnSpc>
              <a:spcBef>
                <a:spcPts val="600"/>
              </a:spcBef>
              <a:spcAft>
                <a:spcPts val="0"/>
              </a:spcAft>
              <a:buClrTx/>
              <a:buSzTx/>
              <a:buFont typeface="Wingdings" panose="05000000000000000000" pitchFamily="2" charset="2"/>
              <a:buChar char="Ø"/>
              <a:tabLst/>
              <a:defRPr/>
            </a:pPr>
            <a:r>
              <a:rPr kumimoji="0" lang="sl-SI" sz="11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Makroekonomski okvir posameznega podjetja: ocena tveganja države, ocena tveganja sektorja.</a:t>
            </a:r>
          </a:p>
          <a:p>
            <a:pPr marL="171450" marR="0" lvl="0" indent="-171450" algn="l" defTabSz="685800" rtl="0" eaLnBrk="1" fontAlgn="auto" latinLnBrk="0" hangingPunct="0">
              <a:lnSpc>
                <a:spcPct val="100000"/>
              </a:lnSpc>
              <a:spcBef>
                <a:spcPts val="600"/>
              </a:spcBef>
              <a:spcAft>
                <a:spcPts val="0"/>
              </a:spcAft>
              <a:buClrTx/>
              <a:buSzTx/>
              <a:buFont typeface="Wingdings" panose="05000000000000000000" pitchFamily="2" charset="2"/>
              <a:buChar char="Ø"/>
              <a:tabLst/>
              <a:defRPr/>
            </a:pPr>
            <a:r>
              <a:rPr kumimoji="0" lang="sl-SI" sz="11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Ekskluzivni </a:t>
            </a:r>
            <a:r>
              <a:rPr kumimoji="0" lang="sl-SI" sz="1100" b="0" i="0" u="none" strike="noStrike" kern="0" cap="none" spc="0" normalizeH="0" baseline="0" noProof="0" dirty="0" err="1">
                <a:ln>
                  <a:noFill/>
                </a:ln>
                <a:solidFill>
                  <a:srgbClr val="43517A"/>
                </a:solidFill>
                <a:effectLst/>
                <a:uLnTx/>
                <a:uFillTx/>
                <a:latin typeface="Arial"/>
                <a:ea typeface="+mn-ea"/>
                <a:cs typeface="+mn-cs"/>
                <a:sym typeface="Arial" panose="020B0604020202020204" pitchFamily="34" charset="0"/>
              </a:rPr>
              <a:t>Coface</a:t>
            </a:r>
            <a:r>
              <a:rPr kumimoji="0" lang="sl-SI" sz="11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 indeks obetov (</a:t>
            </a:r>
            <a:r>
              <a:rPr kumimoji="0" lang="sl-SI" sz="1100" b="0" i="0" u="none" strike="noStrike" kern="0" cap="none" spc="0" normalizeH="0" baseline="0" noProof="0" dirty="0" err="1">
                <a:ln>
                  <a:noFill/>
                </a:ln>
                <a:solidFill>
                  <a:srgbClr val="43517A"/>
                </a:solidFill>
                <a:effectLst/>
                <a:uLnTx/>
                <a:uFillTx/>
                <a:latin typeface="Arial"/>
                <a:ea typeface="+mn-ea"/>
                <a:cs typeface="+mn-cs"/>
                <a:sym typeface="Arial" panose="020B0604020202020204" pitchFamily="34" charset="0"/>
              </a:rPr>
              <a:t>Coface</a:t>
            </a:r>
            <a:r>
              <a:rPr kumimoji="0" lang="sl-SI" sz="11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 Outlook </a:t>
            </a:r>
            <a:r>
              <a:rPr kumimoji="0" lang="sl-SI" sz="1100" b="0" i="0" u="none" strike="noStrike" kern="0" cap="none" spc="0" normalizeH="0" baseline="0" noProof="0" dirty="0" err="1">
                <a:ln>
                  <a:noFill/>
                </a:ln>
                <a:solidFill>
                  <a:srgbClr val="43517A"/>
                </a:solidFill>
                <a:effectLst/>
                <a:uLnTx/>
                <a:uFillTx/>
                <a:latin typeface="Arial"/>
                <a:ea typeface="+mn-ea"/>
                <a:cs typeface="+mn-cs"/>
                <a:sym typeface="Arial" panose="020B0604020202020204" pitchFamily="34" charset="0"/>
              </a:rPr>
              <a:t>Index</a:t>
            </a:r>
            <a:r>
              <a:rPr kumimoji="0" lang="sl-SI" sz="1100" b="0" i="0" u="none" strike="noStrike" kern="0" cap="none" spc="0" normalizeH="0" baseline="0" noProof="0" dirty="0">
                <a:ln>
                  <a:noFill/>
                </a:ln>
                <a:solidFill>
                  <a:srgbClr val="43517A"/>
                </a:solidFill>
                <a:effectLst/>
                <a:uLnTx/>
                <a:uFillTx/>
                <a:latin typeface="Arial"/>
                <a:ea typeface="+mn-ea"/>
                <a:cs typeface="+mn-cs"/>
                <a:sym typeface="Arial" panose="020B0604020202020204" pitchFamily="34" charset="0"/>
              </a:rPr>
              <a:t>), ki združuje podatke o trendih neplačil, ki se sproti posodabljajo, in trendih kreditnih tveganj po sektorjih.</a:t>
            </a:r>
          </a:p>
        </p:txBody>
      </p:sp>
      <p:pic>
        <p:nvPicPr>
          <p:cNvPr id="24" name="Picture 23"/>
          <p:cNvPicPr>
            <a:picLocks noChangeAspect="1"/>
          </p:cNvPicPr>
          <p:nvPr/>
        </p:nvPicPr>
        <p:blipFill rotWithShape="1">
          <a:blip r:embed="rId4" cstate="email">
            <a:extLst>
              <a:ext uri="{28A0092B-C50C-407E-A947-70E740481C1C}">
                <a14:useLocalDpi xmlns:a14="http://schemas.microsoft.com/office/drawing/2010/main" val="0"/>
              </a:ext>
            </a:extLst>
          </a:blip>
          <a:srcRect r="44734"/>
          <a:stretch/>
        </p:blipFill>
        <p:spPr>
          <a:xfrm>
            <a:off x="8708766" y="228008"/>
            <a:ext cx="2215649" cy="802348"/>
          </a:xfrm>
          <a:prstGeom prst="rect">
            <a:avLst/>
          </a:prstGeom>
        </p:spPr>
      </p:pic>
      <p:pic>
        <p:nvPicPr>
          <p:cNvPr id="26" name="Image 8"/>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414292" y="188305"/>
            <a:ext cx="1602348" cy="842051"/>
          </a:xfrm>
          <a:prstGeom prst="rect">
            <a:avLst/>
          </a:prstGeom>
        </p:spPr>
      </p:pic>
      <p:sp>
        <p:nvSpPr>
          <p:cNvPr id="29" name="Shape"/>
          <p:cNvSpPr/>
          <p:nvPr/>
        </p:nvSpPr>
        <p:spPr>
          <a:xfrm>
            <a:off x="7271924" y="1419088"/>
            <a:ext cx="4412075" cy="900497"/>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 y="0"/>
                </a:lnTo>
                <a:lnTo>
                  <a:pt x="21600" y="0"/>
                </a:lnTo>
                <a:lnTo>
                  <a:pt x="21593" y="21600"/>
                </a:lnTo>
                <a:lnTo>
                  <a:pt x="0" y="21600"/>
                </a:lnTo>
                <a:close/>
              </a:path>
            </a:pathLst>
          </a:custGeom>
          <a:solidFill>
            <a:srgbClr val="1D3561"/>
          </a:solidFill>
          <a:ln w="12700">
            <a:miter lim="400000"/>
          </a:ln>
        </p:spPr>
        <p:txBody>
          <a:bodyPr lIns="45718" tIns="45718" rIns="45718" bIns="45718" anchor="ctr"/>
          <a:lstStyle/>
          <a:p>
            <a:pPr marL="0" marR="0" lvl="0" indent="0" algn="ctr" defTabSz="914400" rtl="0" eaLnBrk="1" fontAlgn="auto" latinLnBrk="0" hangingPunct="0">
              <a:lnSpc>
                <a:spcPct val="100000"/>
              </a:lnSpc>
              <a:spcBef>
                <a:spcPts val="0"/>
              </a:spcBef>
              <a:spcAft>
                <a:spcPts val="0"/>
              </a:spcAft>
              <a:buClrTx/>
              <a:buSzTx/>
              <a:buFontTx/>
              <a:buNone/>
              <a:tabLst/>
              <a:defRPr sz="1400">
                <a:latin typeface="PFBeauSansPro-Regular"/>
                <a:ea typeface="PFBeauSansPro-Regular"/>
                <a:cs typeface="PFBeauSansPro-Regular"/>
                <a:sym typeface="PFBeauSansPro-Regular"/>
              </a:defRPr>
            </a:pPr>
            <a:endParaRPr kumimoji="0" sz="1400" b="0" i="0" u="none" strike="noStrike" kern="0" cap="none" spc="0" normalizeH="0" baseline="0" noProof="0">
              <a:ln>
                <a:noFill/>
              </a:ln>
              <a:solidFill>
                <a:srgbClr val="FFFFFF"/>
              </a:solidFill>
              <a:effectLst/>
              <a:uLnTx/>
              <a:uFillTx/>
              <a:latin typeface="PFBeauSansPro-Regular"/>
              <a:sym typeface="PFBeauSansPro-Regular"/>
            </a:endParaRPr>
          </a:p>
        </p:txBody>
      </p:sp>
      <p:pic>
        <p:nvPicPr>
          <p:cNvPr id="33" name="Image 13"/>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6071191" y="2566312"/>
            <a:ext cx="5925052" cy="3475496"/>
          </a:xfrm>
          <a:prstGeom prst="rect">
            <a:avLst/>
          </a:prstGeom>
          <a:effectLst>
            <a:outerShdw blurRad="63500" sx="102000" sy="102000" algn="ctr" rotWithShape="0">
              <a:prstClr val="black">
                <a:alpha val="40000"/>
              </a:prstClr>
            </a:outerShdw>
          </a:effectLst>
        </p:spPr>
      </p:pic>
      <p:sp>
        <p:nvSpPr>
          <p:cNvPr id="22" name="COFACE CREDIT OPINION"/>
          <p:cNvSpPr txBox="1"/>
          <p:nvPr/>
        </p:nvSpPr>
        <p:spPr>
          <a:xfrm>
            <a:off x="7449596" y="1612114"/>
            <a:ext cx="3991390" cy="49244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nchor="ctr">
            <a:spAutoFit/>
          </a:bodyPr>
          <a:lstStyle>
            <a:lvl1pPr algn="ctr">
              <a:defRPr sz="1600" spc="48">
                <a:latin typeface="Gotham-Bold"/>
                <a:ea typeface="Gotham-Bold"/>
                <a:cs typeface="Gotham-Bold"/>
                <a:sym typeface="Gotham-Bold"/>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sl-SI" sz="1600" b="0" i="0" u="none" strike="noStrike" kern="0" cap="none" spc="48" normalizeH="0" baseline="0" noProof="0" dirty="0">
                <a:ln>
                  <a:noFill/>
                </a:ln>
                <a:solidFill>
                  <a:srgbClr val="FFFFFF"/>
                </a:solidFill>
                <a:effectLst/>
                <a:uLnTx/>
                <a:uFillTx/>
                <a:latin typeface="Gotham-Bold"/>
                <a:sym typeface="Gotham-Bold"/>
              </a:rPr>
              <a:t>Pregledni podatki o vpogledih v portfelje </a:t>
            </a:r>
            <a:r>
              <a:rPr kumimoji="0" lang="sl-SI" sz="1600" b="0" i="1" u="none" strike="noStrike" kern="0" cap="none" spc="48" normalizeH="0" baseline="0" noProof="0" dirty="0">
                <a:ln>
                  <a:noFill/>
                </a:ln>
                <a:solidFill>
                  <a:srgbClr val="FFFFFF"/>
                </a:solidFill>
                <a:effectLst/>
                <a:uLnTx/>
                <a:uFillTx/>
                <a:latin typeface="Gotham-Bold"/>
                <a:sym typeface="Gotham-Bold"/>
              </a:rPr>
              <a:t>(Portfolio Insights Dashboard)</a:t>
            </a:r>
          </a:p>
        </p:txBody>
      </p:sp>
    </p:spTree>
    <p:extLst>
      <p:ext uri="{BB962C8B-B14F-4D97-AF65-F5344CB8AC3E}">
        <p14:creationId xmlns:p14="http://schemas.microsoft.com/office/powerpoint/2010/main" val="4096299727"/>
      </p:ext>
    </p:extLst>
  </p:cSld>
  <p:clrMapOvr>
    <a:masterClrMapping/>
  </p:clrMapOvr>
  <mc:AlternateContent xmlns:mc="http://schemas.openxmlformats.org/markup-compatibility/2006" xmlns:p14="http://schemas.microsoft.com/office/powerpoint/2010/main">
    <mc:Choice Requires="p14">
      <p:transition spd="slow">
        <p:fade/>
      </p:transition>
    </mc:Choice>
    <mc:Fallback xmlns="" xmlns:m="http://schemas.openxmlformats.org/officeDocument/2006/math"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aphique 5">
            <a:extLst>
              <a:ext uri="{FF2B5EF4-FFF2-40B4-BE49-F238E27FC236}">
                <a16:creationId xmlns:a16="http://schemas.microsoft.com/office/drawing/2014/main" id="{D1E65F7E-16B2-480E-9516-7021AC31FF8F}"/>
              </a:ext>
            </a:extLst>
          </p:cNvPr>
          <p:cNvGrpSpPr/>
          <p:nvPr/>
        </p:nvGrpSpPr>
        <p:grpSpPr>
          <a:xfrm>
            <a:off x="-13655" y="1892734"/>
            <a:ext cx="12163512" cy="4629603"/>
            <a:chOff x="-126909" y="1524000"/>
            <a:chExt cx="12437130" cy="4629603"/>
          </a:xfrm>
          <a:solidFill>
            <a:schemeClr val="tx2">
              <a:lumMod val="20000"/>
              <a:lumOff val="80000"/>
              <a:alpha val="35000"/>
            </a:schemeClr>
          </a:solidFill>
        </p:grpSpPr>
        <p:sp>
          <p:nvSpPr>
            <p:cNvPr id="36" name="Forme libre : forme 13">
              <a:extLst>
                <a:ext uri="{FF2B5EF4-FFF2-40B4-BE49-F238E27FC236}">
                  <a16:creationId xmlns:a16="http://schemas.microsoft.com/office/drawing/2014/main" id="{BDA121CA-99AB-4ABB-BA02-67C922FA3FC0}"/>
                </a:ext>
              </a:extLst>
            </p:cNvPr>
            <p:cNvSpPr/>
            <p:nvPr/>
          </p:nvSpPr>
          <p:spPr>
            <a:xfrm>
              <a:off x="10321893" y="3926610"/>
              <a:ext cx="794746" cy="506256"/>
            </a:xfrm>
            <a:custGeom>
              <a:avLst/>
              <a:gdLst>
                <a:gd name="connsiteX0" fmla="*/ 102345 w 794746"/>
                <a:gd name="connsiteY0" fmla="*/ 81287 h 506256"/>
                <a:gd name="connsiteX1" fmla="*/ 114769 w 794746"/>
                <a:gd name="connsiteY1" fmla="*/ 73496 h 506256"/>
                <a:gd name="connsiteX2" fmla="*/ 101292 w 794746"/>
                <a:gd name="connsiteY2" fmla="*/ 70126 h 506256"/>
                <a:gd name="connsiteX3" fmla="*/ 6316 w 794746"/>
                <a:gd name="connsiteY3" fmla="*/ 21059 h 506256"/>
                <a:gd name="connsiteX4" fmla="*/ 43801 w 794746"/>
                <a:gd name="connsiteY4" fmla="*/ 0 h 506256"/>
                <a:gd name="connsiteX5" fmla="*/ 110979 w 794746"/>
                <a:gd name="connsiteY5" fmla="*/ 22112 h 506256"/>
                <a:gd name="connsiteX6" fmla="*/ 130143 w 794746"/>
                <a:gd name="connsiteY6" fmla="*/ 73496 h 506256"/>
                <a:gd name="connsiteX7" fmla="*/ 194583 w 794746"/>
                <a:gd name="connsiteY7" fmla="*/ 111402 h 506256"/>
                <a:gd name="connsiteX8" fmla="*/ 246388 w 794746"/>
                <a:gd name="connsiteY8" fmla="*/ 77286 h 506256"/>
                <a:gd name="connsiteX9" fmla="*/ 303879 w 794746"/>
                <a:gd name="connsiteY9" fmla="*/ 108032 h 506256"/>
                <a:gd name="connsiteX10" fmla="*/ 413385 w 794746"/>
                <a:gd name="connsiteY10" fmla="*/ 160890 h 506256"/>
                <a:gd name="connsiteX11" fmla="*/ 506465 w 794746"/>
                <a:gd name="connsiteY11" fmla="*/ 213748 h 506256"/>
                <a:gd name="connsiteX12" fmla="*/ 570906 w 794746"/>
                <a:gd name="connsiteY12" fmla="*/ 279662 h 506256"/>
                <a:gd name="connsiteX13" fmla="*/ 597650 w 794746"/>
                <a:gd name="connsiteY13" fmla="*/ 297773 h 506256"/>
                <a:gd name="connsiteX14" fmla="*/ 631345 w 794746"/>
                <a:gd name="connsiteY14" fmla="*/ 313146 h 506256"/>
                <a:gd name="connsiteX15" fmla="*/ 627553 w 794746"/>
                <a:gd name="connsiteY15" fmla="*/ 333363 h 506256"/>
                <a:gd name="connsiteX16" fmla="*/ 665039 w 794746"/>
                <a:gd name="connsiteY16" fmla="*/ 387695 h 506256"/>
                <a:gd name="connsiteX17" fmla="*/ 702524 w 794746"/>
                <a:gd name="connsiteY17" fmla="*/ 428970 h 506256"/>
                <a:gd name="connsiteX18" fmla="*/ 721687 w 794746"/>
                <a:gd name="connsiteY18" fmla="*/ 439921 h 506256"/>
                <a:gd name="connsiteX19" fmla="*/ 758119 w 794746"/>
                <a:gd name="connsiteY19" fmla="*/ 464981 h 506256"/>
                <a:gd name="connsiteX20" fmla="*/ 748433 w 794746"/>
                <a:gd name="connsiteY20" fmla="*/ 471720 h 506256"/>
                <a:gd name="connsiteX21" fmla="*/ 794552 w 794746"/>
                <a:gd name="connsiteY21" fmla="*/ 506256 h 506256"/>
                <a:gd name="connsiteX22" fmla="*/ 733059 w 794746"/>
                <a:gd name="connsiteY22" fmla="*/ 479933 h 506256"/>
                <a:gd name="connsiteX23" fmla="*/ 614919 w 794746"/>
                <a:gd name="connsiteY23" fmla="*/ 395486 h 506256"/>
                <a:gd name="connsiteX24" fmla="*/ 535317 w 794746"/>
                <a:gd name="connsiteY24" fmla="*/ 361792 h 506256"/>
                <a:gd name="connsiteX25" fmla="*/ 507519 w 794746"/>
                <a:gd name="connsiteY25" fmla="*/ 392117 h 506256"/>
                <a:gd name="connsiteX26" fmla="*/ 468980 w 794746"/>
                <a:gd name="connsiteY26" fmla="*/ 388748 h 506256"/>
                <a:gd name="connsiteX27" fmla="*/ 435287 w 794746"/>
                <a:gd name="connsiteY27" fmla="*/ 396329 h 506256"/>
                <a:gd name="connsiteX28" fmla="*/ 404540 w 794746"/>
                <a:gd name="connsiteY28" fmla="*/ 348735 h 506256"/>
                <a:gd name="connsiteX29" fmla="*/ 362422 w 794746"/>
                <a:gd name="connsiteY29" fmla="*/ 337153 h 506256"/>
                <a:gd name="connsiteX30" fmla="*/ 287453 w 794746"/>
                <a:gd name="connsiteY30" fmla="*/ 320306 h 506256"/>
                <a:gd name="connsiteX31" fmla="*/ 313355 w 794746"/>
                <a:gd name="connsiteY31" fmla="*/ 304512 h 506256"/>
                <a:gd name="connsiteX32" fmla="*/ 329781 w 794746"/>
                <a:gd name="connsiteY32" fmla="*/ 286191 h 506256"/>
                <a:gd name="connsiteX33" fmla="*/ 323042 w 794746"/>
                <a:gd name="connsiteY33" fmla="*/ 264500 h 506256"/>
                <a:gd name="connsiteX34" fmla="*/ 233752 w 794746"/>
                <a:gd name="connsiteY34" fmla="*/ 182791 h 506256"/>
                <a:gd name="connsiteX35" fmla="*/ 172260 w 794746"/>
                <a:gd name="connsiteY35" fmla="*/ 153941 h 506256"/>
                <a:gd name="connsiteX36" fmla="*/ 128037 w 794746"/>
                <a:gd name="connsiteY36" fmla="*/ 121721 h 506256"/>
                <a:gd name="connsiteX37" fmla="*/ 119402 w 794746"/>
                <a:gd name="connsiteY37" fmla="*/ 140463 h 506256"/>
                <a:gd name="connsiteX38" fmla="*/ 98343 w 794746"/>
                <a:gd name="connsiteY38" fmla="*/ 124669 h 506256"/>
                <a:gd name="connsiteX39" fmla="*/ 62754 w 794746"/>
                <a:gd name="connsiteY39" fmla="*/ 80445 h 506256"/>
                <a:gd name="connsiteX40" fmla="*/ 102345 w 794746"/>
                <a:gd name="connsiteY40" fmla="*/ 81287 h 506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794746" h="506256">
                  <a:moveTo>
                    <a:pt x="102345" y="81287"/>
                  </a:moveTo>
                  <a:cubicBezTo>
                    <a:pt x="113927" y="81287"/>
                    <a:pt x="119613" y="73496"/>
                    <a:pt x="114769" y="73496"/>
                  </a:cubicBezTo>
                  <a:cubicBezTo>
                    <a:pt x="119613" y="73496"/>
                    <a:pt x="105082" y="70126"/>
                    <a:pt x="101292" y="70126"/>
                  </a:cubicBezTo>
                  <a:cubicBezTo>
                    <a:pt x="65702" y="87816"/>
                    <a:pt x="31165" y="21059"/>
                    <a:pt x="6316" y="21059"/>
                  </a:cubicBezTo>
                  <a:cubicBezTo>
                    <a:pt x="-16638" y="21059"/>
                    <a:pt x="29270" y="0"/>
                    <a:pt x="43801" y="0"/>
                  </a:cubicBezTo>
                  <a:cubicBezTo>
                    <a:pt x="51593" y="8213"/>
                    <a:pt x="94764" y="5265"/>
                    <a:pt x="110979" y="22112"/>
                  </a:cubicBezTo>
                  <a:cubicBezTo>
                    <a:pt x="121508" y="22112"/>
                    <a:pt x="137724" y="73496"/>
                    <a:pt x="130143" y="73496"/>
                  </a:cubicBezTo>
                  <a:cubicBezTo>
                    <a:pt x="140672" y="93712"/>
                    <a:pt x="194583" y="149939"/>
                    <a:pt x="194583" y="111402"/>
                  </a:cubicBezTo>
                  <a:cubicBezTo>
                    <a:pt x="204059" y="111402"/>
                    <a:pt x="235858" y="98977"/>
                    <a:pt x="246388" y="77286"/>
                  </a:cubicBezTo>
                  <a:cubicBezTo>
                    <a:pt x="259866" y="77286"/>
                    <a:pt x="272290" y="86342"/>
                    <a:pt x="303879" y="108032"/>
                  </a:cubicBezTo>
                  <a:cubicBezTo>
                    <a:pt x="327044" y="108032"/>
                    <a:pt x="383692" y="160890"/>
                    <a:pt x="413385" y="160890"/>
                  </a:cubicBezTo>
                  <a:cubicBezTo>
                    <a:pt x="439288" y="160890"/>
                    <a:pt x="481615" y="213748"/>
                    <a:pt x="506465" y="213748"/>
                  </a:cubicBezTo>
                  <a:cubicBezTo>
                    <a:pt x="593860" y="271871"/>
                    <a:pt x="542054" y="279662"/>
                    <a:pt x="570906" y="279662"/>
                  </a:cubicBezTo>
                  <a:cubicBezTo>
                    <a:pt x="578698" y="279662"/>
                    <a:pt x="609443" y="297773"/>
                    <a:pt x="597650" y="297773"/>
                  </a:cubicBezTo>
                  <a:cubicBezTo>
                    <a:pt x="607338" y="297773"/>
                    <a:pt x="643769" y="313146"/>
                    <a:pt x="631345" y="313146"/>
                  </a:cubicBezTo>
                  <a:cubicBezTo>
                    <a:pt x="642927" y="313146"/>
                    <a:pt x="663143" y="333363"/>
                    <a:pt x="627553" y="333363"/>
                  </a:cubicBezTo>
                  <a:cubicBezTo>
                    <a:pt x="598703" y="333363"/>
                    <a:pt x="622710" y="366425"/>
                    <a:pt x="665039" y="387695"/>
                  </a:cubicBezTo>
                  <a:cubicBezTo>
                    <a:pt x="675568" y="408964"/>
                    <a:pt x="685256" y="428970"/>
                    <a:pt x="702524" y="428970"/>
                  </a:cubicBezTo>
                  <a:cubicBezTo>
                    <a:pt x="716844" y="428970"/>
                    <a:pt x="726531" y="439921"/>
                    <a:pt x="721687" y="439921"/>
                  </a:cubicBezTo>
                  <a:cubicBezTo>
                    <a:pt x="705472" y="455715"/>
                    <a:pt x="767807" y="464981"/>
                    <a:pt x="758119" y="464981"/>
                  </a:cubicBezTo>
                  <a:cubicBezTo>
                    <a:pt x="761068" y="464981"/>
                    <a:pt x="753276" y="471720"/>
                    <a:pt x="748433" y="471720"/>
                  </a:cubicBezTo>
                  <a:cubicBezTo>
                    <a:pt x="745484" y="464559"/>
                    <a:pt x="798342" y="506256"/>
                    <a:pt x="794552" y="506256"/>
                  </a:cubicBezTo>
                  <a:cubicBezTo>
                    <a:pt x="772650" y="506256"/>
                    <a:pt x="737060" y="479933"/>
                    <a:pt x="733059" y="479933"/>
                  </a:cubicBezTo>
                  <a:cubicBezTo>
                    <a:pt x="713896" y="467508"/>
                    <a:pt x="675568" y="456347"/>
                    <a:pt x="614919" y="395486"/>
                  </a:cubicBezTo>
                  <a:cubicBezTo>
                    <a:pt x="578487" y="341154"/>
                    <a:pt x="528578" y="347472"/>
                    <a:pt x="535317" y="361792"/>
                  </a:cubicBezTo>
                  <a:cubicBezTo>
                    <a:pt x="542054" y="374217"/>
                    <a:pt x="525629" y="404542"/>
                    <a:pt x="507519" y="392117"/>
                  </a:cubicBezTo>
                  <a:cubicBezTo>
                    <a:pt x="498884" y="392117"/>
                    <a:pt x="480563" y="388748"/>
                    <a:pt x="468980" y="388748"/>
                  </a:cubicBezTo>
                  <a:cubicBezTo>
                    <a:pt x="449817" y="388748"/>
                    <a:pt x="444973" y="396329"/>
                    <a:pt x="435287" y="396329"/>
                  </a:cubicBezTo>
                  <a:cubicBezTo>
                    <a:pt x="421809" y="396329"/>
                    <a:pt x="422861" y="348735"/>
                    <a:pt x="404540" y="348735"/>
                  </a:cubicBezTo>
                  <a:cubicBezTo>
                    <a:pt x="387272" y="348735"/>
                    <a:pt x="386430" y="337153"/>
                    <a:pt x="362422" y="337153"/>
                  </a:cubicBezTo>
                  <a:cubicBezTo>
                    <a:pt x="356525" y="348315"/>
                    <a:pt x="294192" y="335258"/>
                    <a:pt x="287453" y="320306"/>
                  </a:cubicBezTo>
                  <a:cubicBezTo>
                    <a:pt x="296297" y="320306"/>
                    <a:pt x="317356" y="304512"/>
                    <a:pt x="313355" y="304512"/>
                  </a:cubicBezTo>
                  <a:cubicBezTo>
                    <a:pt x="319251" y="304512"/>
                    <a:pt x="320094" y="286191"/>
                    <a:pt x="329781" y="286191"/>
                  </a:cubicBezTo>
                  <a:cubicBezTo>
                    <a:pt x="334624" y="286191"/>
                    <a:pt x="328939" y="264500"/>
                    <a:pt x="323042" y="264500"/>
                  </a:cubicBezTo>
                  <a:cubicBezTo>
                    <a:pt x="306827" y="231859"/>
                    <a:pt x="258812" y="199217"/>
                    <a:pt x="233752" y="182791"/>
                  </a:cubicBezTo>
                  <a:cubicBezTo>
                    <a:pt x="220275" y="182791"/>
                    <a:pt x="186791" y="153941"/>
                    <a:pt x="172260" y="153941"/>
                  </a:cubicBezTo>
                  <a:cubicBezTo>
                    <a:pt x="164469" y="138568"/>
                    <a:pt x="137724" y="121721"/>
                    <a:pt x="128037" y="121721"/>
                  </a:cubicBezTo>
                  <a:cubicBezTo>
                    <a:pt x="119402" y="121721"/>
                    <a:pt x="125088" y="140463"/>
                    <a:pt x="119402" y="140463"/>
                  </a:cubicBezTo>
                  <a:cubicBezTo>
                    <a:pt x="129089" y="140463"/>
                    <a:pt x="107820" y="124669"/>
                    <a:pt x="98343" y="124669"/>
                  </a:cubicBezTo>
                  <a:cubicBezTo>
                    <a:pt x="85919" y="98345"/>
                    <a:pt x="48434" y="80445"/>
                    <a:pt x="62754" y="80445"/>
                  </a:cubicBezTo>
                  <a:cubicBezTo>
                    <a:pt x="64860" y="80656"/>
                    <a:pt x="88867" y="81287"/>
                    <a:pt x="102345" y="8128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7" name="Forme libre : forme 14">
              <a:extLst>
                <a:ext uri="{FF2B5EF4-FFF2-40B4-BE49-F238E27FC236}">
                  <a16:creationId xmlns:a16="http://schemas.microsoft.com/office/drawing/2014/main" id="{2673F933-AEC8-44CF-9CDA-E0693664498C}"/>
                </a:ext>
              </a:extLst>
            </p:cNvPr>
            <p:cNvSpPr/>
            <p:nvPr/>
          </p:nvSpPr>
          <p:spPr>
            <a:xfrm>
              <a:off x="12088946" y="5555728"/>
              <a:ext cx="221275" cy="323101"/>
            </a:xfrm>
            <a:custGeom>
              <a:avLst/>
              <a:gdLst>
                <a:gd name="connsiteX0" fmla="*/ 78760 w 221275"/>
                <a:gd name="connsiteY0" fmla="*/ 211853 h 323101"/>
                <a:gd name="connsiteX1" fmla="*/ 96029 w 221275"/>
                <a:gd name="connsiteY1" fmla="*/ 163838 h 323101"/>
                <a:gd name="connsiteX2" fmla="*/ 0 w 221275"/>
                <a:gd name="connsiteY2" fmla="*/ 0 h 323101"/>
                <a:gd name="connsiteX3" fmla="*/ 32641 w 221275"/>
                <a:gd name="connsiteY3" fmla="*/ 28430 h 323101"/>
                <a:gd name="connsiteX4" fmla="*/ 80655 w 221275"/>
                <a:gd name="connsiteY4" fmla="*/ 92238 h 323101"/>
                <a:gd name="connsiteX5" fmla="*/ 107611 w 221275"/>
                <a:gd name="connsiteY5" fmla="*/ 104242 h 323101"/>
                <a:gd name="connsiteX6" fmla="*/ 165312 w 221275"/>
                <a:gd name="connsiteY6" fmla="*/ 184476 h 323101"/>
                <a:gd name="connsiteX7" fmla="*/ 207641 w 221275"/>
                <a:gd name="connsiteY7" fmla="*/ 174368 h 323101"/>
                <a:gd name="connsiteX8" fmla="*/ 220066 w 221275"/>
                <a:gd name="connsiteY8" fmla="*/ 207009 h 323101"/>
                <a:gd name="connsiteX9" fmla="*/ 211431 w 221275"/>
                <a:gd name="connsiteY9" fmla="*/ 228068 h 323101"/>
                <a:gd name="connsiteX10" fmla="*/ 184476 w 221275"/>
                <a:gd name="connsiteY10" fmla="*/ 238808 h 323101"/>
                <a:gd name="connsiteX11" fmla="*/ 172051 w 221275"/>
                <a:gd name="connsiteY11" fmla="*/ 316094 h 323101"/>
                <a:gd name="connsiteX12" fmla="*/ 132671 w 221275"/>
                <a:gd name="connsiteY12" fmla="*/ 302195 h 323101"/>
                <a:gd name="connsiteX13" fmla="*/ 134565 w 221275"/>
                <a:gd name="connsiteY13" fmla="*/ 264711 h 323101"/>
                <a:gd name="connsiteX14" fmla="*/ 78760 w 221275"/>
                <a:gd name="connsiteY14" fmla="*/ 211853 h 323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1275" h="323101">
                  <a:moveTo>
                    <a:pt x="78760" y="211853"/>
                  </a:moveTo>
                  <a:cubicBezTo>
                    <a:pt x="118140" y="211853"/>
                    <a:pt x="107611" y="163838"/>
                    <a:pt x="96029" y="163838"/>
                  </a:cubicBezTo>
                  <a:cubicBezTo>
                    <a:pt x="84446" y="115824"/>
                    <a:pt x="6739" y="0"/>
                    <a:pt x="0" y="0"/>
                  </a:cubicBezTo>
                  <a:cubicBezTo>
                    <a:pt x="4843" y="0"/>
                    <a:pt x="22953" y="9055"/>
                    <a:pt x="32641" y="28430"/>
                  </a:cubicBezTo>
                  <a:cubicBezTo>
                    <a:pt x="51804" y="48646"/>
                    <a:pt x="71179" y="31167"/>
                    <a:pt x="80655" y="92238"/>
                  </a:cubicBezTo>
                  <a:cubicBezTo>
                    <a:pt x="80655" y="117719"/>
                    <a:pt x="115192" y="149940"/>
                    <a:pt x="107611" y="104242"/>
                  </a:cubicBezTo>
                  <a:cubicBezTo>
                    <a:pt x="120036" y="104242"/>
                    <a:pt x="145938" y="184476"/>
                    <a:pt x="165312" y="184476"/>
                  </a:cubicBezTo>
                  <a:cubicBezTo>
                    <a:pt x="180685" y="184476"/>
                    <a:pt x="193110" y="187845"/>
                    <a:pt x="207641" y="174368"/>
                  </a:cubicBezTo>
                  <a:cubicBezTo>
                    <a:pt x="214380" y="174368"/>
                    <a:pt x="223013" y="207009"/>
                    <a:pt x="220066" y="207009"/>
                  </a:cubicBezTo>
                  <a:cubicBezTo>
                    <a:pt x="226804" y="207009"/>
                    <a:pt x="202797" y="210800"/>
                    <a:pt x="211431" y="228068"/>
                  </a:cubicBezTo>
                  <a:cubicBezTo>
                    <a:pt x="223013" y="228068"/>
                    <a:pt x="189319" y="238808"/>
                    <a:pt x="184476" y="238808"/>
                  </a:cubicBezTo>
                  <a:cubicBezTo>
                    <a:pt x="196900" y="291666"/>
                    <a:pt x="172051" y="299247"/>
                    <a:pt x="172051" y="316094"/>
                  </a:cubicBezTo>
                  <a:cubicBezTo>
                    <a:pt x="166365" y="337785"/>
                    <a:pt x="144253" y="302195"/>
                    <a:pt x="132671" y="302195"/>
                  </a:cubicBezTo>
                  <a:cubicBezTo>
                    <a:pt x="144253" y="302195"/>
                    <a:pt x="146149" y="264711"/>
                    <a:pt x="134565" y="264711"/>
                  </a:cubicBezTo>
                  <a:cubicBezTo>
                    <a:pt x="113297" y="264711"/>
                    <a:pt x="73917" y="202166"/>
                    <a:pt x="78760" y="21185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8" name="Forme libre : forme 22">
              <a:extLst>
                <a:ext uri="{FF2B5EF4-FFF2-40B4-BE49-F238E27FC236}">
                  <a16:creationId xmlns:a16="http://schemas.microsoft.com/office/drawing/2014/main" id="{BC08DF72-3B8A-4BD7-BFBF-64B3BCDB2560}"/>
                </a:ext>
              </a:extLst>
            </p:cNvPr>
            <p:cNvSpPr/>
            <p:nvPr/>
          </p:nvSpPr>
          <p:spPr>
            <a:xfrm>
              <a:off x="11183668" y="5626223"/>
              <a:ext cx="139473" cy="148515"/>
            </a:xfrm>
            <a:custGeom>
              <a:avLst/>
              <a:gdLst>
                <a:gd name="connsiteX0" fmla="*/ 98300 w 139473"/>
                <a:gd name="connsiteY0" fmla="*/ 147043 h 148515"/>
                <a:gd name="connsiteX1" fmla="*/ 53234 w 139473"/>
                <a:gd name="connsiteY1" fmla="*/ 108084 h 148515"/>
                <a:gd name="connsiteX2" fmla="*/ 40810 w 139473"/>
                <a:gd name="connsiteY2" fmla="*/ 71020 h 148515"/>
                <a:gd name="connsiteX3" fmla="*/ 14907 w 139473"/>
                <a:gd name="connsiteY3" fmla="*/ 3842 h 148515"/>
                <a:gd name="connsiteX4" fmla="*/ 87771 w 139473"/>
                <a:gd name="connsiteY4" fmla="*/ 35010 h 148515"/>
                <a:gd name="connsiteX5" fmla="*/ 130941 w 139473"/>
                <a:gd name="connsiteY5" fmla="*/ 32062 h 148515"/>
                <a:gd name="connsiteX6" fmla="*/ 132837 w 139473"/>
                <a:gd name="connsiteY6" fmla="*/ 115244 h 148515"/>
                <a:gd name="connsiteX7" fmla="*/ 98300 w 139473"/>
                <a:gd name="connsiteY7" fmla="*/ 147043 h 148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473" h="148515">
                  <a:moveTo>
                    <a:pt x="98300" y="147043"/>
                  </a:moveTo>
                  <a:cubicBezTo>
                    <a:pt x="82085" y="147043"/>
                    <a:pt x="62711" y="128301"/>
                    <a:pt x="53234" y="108084"/>
                  </a:cubicBezTo>
                  <a:cubicBezTo>
                    <a:pt x="15750" y="89342"/>
                    <a:pt x="47338" y="71020"/>
                    <a:pt x="40810" y="71020"/>
                  </a:cubicBezTo>
                  <a:cubicBezTo>
                    <a:pt x="7115" y="54384"/>
                    <a:pt x="-16893" y="-17216"/>
                    <a:pt x="14907" y="3842"/>
                  </a:cubicBezTo>
                  <a:cubicBezTo>
                    <a:pt x="34071" y="3842"/>
                    <a:pt x="63763" y="35010"/>
                    <a:pt x="87771" y="35010"/>
                  </a:cubicBezTo>
                  <a:cubicBezTo>
                    <a:pt x="95563" y="35010"/>
                    <a:pt x="140629" y="32062"/>
                    <a:pt x="130941" y="32062"/>
                  </a:cubicBezTo>
                  <a:cubicBezTo>
                    <a:pt x="143367" y="32062"/>
                    <a:pt x="140629" y="115244"/>
                    <a:pt x="132837" y="115244"/>
                  </a:cubicBezTo>
                  <a:cubicBezTo>
                    <a:pt x="140629" y="115455"/>
                    <a:pt x="107987" y="156730"/>
                    <a:pt x="98300" y="14704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39" name="Forme libre : forme 23">
              <a:extLst>
                <a:ext uri="{FF2B5EF4-FFF2-40B4-BE49-F238E27FC236}">
                  <a16:creationId xmlns:a16="http://schemas.microsoft.com/office/drawing/2014/main" id="{C6CB256F-BE23-4999-A782-1EAF6972DE54}"/>
                </a:ext>
              </a:extLst>
            </p:cNvPr>
            <p:cNvSpPr/>
            <p:nvPr/>
          </p:nvSpPr>
          <p:spPr>
            <a:xfrm>
              <a:off x="11996497" y="5816016"/>
              <a:ext cx="211678" cy="249126"/>
            </a:xfrm>
            <a:custGeom>
              <a:avLst/>
              <a:gdLst>
                <a:gd name="connsiteX0" fmla="*/ 128880 w 211678"/>
                <a:gd name="connsiteY0" fmla="*/ 45066 h 249126"/>
                <a:gd name="connsiteX1" fmla="*/ 152888 w 211678"/>
                <a:gd name="connsiteY1" fmla="*/ 0 h 249126"/>
                <a:gd name="connsiteX2" fmla="*/ 176052 w 211678"/>
                <a:gd name="connsiteY2" fmla="*/ 37906 h 249126"/>
                <a:gd name="connsiteX3" fmla="*/ 207641 w 211678"/>
                <a:gd name="connsiteY3" fmla="*/ 84867 h 249126"/>
                <a:gd name="connsiteX4" fmla="*/ 187425 w 211678"/>
                <a:gd name="connsiteY4" fmla="*/ 115192 h 249126"/>
                <a:gd name="connsiteX5" fmla="*/ 195006 w 211678"/>
                <a:gd name="connsiteY5" fmla="*/ 152677 h 249126"/>
                <a:gd name="connsiteX6" fmla="*/ 144253 w 211678"/>
                <a:gd name="connsiteY6" fmla="*/ 168471 h 249126"/>
                <a:gd name="connsiteX7" fmla="*/ 137514 w 211678"/>
                <a:gd name="connsiteY7" fmla="*/ 224699 h 249126"/>
                <a:gd name="connsiteX8" fmla="*/ 80867 w 211678"/>
                <a:gd name="connsiteY8" fmla="*/ 249127 h 249126"/>
                <a:gd name="connsiteX9" fmla="*/ 40433 w 211678"/>
                <a:gd name="connsiteY9" fmla="*/ 221329 h 249126"/>
                <a:gd name="connsiteX10" fmla="*/ 8634 w 211678"/>
                <a:gd name="connsiteY10" fmla="*/ 207851 h 249126"/>
                <a:gd name="connsiteX11" fmla="*/ 0 w 211678"/>
                <a:gd name="connsiteY11" fmla="*/ 187635 h 249126"/>
                <a:gd name="connsiteX12" fmla="*/ 38327 w 211678"/>
                <a:gd name="connsiteY12" fmla="*/ 136672 h 249126"/>
                <a:gd name="connsiteX13" fmla="*/ 97924 w 211678"/>
                <a:gd name="connsiteY13" fmla="*/ 106348 h 249126"/>
                <a:gd name="connsiteX14" fmla="*/ 121931 w 211678"/>
                <a:gd name="connsiteY14" fmla="*/ 78971 h 249126"/>
                <a:gd name="connsiteX15" fmla="*/ 128880 w 211678"/>
                <a:gd name="connsiteY15" fmla="*/ 45066 h 24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1678" h="249126">
                  <a:moveTo>
                    <a:pt x="128880" y="45066"/>
                  </a:moveTo>
                  <a:cubicBezTo>
                    <a:pt x="136672" y="29693"/>
                    <a:pt x="142358" y="0"/>
                    <a:pt x="152888" y="0"/>
                  </a:cubicBezTo>
                  <a:cubicBezTo>
                    <a:pt x="157731" y="10951"/>
                    <a:pt x="161522" y="37906"/>
                    <a:pt x="176052" y="37906"/>
                  </a:cubicBezTo>
                  <a:cubicBezTo>
                    <a:pt x="207641" y="21691"/>
                    <a:pt x="218381" y="42118"/>
                    <a:pt x="207641" y="84867"/>
                  </a:cubicBezTo>
                  <a:cubicBezTo>
                    <a:pt x="213538" y="84867"/>
                    <a:pt x="191426" y="99398"/>
                    <a:pt x="187425" y="115192"/>
                  </a:cubicBezTo>
                  <a:cubicBezTo>
                    <a:pt x="179632" y="130565"/>
                    <a:pt x="203850" y="152677"/>
                    <a:pt x="195006" y="152677"/>
                  </a:cubicBezTo>
                  <a:cubicBezTo>
                    <a:pt x="159416" y="134988"/>
                    <a:pt x="154573" y="168471"/>
                    <a:pt x="144253" y="168471"/>
                  </a:cubicBezTo>
                  <a:cubicBezTo>
                    <a:pt x="138357" y="180054"/>
                    <a:pt x="137514" y="210800"/>
                    <a:pt x="137514" y="224699"/>
                  </a:cubicBezTo>
                  <a:cubicBezTo>
                    <a:pt x="125932" y="246179"/>
                    <a:pt x="100030" y="249127"/>
                    <a:pt x="80867" y="249127"/>
                  </a:cubicBezTo>
                  <a:cubicBezTo>
                    <a:pt x="88448" y="249127"/>
                    <a:pt x="58754" y="221329"/>
                    <a:pt x="40433" y="221329"/>
                  </a:cubicBezTo>
                  <a:cubicBezTo>
                    <a:pt x="28009" y="221329"/>
                    <a:pt x="21270" y="207851"/>
                    <a:pt x="8634" y="207851"/>
                  </a:cubicBezTo>
                  <a:cubicBezTo>
                    <a:pt x="-2949" y="207851"/>
                    <a:pt x="6739" y="187635"/>
                    <a:pt x="0" y="187635"/>
                  </a:cubicBezTo>
                  <a:cubicBezTo>
                    <a:pt x="3790" y="171841"/>
                    <a:pt x="31588" y="150782"/>
                    <a:pt x="38327" y="136672"/>
                  </a:cubicBezTo>
                  <a:cubicBezTo>
                    <a:pt x="48014" y="117087"/>
                    <a:pt x="74970" y="121720"/>
                    <a:pt x="97924" y="106348"/>
                  </a:cubicBezTo>
                  <a:cubicBezTo>
                    <a:pt x="105716" y="106348"/>
                    <a:pt x="110349" y="102978"/>
                    <a:pt x="121931" y="78971"/>
                  </a:cubicBezTo>
                  <a:cubicBezTo>
                    <a:pt x="130776" y="79182"/>
                    <a:pt x="136461" y="45066"/>
                    <a:pt x="128880" y="4506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0" name="Forme libre : forme 24">
              <a:extLst>
                <a:ext uri="{FF2B5EF4-FFF2-40B4-BE49-F238E27FC236}">
                  <a16:creationId xmlns:a16="http://schemas.microsoft.com/office/drawing/2014/main" id="{DB17071A-B6A8-4C04-B6B6-2A368CA52FD0}"/>
                </a:ext>
              </a:extLst>
            </p:cNvPr>
            <p:cNvSpPr/>
            <p:nvPr/>
          </p:nvSpPr>
          <p:spPr>
            <a:xfrm>
              <a:off x="9876303" y="4312473"/>
              <a:ext cx="1512644" cy="1257363"/>
            </a:xfrm>
            <a:custGeom>
              <a:avLst/>
              <a:gdLst>
                <a:gd name="connsiteX0" fmla="*/ 1477897 w 1512644"/>
                <a:gd name="connsiteY0" fmla="*/ 784591 h 1257363"/>
                <a:gd name="connsiteX1" fmla="*/ 1468210 w 1512644"/>
                <a:gd name="connsiteY1" fmla="*/ 756794 h 1257363"/>
                <a:gd name="connsiteX2" fmla="*/ 1460418 w 1512644"/>
                <a:gd name="connsiteY2" fmla="*/ 688563 h 1257363"/>
                <a:gd name="connsiteX3" fmla="*/ 1440202 w 1512644"/>
                <a:gd name="connsiteY3" fmla="*/ 699513 h 1257363"/>
                <a:gd name="connsiteX4" fmla="*/ 1391135 w 1512644"/>
                <a:gd name="connsiteY4" fmla="*/ 643918 h 1257363"/>
                <a:gd name="connsiteX5" fmla="*/ 1354703 w 1512644"/>
                <a:gd name="connsiteY5" fmla="*/ 588743 h 1257363"/>
                <a:gd name="connsiteX6" fmla="*/ 1331748 w 1512644"/>
                <a:gd name="connsiteY6" fmla="*/ 570001 h 1257363"/>
                <a:gd name="connsiteX7" fmla="*/ 1306899 w 1512644"/>
                <a:gd name="connsiteY7" fmla="*/ 555681 h 1257363"/>
                <a:gd name="connsiteX8" fmla="*/ 1267519 w 1512644"/>
                <a:gd name="connsiteY8" fmla="*/ 492715 h 1257363"/>
                <a:gd name="connsiteX9" fmla="*/ 1270467 w 1512644"/>
                <a:gd name="connsiteY9" fmla="*/ 475868 h 1257363"/>
                <a:gd name="connsiteX10" fmla="*/ 1225190 w 1512644"/>
                <a:gd name="connsiteY10" fmla="*/ 450808 h 1257363"/>
                <a:gd name="connsiteX11" fmla="*/ 1199288 w 1512644"/>
                <a:gd name="connsiteY11" fmla="*/ 427222 h 1257363"/>
                <a:gd name="connsiteX12" fmla="*/ 1154222 w 1512644"/>
                <a:gd name="connsiteY12" fmla="*/ 383419 h 1257363"/>
                <a:gd name="connsiteX13" fmla="*/ 1112946 w 1512644"/>
                <a:gd name="connsiteY13" fmla="*/ 302342 h 1257363"/>
                <a:gd name="connsiteX14" fmla="*/ 1080305 w 1512644"/>
                <a:gd name="connsiteY14" fmla="*/ 228847 h 1257363"/>
                <a:gd name="connsiteX15" fmla="*/ 1028499 w 1512644"/>
                <a:gd name="connsiteY15" fmla="*/ 211157 h 1257363"/>
                <a:gd name="connsiteX16" fmla="*/ 1012074 w 1512644"/>
                <a:gd name="connsiteY16" fmla="*/ 166513 h 1257363"/>
                <a:gd name="connsiteX17" fmla="*/ 955426 w 1512644"/>
                <a:gd name="connsiteY17" fmla="*/ 68588 h 1257363"/>
                <a:gd name="connsiteX18" fmla="*/ 941948 w 1512644"/>
                <a:gd name="connsiteY18" fmla="*/ 104599 h 1257363"/>
                <a:gd name="connsiteX19" fmla="*/ 959216 w 1512644"/>
                <a:gd name="connsiteY19" fmla="*/ 239587 h 1257363"/>
                <a:gd name="connsiteX20" fmla="*/ 956267 w 1512644"/>
                <a:gd name="connsiteY20" fmla="*/ 304869 h 1257363"/>
                <a:gd name="connsiteX21" fmla="*/ 919836 w 1512644"/>
                <a:gd name="connsiteY21" fmla="*/ 301921 h 1257363"/>
                <a:gd name="connsiteX22" fmla="*/ 885088 w 1512644"/>
                <a:gd name="connsiteY22" fmla="*/ 269701 h 1257363"/>
                <a:gd name="connsiteX23" fmla="*/ 828440 w 1512644"/>
                <a:gd name="connsiteY23" fmla="*/ 233269 h 1257363"/>
                <a:gd name="connsiteX24" fmla="*/ 773687 w 1512644"/>
                <a:gd name="connsiteY24" fmla="*/ 197680 h 1257363"/>
                <a:gd name="connsiteX25" fmla="*/ 761262 w 1512644"/>
                <a:gd name="connsiteY25" fmla="*/ 109232 h 1257363"/>
                <a:gd name="connsiteX26" fmla="*/ 766948 w 1512644"/>
                <a:gd name="connsiteY26" fmla="*/ 76591 h 1257363"/>
                <a:gd name="connsiteX27" fmla="*/ 743994 w 1512644"/>
                <a:gd name="connsiteY27" fmla="*/ 71326 h 1257363"/>
                <a:gd name="connsiteX28" fmla="*/ 708404 w 1512644"/>
                <a:gd name="connsiteY28" fmla="*/ 60797 h 1257363"/>
                <a:gd name="connsiteX29" fmla="*/ 683344 w 1512644"/>
                <a:gd name="connsiteY29" fmla="*/ 57427 h 1257363"/>
                <a:gd name="connsiteX30" fmla="*/ 666076 w 1512644"/>
                <a:gd name="connsiteY30" fmla="*/ 45424 h 1257363"/>
                <a:gd name="connsiteX31" fmla="*/ 627538 w 1512644"/>
                <a:gd name="connsiteY31" fmla="*/ 23733 h 1257363"/>
                <a:gd name="connsiteX32" fmla="*/ 598688 w 1512644"/>
                <a:gd name="connsiteY32" fmla="*/ 4569 h 1257363"/>
                <a:gd name="connsiteX33" fmla="*/ 576576 w 1512644"/>
                <a:gd name="connsiteY33" fmla="*/ 5622 h 1257363"/>
                <a:gd name="connsiteX34" fmla="*/ 611323 w 1512644"/>
                <a:gd name="connsiteY34" fmla="*/ 29630 h 1257363"/>
                <a:gd name="connsiteX35" fmla="*/ 598898 w 1512644"/>
                <a:gd name="connsiteY35" fmla="*/ 42475 h 1257363"/>
                <a:gd name="connsiteX36" fmla="*/ 551937 w 1512644"/>
                <a:gd name="connsiteY36" fmla="*/ 41633 h 1257363"/>
                <a:gd name="connsiteX37" fmla="*/ 535511 w 1512644"/>
                <a:gd name="connsiteY37" fmla="*/ 73221 h 1257363"/>
                <a:gd name="connsiteX38" fmla="*/ 533616 w 1512644"/>
                <a:gd name="connsiteY38" fmla="*/ 90490 h 1257363"/>
                <a:gd name="connsiteX39" fmla="*/ 524139 w 1512644"/>
                <a:gd name="connsiteY39" fmla="*/ 105652 h 1257363"/>
                <a:gd name="connsiteX40" fmla="*/ 455908 w 1512644"/>
                <a:gd name="connsiteY40" fmla="*/ 91753 h 1257363"/>
                <a:gd name="connsiteX41" fmla="*/ 371462 w 1512644"/>
                <a:gd name="connsiteY41" fmla="*/ 98492 h 1257363"/>
                <a:gd name="connsiteX42" fmla="*/ 359879 w 1512644"/>
                <a:gd name="connsiteY42" fmla="*/ 137872 h 1257363"/>
                <a:gd name="connsiteX43" fmla="*/ 356931 w 1512644"/>
                <a:gd name="connsiteY43" fmla="*/ 149876 h 1257363"/>
                <a:gd name="connsiteX44" fmla="*/ 326185 w 1512644"/>
                <a:gd name="connsiteY44" fmla="*/ 142716 h 1257363"/>
                <a:gd name="connsiteX45" fmla="*/ 332924 w 1512644"/>
                <a:gd name="connsiteY45" fmla="*/ 169671 h 1257363"/>
                <a:gd name="connsiteX46" fmla="*/ 304073 w 1512644"/>
                <a:gd name="connsiteY46" fmla="*/ 148612 h 1257363"/>
                <a:gd name="connsiteX47" fmla="*/ 292491 w 1512644"/>
                <a:gd name="connsiteY47" fmla="*/ 198943 h 1257363"/>
                <a:gd name="connsiteX48" fmla="*/ 267641 w 1512644"/>
                <a:gd name="connsiteY48" fmla="*/ 234954 h 1257363"/>
                <a:gd name="connsiteX49" fmla="*/ 205096 w 1512644"/>
                <a:gd name="connsiteY49" fmla="*/ 271386 h 1257363"/>
                <a:gd name="connsiteX50" fmla="*/ 191618 w 1512644"/>
                <a:gd name="connsiteY50" fmla="*/ 264647 h 1257363"/>
                <a:gd name="connsiteX51" fmla="*/ 176246 w 1512644"/>
                <a:gd name="connsiteY51" fmla="*/ 277704 h 1257363"/>
                <a:gd name="connsiteX52" fmla="*/ 140656 w 1512644"/>
                <a:gd name="connsiteY52" fmla="*/ 283389 h 1257363"/>
                <a:gd name="connsiteX53" fmla="*/ 97486 w 1512644"/>
                <a:gd name="connsiteY53" fmla="*/ 282547 h 1257363"/>
                <a:gd name="connsiteX54" fmla="*/ 62949 w 1512644"/>
                <a:gd name="connsiteY54" fmla="*/ 307396 h 1257363"/>
                <a:gd name="connsiteX55" fmla="*/ 37046 w 1512644"/>
                <a:gd name="connsiteY55" fmla="*/ 318558 h 1257363"/>
                <a:gd name="connsiteX56" fmla="*/ 29465 w 1512644"/>
                <a:gd name="connsiteY56" fmla="*/ 339196 h 1257363"/>
                <a:gd name="connsiteX57" fmla="*/ 7353 w 1512644"/>
                <a:gd name="connsiteY57" fmla="*/ 328034 h 1257363"/>
                <a:gd name="connsiteX58" fmla="*/ 9459 w 1512644"/>
                <a:gd name="connsiteY58" fmla="*/ 398161 h 1257363"/>
                <a:gd name="connsiteX59" fmla="*/ 47786 w 1512644"/>
                <a:gd name="connsiteY59" fmla="*/ 481764 h 1257363"/>
                <a:gd name="connsiteX60" fmla="*/ 614 w 1512644"/>
                <a:gd name="connsiteY60" fmla="*/ 468286 h 1257363"/>
                <a:gd name="connsiteX61" fmla="*/ 70740 w 1512644"/>
                <a:gd name="connsiteY61" fmla="*/ 575266 h 1257363"/>
                <a:gd name="connsiteX62" fmla="*/ 107173 w 1512644"/>
                <a:gd name="connsiteY62" fmla="*/ 643497 h 1257363"/>
                <a:gd name="connsiteX63" fmla="*/ 119597 w 1512644"/>
                <a:gd name="connsiteY63" fmla="*/ 688563 h 1257363"/>
                <a:gd name="connsiteX64" fmla="*/ 155187 w 1512644"/>
                <a:gd name="connsiteY64" fmla="*/ 753846 h 1257363"/>
                <a:gd name="connsiteX65" fmla="*/ 155187 w 1512644"/>
                <a:gd name="connsiteY65" fmla="*/ 785013 h 1257363"/>
                <a:gd name="connsiteX66" fmla="*/ 138971 w 1512644"/>
                <a:gd name="connsiteY66" fmla="*/ 821444 h 1257363"/>
                <a:gd name="connsiteX67" fmla="*/ 149500 w 1512644"/>
                <a:gd name="connsiteY67" fmla="*/ 855139 h 1257363"/>
                <a:gd name="connsiteX68" fmla="*/ 193724 w 1512644"/>
                <a:gd name="connsiteY68" fmla="*/ 883358 h 1257363"/>
                <a:gd name="connsiteX69" fmla="*/ 307021 w 1512644"/>
                <a:gd name="connsiteY69" fmla="*/ 881462 h 1257363"/>
                <a:gd name="connsiteX70" fmla="*/ 404945 w 1512644"/>
                <a:gd name="connsiteY70" fmla="*/ 870301 h 1257363"/>
                <a:gd name="connsiteX71" fmla="*/ 481811 w 1512644"/>
                <a:gd name="connsiteY71" fmla="*/ 864615 h 1257363"/>
                <a:gd name="connsiteX72" fmla="*/ 488549 w 1512644"/>
                <a:gd name="connsiteY72" fmla="*/ 845873 h 1257363"/>
                <a:gd name="connsiteX73" fmla="*/ 515505 w 1512644"/>
                <a:gd name="connsiteY73" fmla="*/ 843135 h 1257363"/>
                <a:gd name="connsiteX74" fmla="*/ 552989 w 1512644"/>
                <a:gd name="connsiteY74" fmla="*/ 823971 h 1257363"/>
                <a:gd name="connsiteX75" fmla="*/ 601004 w 1512644"/>
                <a:gd name="connsiteY75" fmla="*/ 830289 h 1257363"/>
                <a:gd name="connsiteX76" fmla="*/ 662496 w 1512644"/>
                <a:gd name="connsiteY76" fmla="*/ 816390 h 1257363"/>
                <a:gd name="connsiteX77" fmla="*/ 706720 w 1512644"/>
                <a:gd name="connsiteY77" fmla="*/ 820813 h 1257363"/>
                <a:gd name="connsiteX78" fmla="*/ 773055 w 1512644"/>
                <a:gd name="connsiteY78" fmla="*/ 846715 h 1257363"/>
                <a:gd name="connsiteX79" fmla="*/ 792219 w 1512644"/>
                <a:gd name="connsiteY79" fmla="*/ 853875 h 1257363"/>
                <a:gd name="connsiteX80" fmla="*/ 921941 w 1512644"/>
                <a:gd name="connsiteY80" fmla="*/ 987810 h 1257363"/>
                <a:gd name="connsiteX81" fmla="*/ 956478 w 1512644"/>
                <a:gd name="connsiteY81" fmla="*/ 961486 h 1257363"/>
                <a:gd name="connsiteX82" fmla="*/ 993121 w 1512644"/>
                <a:gd name="connsiteY82" fmla="*/ 922106 h 1257363"/>
                <a:gd name="connsiteX83" fmla="*/ 992068 w 1512644"/>
                <a:gd name="connsiteY83" fmla="*/ 973490 h 1257363"/>
                <a:gd name="connsiteX84" fmla="*/ 1007440 w 1512644"/>
                <a:gd name="connsiteY84" fmla="*/ 993075 h 1257363"/>
                <a:gd name="connsiteX85" fmla="*/ 1031448 w 1512644"/>
                <a:gd name="connsiteY85" fmla="*/ 1011817 h 1257363"/>
                <a:gd name="connsiteX86" fmla="*/ 1028499 w 1512644"/>
                <a:gd name="connsiteY86" fmla="*/ 1047828 h 1257363"/>
                <a:gd name="connsiteX87" fmla="*/ 1065985 w 1512644"/>
                <a:gd name="connsiteY87" fmla="*/ 1054988 h 1257363"/>
                <a:gd name="connsiteX88" fmla="*/ 1100522 w 1512644"/>
                <a:gd name="connsiteY88" fmla="*/ 1109741 h 1257363"/>
                <a:gd name="connsiteX89" fmla="*/ 1169594 w 1512644"/>
                <a:gd name="connsiteY89" fmla="*/ 1182184 h 1257363"/>
                <a:gd name="connsiteX90" fmla="*/ 1206237 w 1512644"/>
                <a:gd name="connsiteY90" fmla="*/ 1194608 h 1257363"/>
                <a:gd name="connsiteX91" fmla="*/ 1251303 w 1512644"/>
                <a:gd name="connsiteY91" fmla="*/ 1224301 h 1257363"/>
                <a:gd name="connsiteX92" fmla="*/ 1289841 w 1512644"/>
                <a:gd name="connsiteY92" fmla="*/ 1207876 h 1257363"/>
                <a:gd name="connsiteX93" fmla="*/ 1359968 w 1512644"/>
                <a:gd name="connsiteY93" fmla="*/ 1257364 h 1257363"/>
                <a:gd name="connsiteX94" fmla="*/ 1378289 w 1512644"/>
                <a:gd name="connsiteY94" fmla="*/ 1224723 h 1257363"/>
                <a:gd name="connsiteX95" fmla="*/ 1410930 w 1512644"/>
                <a:gd name="connsiteY95" fmla="*/ 1208929 h 1257363"/>
                <a:gd name="connsiteX96" fmla="*/ 1457891 w 1512644"/>
                <a:gd name="connsiteY96" fmla="*/ 1144067 h 1257363"/>
                <a:gd name="connsiteX97" fmla="*/ 1482740 w 1512644"/>
                <a:gd name="connsiteY97" fmla="*/ 1029296 h 1257363"/>
                <a:gd name="connsiteX98" fmla="*/ 1512645 w 1512644"/>
                <a:gd name="connsiteY98" fmla="*/ 973490 h 1257363"/>
                <a:gd name="connsiteX99" fmla="*/ 1505906 w 1512644"/>
                <a:gd name="connsiteY99" fmla="*/ 898941 h 1257363"/>
                <a:gd name="connsiteX100" fmla="*/ 1507800 w 1512644"/>
                <a:gd name="connsiteY100" fmla="*/ 846083 h 1257363"/>
                <a:gd name="connsiteX101" fmla="*/ 1477897 w 1512644"/>
                <a:gd name="connsiteY101" fmla="*/ 784591 h 1257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512644" h="1257363">
                  <a:moveTo>
                    <a:pt x="1477897" y="784591"/>
                  </a:moveTo>
                  <a:cubicBezTo>
                    <a:pt x="1486531" y="784591"/>
                    <a:pt x="1477897" y="756794"/>
                    <a:pt x="1468210" y="756794"/>
                  </a:cubicBezTo>
                  <a:cubicBezTo>
                    <a:pt x="1476844" y="756794"/>
                    <a:pt x="1470105" y="688563"/>
                    <a:pt x="1460418" y="688563"/>
                  </a:cubicBezTo>
                  <a:cubicBezTo>
                    <a:pt x="1470947" y="688563"/>
                    <a:pt x="1455575" y="730259"/>
                    <a:pt x="1440202" y="699513"/>
                  </a:cubicBezTo>
                  <a:cubicBezTo>
                    <a:pt x="1422091" y="699513"/>
                    <a:pt x="1402717" y="643918"/>
                    <a:pt x="1391135" y="643918"/>
                  </a:cubicBezTo>
                  <a:cubicBezTo>
                    <a:pt x="1373024" y="643918"/>
                    <a:pt x="1354703" y="610224"/>
                    <a:pt x="1354703" y="588743"/>
                  </a:cubicBezTo>
                  <a:cubicBezTo>
                    <a:pt x="1340382" y="559893"/>
                    <a:pt x="1345015" y="570001"/>
                    <a:pt x="1331748" y="570001"/>
                  </a:cubicBezTo>
                  <a:cubicBezTo>
                    <a:pt x="1312585" y="531674"/>
                    <a:pt x="1313638" y="568106"/>
                    <a:pt x="1306899" y="555681"/>
                  </a:cubicBezTo>
                  <a:cubicBezTo>
                    <a:pt x="1306899" y="529357"/>
                    <a:pt x="1283733" y="509141"/>
                    <a:pt x="1267519" y="492715"/>
                  </a:cubicBezTo>
                  <a:cubicBezTo>
                    <a:pt x="1273204" y="492715"/>
                    <a:pt x="1277205" y="475868"/>
                    <a:pt x="1270467" y="475868"/>
                  </a:cubicBezTo>
                  <a:cubicBezTo>
                    <a:pt x="1254041" y="475868"/>
                    <a:pt x="1237825" y="450808"/>
                    <a:pt x="1225190" y="450808"/>
                  </a:cubicBezTo>
                  <a:cubicBezTo>
                    <a:pt x="1209818" y="450808"/>
                    <a:pt x="1207080" y="427222"/>
                    <a:pt x="1199288" y="427222"/>
                  </a:cubicBezTo>
                  <a:cubicBezTo>
                    <a:pt x="1176333" y="427222"/>
                    <a:pt x="1154222" y="412270"/>
                    <a:pt x="1154222" y="383419"/>
                  </a:cubicBezTo>
                  <a:cubicBezTo>
                    <a:pt x="1144534" y="343618"/>
                    <a:pt x="1117579" y="319190"/>
                    <a:pt x="1112946" y="302342"/>
                  </a:cubicBezTo>
                  <a:cubicBezTo>
                    <a:pt x="1112946" y="286548"/>
                    <a:pt x="1099468" y="248010"/>
                    <a:pt x="1080305" y="228847"/>
                  </a:cubicBezTo>
                  <a:cubicBezTo>
                    <a:pt x="1063036" y="193678"/>
                    <a:pt x="1039872" y="211157"/>
                    <a:pt x="1028499" y="211157"/>
                  </a:cubicBezTo>
                  <a:cubicBezTo>
                    <a:pt x="1039029" y="211157"/>
                    <a:pt x="1016917" y="187150"/>
                    <a:pt x="1012074" y="166513"/>
                  </a:cubicBezTo>
                  <a:cubicBezTo>
                    <a:pt x="991857" y="126711"/>
                    <a:pt x="965955" y="110706"/>
                    <a:pt x="955426" y="68588"/>
                  </a:cubicBezTo>
                  <a:cubicBezTo>
                    <a:pt x="945738" y="48372"/>
                    <a:pt x="926575" y="73853"/>
                    <a:pt x="941948" y="104599"/>
                  </a:cubicBezTo>
                  <a:cubicBezTo>
                    <a:pt x="950582" y="139136"/>
                    <a:pt x="938157" y="175146"/>
                    <a:pt x="959216" y="239587"/>
                  </a:cubicBezTo>
                  <a:cubicBezTo>
                    <a:pt x="972694" y="266542"/>
                    <a:pt x="950582" y="294340"/>
                    <a:pt x="956267" y="304869"/>
                  </a:cubicBezTo>
                  <a:cubicBezTo>
                    <a:pt x="963006" y="304869"/>
                    <a:pt x="938999" y="301921"/>
                    <a:pt x="919836" y="301921"/>
                  </a:cubicBezTo>
                  <a:cubicBezTo>
                    <a:pt x="903409" y="301921"/>
                    <a:pt x="895828" y="269701"/>
                    <a:pt x="885088" y="269701"/>
                  </a:cubicBezTo>
                  <a:cubicBezTo>
                    <a:pt x="860239" y="253275"/>
                    <a:pt x="851605" y="233269"/>
                    <a:pt x="828440" y="233269"/>
                  </a:cubicBezTo>
                  <a:cubicBezTo>
                    <a:pt x="809277" y="233269"/>
                    <a:pt x="789060" y="197680"/>
                    <a:pt x="773687" y="197680"/>
                  </a:cubicBezTo>
                  <a:cubicBezTo>
                    <a:pt x="724830" y="148191"/>
                    <a:pt x="761262" y="126500"/>
                    <a:pt x="761262" y="109232"/>
                  </a:cubicBezTo>
                  <a:cubicBezTo>
                    <a:pt x="768001" y="109232"/>
                    <a:pt x="774740" y="76591"/>
                    <a:pt x="766948" y="76591"/>
                  </a:cubicBezTo>
                  <a:cubicBezTo>
                    <a:pt x="772844" y="76591"/>
                    <a:pt x="743994" y="48372"/>
                    <a:pt x="743994" y="71326"/>
                  </a:cubicBezTo>
                  <a:cubicBezTo>
                    <a:pt x="749680" y="82909"/>
                    <a:pt x="718934" y="60797"/>
                    <a:pt x="708404" y="60797"/>
                  </a:cubicBezTo>
                  <a:cubicBezTo>
                    <a:pt x="716196" y="60797"/>
                    <a:pt x="688188" y="66904"/>
                    <a:pt x="683344" y="57427"/>
                  </a:cubicBezTo>
                  <a:cubicBezTo>
                    <a:pt x="689241" y="57427"/>
                    <a:pt x="671762" y="45424"/>
                    <a:pt x="666076" y="45424"/>
                  </a:cubicBezTo>
                  <a:cubicBezTo>
                    <a:pt x="651756" y="45424"/>
                    <a:pt x="638068" y="23733"/>
                    <a:pt x="627538" y="23733"/>
                  </a:cubicBezTo>
                  <a:cubicBezTo>
                    <a:pt x="615956" y="23733"/>
                    <a:pt x="608374" y="4569"/>
                    <a:pt x="598688" y="4569"/>
                  </a:cubicBezTo>
                  <a:cubicBezTo>
                    <a:pt x="587105" y="4569"/>
                    <a:pt x="564151" y="-6381"/>
                    <a:pt x="576576" y="5622"/>
                  </a:cubicBezTo>
                  <a:cubicBezTo>
                    <a:pt x="592791" y="5622"/>
                    <a:pt x="622694" y="29630"/>
                    <a:pt x="611323" y="29630"/>
                  </a:cubicBezTo>
                  <a:cubicBezTo>
                    <a:pt x="622905" y="29630"/>
                    <a:pt x="610270" y="42475"/>
                    <a:pt x="598898" y="42475"/>
                  </a:cubicBezTo>
                  <a:cubicBezTo>
                    <a:pt x="586263" y="42475"/>
                    <a:pt x="560360" y="41633"/>
                    <a:pt x="551937" y="41633"/>
                  </a:cubicBezTo>
                  <a:cubicBezTo>
                    <a:pt x="560571" y="41633"/>
                    <a:pt x="543302" y="73221"/>
                    <a:pt x="535511" y="73221"/>
                  </a:cubicBezTo>
                  <a:cubicBezTo>
                    <a:pt x="541196" y="73221"/>
                    <a:pt x="541196" y="90490"/>
                    <a:pt x="533616" y="90490"/>
                  </a:cubicBezTo>
                  <a:cubicBezTo>
                    <a:pt x="539301" y="90490"/>
                    <a:pt x="526877" y="105652"/>
                    <a:pt x="524139" y="105652"/>
                  </a:cubicBezTo>
                  <a:cubicBezTo>
                    <a:pt x="502027" y="120604"/>
                    <a:pt x="476967" y="112391"/>
                    <a:pt x="455908" y="91753"/>
                  </a:cubicBezTo>
                  <a:cubicBezTo>
                    <a:pt x="425162" y="46056"/>
                    <a:pt x="381149" y="79328"/>
                    <a:pt x="371462" y="98492"/>
                  </a:cubicBezTo>
                  <a:cubicBezTo>
                    <a:pt x="359879" y="98492"/>
                    <a:pt x="359879" y="122499"/>
                    <a:pt x="359879" y="137872"/>
                  </a:cubicBezTo>
                  <a:cubicBezTo>
                    <a:pt x="365565" y="137872"/>
                    <a:pt x="361775" y="149876"/>
                    <a:pt x="356931" y="149876"/>
                  </a:cubicBezTo>
                  <a:cubicBezTo>
                    <a:pt x="361775" y="149876"/>
                    <a:pt x="332082" y="142716"/>
                    <a:pt x="326185" y="142716"/>
                  </a:cubicBezTo>
                  <a:cubicBezTo>
                    <a:pt x="331029" y="142716"/>
                    <a:pt x="337767" y="169671"/>
                    <a:pt x="332924" y="169671"/>
                  </a:cubicBezTo>
                  <a:cubicBezTo>
                    <a:pt x="325132" y="186939"/>
                    <a:pt x="313760" y="158721"/>
                    <a:pt x="304073" y="148612"/>
                  </a:cubicBezTo>
                  <a:cubicBezTo>
                    <a:pt x="308075" y="148612"/>
                    <a:pt x="267641" y="174515"/>
                    <a:pt x="292491" y="198943"/>
                  </a:cubicBezTo>
                  <a:cubicBezTo>
                    <a:pt x="309759" y="198943"/>
                    <a:pt x="277118" y="234954"/>
                    <a:pt x="267641" y="234954"/>
                  </a:cubicBezTo>
                  <a:cubicBezTo>
                    <a:pt x="275222" y="263805"/>
                    <a:pt x="229104" y="271386"/>
                    <a:pt x="205096" y="271386"/>
                  </a:cubicBezTo>
                  <a:cubicBezTo>
                    <a:pt x="206992" y="271386"/>
                    <a:pt x="196462" y="264647"/>
                    <a:pt x="191618" y="264647"/>
                  </a:cubicBezTo>
                  <a:cubicBezTo>
                    <a:pt x="197305" y="264647"/>
                    <a:pt x="181931" y="277704"/>
                    <a:pt x="176246" y="277704"/>
                  </a:cubicBezTo>
                  <a:cubicBezTo>
                    <a:pt x="163821" y="277704"/>
                    <a:pt x="153292" y="283389"/>
                    <a:pt x="140656" y="283389"/>
                  </a:cubicBezTo>
                  <a:cubicBezTo>
                    <a:pt x="123388" y="283389"/>
                    <a:pt x="113701" y="282547"/>
                    <a:pt x="97486" y="282547"/>
                  </a:cubicBezTo>
                  <a:cubicBezTo>
                    <a:pt x="85060" y="282547"/>
                    <a:pt x="73478" y="307396"/>
                    <a:pt x="62949" y="307396"/>
                  </a:cubicBezTo>
                  <a:cubicBezTo>
                    <a:pt x="68634" y="307396"/>
                    <a:pt x="46734" y="318558"/>
                    <a:pt x="37046" y="318558"/>
                  </a:cubicBezTo>
                  <a:cubicBezTo>
                    <a:pt x="46734" y="318558"/>
                    <a:pt x="33256" y="339196"/>
                    <a:pt x="29465" y="339196"/>
                  </a:cubicBezTo>
                  <a:cubicBezTo>
                    <a:pt x="15987" y="339196"/>
                    <a:pt x="7353" y="278124"/>
                    <a:pt x="7353" y="328034"/>
                  </a:cubicBezTo>
                  <a:cubicBezTo>
                    <a:pt x="7353" y="345302"/>
                    <a:pt x="28412" y="361728"/>
                    <a:pt x="9459" y="398161"/>
                  </a:cubicBezTo>
                  <a:cubicBezTo>
                    <a:pt x="-7809" y="416482"/>
                    <a:pt x="33466" y="452492"/>
                    <a:pt x="47786" y="481764"/>
                  </a:cubicBezTo>
                  <a:cubicBezTo>
                    <a:pt x="58316" y="481764"/>
                    <a:pt x="-6967" y="452492"/>
                    <a:pt x="614" y="468286"/>
                  </a:cubicBezTo>
                  <a:cubicBezTo>
                    <a:pt x="614" y="496506"/>
                    <a:pt x="44838" y="524514"/>
                    <a:pt x="70740" y="575266"/>
                  </a:cubicBezTo>
                  <a:cubicBezTo>
                    <a:pt x="76427" y="598431"/>
                    <a:pt x="97486" y="623280"/>
                    <a:pt x="107173" y="643497"/>
                  </a:cubicBezTo>
                  <a:cubicBezTo>
                    <a:pt x="107173" y="658448"/>
                    <a:pt x="134128" y="688563"/>
                    <a:pt x="119597" y="688563"/>
                  </a:cubicBezTo>
                  <a:cubicBezTo>
                    <a:pt x="119597" y="712149"/>
                    <a:pt x="155187" y="736577"/>
                    <a:pt x="155187" y="753846"/>
                  </a:cubicBezTo>
                  <a:cubicBezTo>
                    <a:pt x="155187" y="778274"/>
                    <a:pt x="165927" y="785013"/>
                    <a:pt x="155187" y="785013"/>
                  </a:cubicBezTo>
                  <a:cubicBezTo>
                    <a:pt x="167822" y="785013"/>
                    <a:pt x="172455" y="821444"/>
                    <a:pt x="138971" y="821444"/>
                  </a:cubicBezTo>
                  <a:cubicBezTo>
                    <a:pt x="146763" y="821444"/>
                    <a:pt x="155187" y="855139"/>
                    <a:pt x="149500" y="855139"/>
                  </a:cubicBezTo>
                  <a:cubicBezTo>
                    <a:pt x="166769" y="855139"/>
                    <a:pt x="204254" y="883358"/>
                    <a:pt x="193724" y="883358"/>
                  </a:cubicBezTo>
                  <a:cubicBezTo>
                    <a:pt x="209098" y="883358"/>
                    <a:pt x="264693" y="902521"/>
                    <a:pt x="307021" y="881462"/>
                  </a:cubicBezTo>
                  <a:cubicBezTo>
                    <a:pt x="334819" y="862720"/>
                    <a:pt x="395469" y="850716"/>
                    <a:pt x="404945" y="870301"/>
                  </a:cubicBezTo>
                  <a:cubicBezTo>
                    <a:pt x="425162" y="870301"/>
                    <a:pt x="468333" y="892413"/>
                    <a:pt x="481811" y="864615"/>
                  </a:cubicBezTo>
                  <a:cubicBezTo>
                    <a:pt x="487707" y="864615"/>
                    <a:pt x="494235" y="845873"/>
                    <a:pt x="488549" y="845873"/>
                  </a:cubicBezTo>
                  <a:cubicBezTo>
                    <a:pt x="496341" y="845873"/>
                    <a:pt x="503922" y="843135"/>
                    <a:pt x="515505" y="843135"/>
                  </a:cubicBezTo>
                  <a:cubicBezTo>
                    <a:pt x="530878" y="843135"/>
                    <a:pt x="541407" y="811968"/>
                    <a:pt x="552989" y="823971"/>
                  </a:cubicBezTo>
                  <a:cubicBezTo>
                    <a:pt x="568363" y="823971"/>
                    <a:pt x="592370" y="830289"/>
                    <a:pt x="601004" y="830289"/>
                  </a:cubicBezTo>
                  <a:cubicBezTo>
                    <a:pt x="607743" y="844188"/>
                    <a:pt x="639331" y="816390"/>
                    <a:pt x="662496" y="816390"/>
                  </a:cubicBezTo>
                  <a:cubicBezTo>
                    <a:pt x="677027" y="816390"/>
                    <a:pt x="696190" y="820813"/>
                    <a:pt x="706720" y="820813"/>
                  </a:cubicBezTo>
                  <a:cubicBezTo>
                    <a:pt x="719987" y="834290"/>
                    <a:pt x="744205" y="817864"/>
                    <a:pt x="773055" y="846715"/>
                  </a:cubicBezTo>
                  <a:cubicBezTo>
                    <a:pt x="781690" y="846715"/>
                    <a:pt x="785480" y="847136"/>
                    <a:pt x="792219" y="853875"/>
                  </a:cubicBezTo>
                  <a:cubicBezTo>
                    <a:pt x="804643" y="853875"/>
                    <a:pt x="845919" y="880199"/>
                    <a:pt x="921941" y="987810"/>
                  </a:cubicBezTo>
                  <a:cubicBezTo>
                    <a:pt x="936261" y="1016661"/>
                    <a:pt x="936261" y="961486"/>
                    <a:pt x="956478" y="961486"/>
                  </a:cubicBezTo>
                  <a:cubicBezTo>
                    <a:pt x="983434" y="961486"/>
                    <a:pt x="1002597" y="922106"/>
                    <a:pt x="993121" y="922106"/>
                  </a:cubicBezTo>
                  <a:cubicBezTo>
                    <a:pt x="998807" y="922106"/>
                    <a:pt x="998807" y="961065"/>
                    <a:pt x="992068" y="973490"/>
                  </a:cubicBezTo>
                  <a:cubicBezTo>
                    <a:pt x="992068" y="987389"/>
                    <a:pt x="986382" y="1033929"/>
                    <a:pt x="1007440" y="993075"/>
                  </a:cubicBezTo>
                  <a:cubicBezTo>
                    <a:pt x="1014179" y="993075"/>
                    <a:pt x="1012285" y="1011817"/>
                    <a:pt x="1031448" y="1011817"/>
                  </a:cubicBezTo>
                  <a:cubicBezTo>
                    <a:pt x="1051454" y="1032455"/>
                    <a:pt x="1019866" y="1047828"/>
                    <a:pt x="1028499" y="1047828"/>
                  </a:cubicBezTo>
                  <a:cubicBezTo>
                    <a:pt x="1052507" y="1047828"/>
                    <a:pt x="1078409" y="1054988"/>
                    <a:pt x="1065985" y="1054988"/>
                  </a:cubicBezTo>
                  <a:cubicBezTo>
                    <a:pt x="1078409" y="1054988"/>
                    <a:pt x="1106418" y="1109741"/>
                    <a:pt x="1100522" y="1109741"/>
                  </a:cubicBezTo>
                  <a:cubicBezTo>
                    <a:pt x="1089992" y="1130379"/>
                    <a:pt x="1140744" y="1182184"/>
                    <a:pt x="1169594" y="1182184"/>
                  </a:cubicBezTo>
                  <a:cubicBezTo>
                    <a:pt x="1179282" y="1182184"/>
                    <a:pt x="1192760" y="1194608"/>
                    <a:pt x="1206237" y="1194608"/>
                  </a:cubicBezTo>
                  <a:cubicBezTo>
                    <a:pt x="1212134" y="1207665"/>
                    <a:pt x="1241826" y="1224301"/>
                    <a:pt x="1251303" y="1224301"/>
                  </a:cubicBezTo>
                  <a:cubicBezTo>
                    <a:pt x="1263728" y="1224301"/>
                    <a:pt x="1271520" y="1207876"/>
                    <a:pt x="1289841" y="1207876"/>
                  </a:cubicBezTo>
                  <a:cubicBezTo>
                    <a:pt x="1309004" y="1207876"/>
                    <a:pt x="1365653" y="1257364"/>
                    <a:pt x="1359968" y="1257364"/>
                  </a:cubicBezTo>
                  <a:cubicBezTo>
                    <a:pt x="1366705" y="1257364"/>
                    <a:pt x="1359968" y="1224723"/>
                    <a:pt x="1378289" y="1224723"/>
                  </a:cubicBezTo>
                  <a:cubicBezTo>
                    <a:pt x="1395557" y="1224723"/>
                    <a:pt x="1399348" y="1208929"/>
                    <a:pt x="1410930" y="1208929"/>
                  </a:cubicBezTo>
                  <a:cubicBezTo>
                    <a:pt x="1505063" y="1229987"/>
                    <a:pt x="1446520" y="1168074"/>
                    <a:pt x="1457891" y="1144067"/>
                  </a:cubicBezTo>
                  <a:cubicBezTo>
                    <a:pt x="1467579" y="1106582"/>
                    <a:pt x="1477055" y="1065307"/>
                    <a:pt x="1482740" y="1029296"/>
                  </a:cubicBezTo>
                  <a:cubicBezTo>
                    <a:pt x="1477055" y="1018135"/>
                    <a:pt x="1498114" y="1002340"/>
                    <a:pt x="1512645" y="973490"/>
                  </a:cubicBezTo>
                  <a:cubicBezTo>
                    <a:pt x="1504852" y="958117"/>
                    <a:pt x="1505906" y="913051"/>
                    <a:pt x="1505906" y="898941"/>
                  </a:cubicBezTo>
                  <a:cubicBezTo>
                    <a:pt x="1500009" y="886938"/>
                    <a:pt x="1516435" y="862509"/>
                    <a:pt x="1507800" y="846083"/>
                  </a:cubicBezTo>
                  <a:cubicBezTo>
                    <a:pt x="1499798" y="815758"/>
                    <a:pt x="1487374" y="804387"/>
                    <a:pt x="1477897" y="78459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1" name="Forme libre : forme 25">
              <a:extLst>
                <a:ext uri="{FF2B5EF4-FFF2-40B4-BE49-F238E27FC236}">
                  <a16:creationId xmlns:a16="http://schemas.microsoft.com/office/drawing/2014/main" id="{CEBEB6D6-5A6F-44AD-84DD-335EC6F0282C}"/>
                </a:ext>
              </a:extLst>
            </p:cNvPr>
            <p:cNvSpPr/>
            <p:nvPr/>
          </p:nvSpPr>
          <p:spPr>
            <a:xfrm>
              <a:off x="9940936" y="3542070"/>
              <a:ext cx="160516" cy="132630"/>
            </a:xfrm>
            <a:custGeom>
              <a:avLst/>
              <a:gdLst>
                <a:gd name="connsiteX0" fmla="*/ 132672 w 160516"/>
                <a:gd name="connsiteY0" fmla="*/ 27381 h 132630"/>
                <a:gd name="connsiteX1" fmla="*/ 135619 w 160516"/>
                <a:gd name="connsiteY1" fmla="*/ 42754 h 132630"/>
                <a:gd name="connsiteX2" fmla="*/ 149940 w 160516"/>
                <a:gd name="connsiteY2" fmla="*/ 64866 h 132630"/>
                <a:gd name="connsiteX3" fmla="*/ 157732 w 160516"/>
                <a:gd name="connsiteY3" fmla="*/ 94138 h 132630"/>
                <a:gd name="connsiteX4" fmla="*/ 144254 w 160516"/>
                <a:gd name="connsiteY4" fmla="*/ 97086 h 132630"/>
                <a:gd name="connsiteX5" fmla="*/ 128881 w 160516"/>
                <a:gd name="connsiteY5" fmla="*/ 79818 h 132630"/>
                <a:gd name="connsiteX6" fmla="*/ 126985 w 160516"/>
                <a:gd name="connsiteY6" fmla="*/ 100877 h 132630"/>
                <a:gd name="connsiteX7" fmla="*/ 138568 w 160516"/>
                <a:gd name="connsiteY7" fmla="*/ 131202 h 132630"/>
                <a:gd name="connsiteX8" fmla="*/ 117509 w 160516"/>
                <a:gd name="connsiteY8" fmla="*/ 122146 h 132630"/>
                <a:gd name="connsiteX9" fmla="*/ 75180 w 160516"/>
                <a:gd name="connsiteY9" fmla="*/ 94349 h 132630"/>
                <a:gd name="connsiteX10" fmla="*/ 76234 w 160516"/>
                <a:gd name="connsiteY10" fmla="*/ 68867 h 132630"/>
                <a:gd name="connsiteX11" fmla="*/ 54964 w 160516"/>
                <a:gd name="connsiteY11" fmla="*/ 50125 h 132630"/>
                <a:gd name="connsiteX12" fmla="*/ 48225 w 160516"/>
                <a:gd name="connsiteY12" fmla="*/ 59812 h 132630"/>
                <a:gd name="connsiteX13" fmla="*/ 26113 w 160516"/>
                <a:gd name="connsiteY13" fmla="*/ 54969 h 132630"/>
                <a:gd name="connsiteX14" fmla="*/ 12635 w 160516"/>
                <a:gd name="connsiteY14" fmla="*/ 47808 h 132630"/>
                <a:gd name="connsiteX15" fmla="*/ 7792 w 160516"/>
                <a:gd name="connsiteY15" fmla="*/ 69499 h 132630"/>
                <a:gd name="connsiteX16" fmla="*/ 0 w 160516"/>
                <a:gd name="connsiteY16" fmla="*/ 48440 h 132630"/>
                <a:gd name="connsiteX17" fmla="*/ 5896 w 160516"/>
                <a:gd name="connsiteY17" fmla="*/ 32646 h 132630"/>
                <a:gd name="connsiteX18" fmla="*/ 26955 w 160516"/>
                <a:gd name="connsiteY18" fmla="*/ 30751 h 132630"/>
                <a:gd name="connsiteX19" fmla="*/ 40433 w 160516"/>
                <a:gd name="connsiteY19" fmla="*/ 21695 h 132630"/>
                <a:gd name="connsiteX20" fmla="*/ 64441 w 160516"/>
                <a:gd name="connsiteY20" fmla="*/ 38964 h 132630"/>
                <a:gd name="connsiteX21" fmla="*/ 74128 w 160516"/>
                <a:gd name="connsiteY21" fmla="*/ 26960 h 132630"/>
                <a:gd name="connsiteX22" fmla="*/ 85710 w 160516"/>
                <a:gd name="connsiteY22" fmla="*/ 21695 h 132630"/>
                <a:gd name="connsiteX23" fmla="*/ 101083 w 160516"/>
                <a:gd name="connsiteY23" fmla="*/ 20221 h 132630"/>
                <a:gd name="connsiteX24" fmla="*/ 96239 w 160516"/>
                <a:gd name="connsiteY24" fmla="*/ 5 h 132630"/>
                <a:gd name="connsiteX25" fmla="*/ 132672 w 160516"/>
                <a:gd name="connsiteY25" fmla="*/ 27381 h 1326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60516" h="132630">
                  <a:moveTo>
                    <a:pt x="132672" y="27381"/>
                  </a:moveTo>
                  <a:cubicBezTo>
                    <a:pt x="142358" y="27381"/>
                    <a:pt x="146149" y="42754"/>
                    <a:pt x="135619" y="42754"/>
                  </a:cubicBezTo>
                  <a:cubicBezTo>
                    <a:pt x="145307" y="42754"/>
                    <a:pt x="155836" y="64866"/>
                    <a:pt x="149940" y="64866"/>
                  </a:cubicBezTo>
                  <a:cubicBezTo>
                    <a:pt x="155626" y="64866"/>
                    <a:pt x="165313" y="94138"/>
                    <a:pt x="157732" y="94138"/>
                  </a:cubicBezTo>
                  <a:cubicBezTo>
                    <a:pt x="165313" y="94138"/>
                    <a:pt x="152888" y="97086"/>
                    <a:pt x="144254" y="97086"/>
                  </a:cubicBezTo>
                  <a:cubicBezTo>
                    <a:pt x="152045" y="97086"/>
                    <a:pt x="135619" y="79818"/>
                    <a:pt x="128881" y="79818"/>
                  </a:cubicBezTo>
                  <a:cubicBezTo>
                    <a:pt x="134567" y="79818"/>
                    <a:pt x="141306" y="100877"/>
                    <a:pt x="126985" y="100877"/>
                  </a:cubicBezTo>
                  <a:cubicBezTo>
                    <a:pt x="140463" y="100877"/>
                    <a:pt x="146149" y="131202"/>
                    <a:pt x="138568" y="131202"/>
                  </a:cubicBezTo>
                  <a:cubicBezTo>
                    <a:pt x="130776" y="131202"/>
                    <a:pt x="125090" y="137941"/>
                    <a:pt x="117509" y="122146"/>
                  </a:cubicBezTo>
                  <a:cubicBezTo>
                    <a:pt x="100241" y="122146"/>
                    <a:pt x="85710" y="94349"/>
                    <a:pt x="75180" y="94349"/>
                  </a:cubicBezTo>
                  <a:cubicBezTo>
                    <a:pt x="84867" y="94349"/>
                    <a:pt x="81919" y="80029"/>
                    <a:pt x="76234" y="68867"/>
                  </a:cubicBezTo>
                  <a:cubicBezTo>
                    <a:pt x="76234" y="56021"/>
                    <a:pt x="61703" y="50125"/>
                    <a:pt x="54964" y="50125"/>
                  </a:cubicBezTo>
                  <a:cubicBezTo>
                    <a:pt x="60861" y="50125"/>
                    <a:pt x="58755" y="59812"/>
                    <a:pt x="48225" y="59812"/>
                  </a:cubicBezTo>
                  <a:cubicBezTo>
                    <a:pt x="39591" y="59812"/>
                    <a:pt x="37696" y="54969"/>
                    <a:pt x="26113" y="54969"/>
                  </a:cubicBezTo>
                  <a:cubicBezTo>
                    <a:pt x="38749" y="54969"/>
                    <a:pt x="18322" y="47808"/>
                    <a:pt x="12635" y="47808"/>
                  </a:cubicBezTo>
                  <a:cubicBezTo>
                    <a:pt x="18322" y="47808"/>
                    <a:pt x="20427" y="69499"/>
                    <a:pt x="7792" y="69499"/>
                  </a:cubicBezTo>
                  <a:cubicBezTo>
                    <a:pt x="-5686" y="69499"/>
                    <a:pt x="6739" y="48440"/>
                    <a:pt x="0" y="48440"/>
                  </a:cubicBezTo>
                  <a:cubicBezTo>
                    <a:pt x="5896" y="48440"/>
                    <a:pt x="-2948" y="32646"/>
                    <a:pt x="5896" y="32646"/>
                  </a:cubicBezTo>
                  <a:cubicBezTo>
                    <a:pt x="16426" y="32646"/>
                    <a:pt x="31799" y="30751"/>
                    <a:pt x="26955" y="30751"/>
                  </a:cubicBezTo>
                  <a:cubicBezTo>
                    <a:pt x="32642" y="30751"/>
                    <a:pt x="27798" y="21695"/>
                    <a:pt x="40433" y="21695"/>
                  </a:cubicBezTo>
                  <a:cubicBezTo>
                    <a:pt x="53911" y="21695"/>
                    <a:pt x="59597" y="28855"/>
                    <a:pt x="64441" y="38964"/>
                  </a:cubicBezTo>
                  <a:cubicBezTo>
                    <a:pt x="76023" y="38964"/>
                    <a:pt x="66336" y="26960"/>
                    <a:pt x="74128" y="26960"/>
                  </a:cubicBezTo>
                  <a:cubicBezTo>
                    <a:pt x="78971" y="35594"/>
                    <a:pt x="92238" y="21695"/>
                    <a:pt x="85710" y="21695"/>
                  </a:cubicBezTo>
                  <a:cubicBezTo>
                    <a:pt x="92449" y="21695"/>
                    <a:pt x="106769" y="20221"/>
                    <a:pt x="101083" y="20221"/>
                  </a:cubicBezTo>
                  <a:cubicBezTo>
                    <a:pt x="106769" y="20221"/>
                    <a:pt x="86552" y="5"/>
                    <a:pt x="96239" y="5"/>
                  </a:cubicBezTo>
                  <a:cubicBezTo>
                    <a:pt x="104874" y="-417"/>
                    <a:pt x="140463" y="27381"/>
                    <a:pt x="132672" y="2738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2" name="Forme libre : forme 26">
              <a:extLst>
                <a:ext uri="{FF2B5EF4-FFF2-40B4-BE49-F238E27FC236}">
                  <a16:creationId xmlns:a16="http://schemas.microsoft.com/office/drawing/2014/main" id="{3E5D1A11-9595-4D4C-9B10-F1D4FE597F7D}"/>
                </a:ext>
              </a:extLst>
            </p:cNvPr>
            <p:cNvSpPr/>
            <p:nvPr/>
          </p:nvSpPr>
          <p:spPr>
            <a:xfrm>
              <a:off x="9786363" y="3235036"/>
              <a:ext cx="179742" cy="205534"/>
            </a:xfrm>
            <a:custGeom>
              <a:avLst/>
              <a:gdLst>
                <a:gd name="connsiteX0" fmla="*/ 48225 w 179742"/>
                <a:gd name="connsiteY0" fmla="*/ 13478 h 205534"/>
                <a:gd name="connsiteX1" fmla="*/ 11583 w 179742"/>
                <a:gd name="connsiteY1" fmla="*/ 0 h 205534"/>
                <a:gd name="connsiteX2" fmla="*/ 10740 w 179742"/>
                <a:gd name="connsiteY2" fmla="*/ 41697 h 205534"/>
                <a:gd name="connsiteX3" fmla="*/ 16426 w 179742"/>
                <a:gd name="connsiteY3" fmla="*/ 70547 h 205534"/>
                <a:gd name="connsiteX4" fmla="*/ 0 w 179742"/>
                <a:gd name="connsiteY4" fmla="*/ 60860 h 205534"/>
                <a:gd name="connsiteX5" fmla="*/ 1053 w 179742"/>
                <a:gd name="connsiteY5" fmla="*/ 77286 h 205534"/>
                <a:gd name="connsiteX6" fmla="*/ 14531 w 179742"/>
                <a:gd name="connsiteY6" fmla="*/ 102346 h 205534"/>
                <a:gd name="connsiteX7" fmla="*/ 36643 w 179742"/>
                <a:gd name="connsiteY7" fmla="*/ 124879 h 205534"/>
                <a:gd name="connsiteX8" fmla="*/ 48225 w 179742"/>
                <a:gd name="connsiteY8" fmla="*/ 117087 h 205534"/>
                <a:gd name="connsiteX9" fmla="*/ 47172 w 179742"/>
                <a:gd name="connsiteY9" fmla="*/ 137304 h 205534"/>
                <a:gd name="connsiteX10" fmla="*/ 65494 w 179742"/>
                <a:gd name="connsiteY10" fmla="*/ 149729 h 205534"/>
                <a:gd name="connsiteX11" fmla="*/ 87605 w 179742"/>
                <a:gd name="connsiteY11" fmla="*/ 150150 h 205534"/>
                <a:gd name="connsiteX12" fmla="*/ 107822 w 179742"/>
                <a:gd name="connsiteY12" fmla="*/ 163207 h 205534"/>
                <a:gd name="connsiteX13" fmla="*/ 119404 w 179742"/>
                <a:gd name="connsiteY13" fmla="*/ 160890 h 205534"/>
                <a:gd name="connsiteX14" fmla="*/ 148255 w 179742"/>
                <a:gd name="connsiteY14" fmla="*/ 183002 h 205534"/>
                <a:gd name="connsiteX15" fmla="*/ 177106 w 179742"/>
                <a:gd name="connsiteY15" fmla="*/ 205535 h 205534"/>
                <a:gd name="connsiteX16" fmla="*/ 156889 w 179742"/>
                <a:gd name="connsiteY16" fmla="*/ 175210 h 205534"/>
                <a:gd name="connsiteX17" fmla="*/ 179001 w 179742"/>
                <a:gd name="connsiteY17" fmla="*/ 169945 h 205534"/>
                <a:gd name="connsiteX18" fmla="*/ 141516 w 179742"/>
                <a:gd name="connsiteY18" fmla="*/ 156468 h 205534"/>
                <a:gd name="connsiteX19" fmla="*/ 110770 w 179742"/>
                <a:gd name="connsiteY19" fmla="*/ 141095 h 205534"/>
                <a:gd name="connsiteX20" fmla="*/ 83815 w 179742"/>
                <a:gd name="connsiteY20" fmla="*/ 136883 h 205534"/>
                <a:gd name="connsiteX21" fmla="*/ 62756 w 179742"/>
                <a:gd name="connsiteY21" fmla="*/ 104242 h 205534"/>
                <a:gd name="connsiteX22" fmla="*/ 64651 w 179742"/>
                <a:gd name="connsiteY22" fmla="*/ 86973 h 205534"/>
                <a:gd name="connsiteX23" fmla="*/ 80024 w 179742"/>
                <a:gd name="connsiteY23" fmla="*/ 69705 h 205534"/>
                <a:gd name="connsiteX24" fmla="*/ 77076 w 179742"/>
                <a:gd name="connsiteY24" fmla="*/ 44224 h 205534"/>
                <a:gd name="connsiteX25" fmla="*/ 63598 w 179742"/>
                <a:gd name="connsiteY25" fmla="*/ 23165 h 205534"/>
                <a:gd name="connsiteX26" fmla="*/ 58755 w 179742"/>
                <a:gd name="connsiteY26" fmla="*/ 10740 h 205534"/>
                <a:gd name="connsiteX27" fmla="*/ 48225 w 179742"/>
                <a:gd name="connsiteY27" fmla="*/ 13478 h 205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79742" h="205534">
                  <a:moveTo>
                    <a:pt x="48225" y="13478"/>
                  </a:moveTo>
                  <a:cubicBezTo>
                    <a:pt x="44435" y="5265"/>
                    <a:pt x="18532" y="0"/>
                    <a:pt x="11583" y="0"/>
                  </a:cubicBezTo>
                  <a:cubicBezTo>
                    <a:pt x="4001" y="0"/>
                    <a:pt x="17479" y="41697"/>
                    <a:pt x="10740" y="41697"/>
                  </a:cubicBezTo>
                  <a:cubicBezTo>
                    <a:pt x="17479" y="41697"/>
                    <a:pt x="26113" y="70547"/>
                    <a:pt x="16426" y="70547"/>
                  </a:cubicBezTo>
                  <a:cubicBezTo>
                    <a:pt x="6739" y="70547"/>
                    <a:pt x="7792" y="60860"/>
                    <a:pt x="0" y="60860"/>
                  </a:cubicBezTo>
                  <a:cubicBezTo>
                    <a:pt x="6739" y="60860"/>
                    <a:pt x="13478" y="77286"/>
                    <a:pt x="1053" y="77286"/>
                  </a:cubicBezTo>
                  <a:cubicBezTo>
                    <a:pt x="12635" y="77286"/>
                    <a:pt x="24007" y="102346"/>
                    <a:pt x="14531" y="102346"/>
                  </a:cubicBezTo>
                  <a:cubicBezTo>
                    <a:pt x="25060" y="102346"/>
                    <a:pt x="42329" y="124879"/>
                    <a:pt x="36643" y="124879"/>
                  </a:cubicBezTo>
                  <a:cubicBezTo>
                    <a:pt x="42329" y="124879"/>
                    <a:pt x="53911" y="117087"/>
                    <a:pt x="48225" y="117087"/>
                  </a:cubicBezTo>
                  <a:cubicBezTo>
                    <a:pt x="54964" y="117087"/>
                    <a:pt x="58755" y="137304"/>
                    <a:pt x="47172" y="137304"/>
                  </a:cubicBezTo>
                  <a:cubicBezTo>
                    <a:pt x="57912" y="137304"/>
                    <a:pt x="74128" y="149729"/>
                    <a:pt x="65494" y="149729"/>
                  </a:cubicBezTo>
                  <a:cubicBezTo>
                    <a:pt x="74128" y="149729"/>
                    <a:pt x="77918" y="150150"/>
                    <a:pt x="87605" y="150150"/>
                  </a:cubicBezTo>
                  <a:cubicBezTo>
                    <a:pt x="95397" y="150150"/>
                    <a:pt x="119404" y="163207"/>
                    <a:pt x="107822" y="163207"/>
                  </a:cubicBezTo>
                  <a:cubicBezTo>
                    <a:pt x="120457" y="163207"/>
                    <a:pt x="109717" y="160890"/>
                    <a:pt x="119404" y="160890"/>
                  </a:cubicBezTo>
                  <a:cubicBezTo>
                    <a:pt x="130986" y="160890"/>
                    <a:pt x="131829" y="183002"/>
                    <a:pt x="148255" y="183002"/>
                  </a:cubicBezTo>
                  <a:cubicBezTo>
                    <a:pt x="160680" y="195427"/>
                    <a:pt x="170367" y="205535"/>
                    <a:pt x="177106" y="205535"/>
                  </a:cubicBezTo>
                  <a:cubicBezTo>
                    <a:pt x="184687" y="205535"/>
                    <a:pt x="163628" y="175210"/>
                    <a:pt x="156889" y="175210"/>
                  </a:cubicBezTo>
                  <a:cubicBezTo>
                    <a:pt x="163628" y="175210"/>
                    <a:pt x="183845" y="180475"/>
                    <a:pt x="179001" y="169945"/>
                  </a:cubicBezTo>
                  <a:cubicBezTo>
                    <a:pt x="179001" y="157942"/>
                    <a:pt x="161733" y="156468"/>
                    <a:pt x="141516" y="156468"/>
                  </a:cubicBezTo>
                  <a:cubicBezTo>
                    <a:pt x="123195" y="156468"/>
                    <a:pt x="120457" y="141095"/>
                    <a:pt x="110770" y="141095"/>
                  </a:cubicBezTo>
                  <a:cubicBezTo>
                    <a:pt x="106769" y="133513"/>
                    <a:pt x="96450" y="149308"/>
                    <a:pt x="83815" y="136883"/>
                  </a:cubicBezTo>
                  <a:cubicBezTo>
                    <a:pt x="70337" y="124458"/>
                    <a:pt x="53069" y="104242"/>
                    <a:pt x="62756" y="104242"/>
                  </a:cubicBezTo>
                  <a:cubicBezTo>
                    <a:pt x="72443" y="104242"/>
                    <a:pt x="72443" y="86973"/>
                    <a:pt x="64651" y="86973"/>
                  </a:cubicBezTo>
                  <a:cubicBezTo>
                    <a:pt x="72233" y="86973"/>
                    <a:pt x="75180" y="64861"/>
                    <a:pt x="80024" y="69705"/>
                  </a:cubicBezTo>
                  <a:cubicBezTo>
                    <a:pt x="87605" y="69705"/>
                    <a:pt x="88658" y="44224"/>
                    <a:pt x="77076" y="44224"/>
                  </a:cubicBezTo>
                  <a:cubicBezTo>
                    <a:pt x="63598" y="44224"/>
                    <a:pt x="71179" y="23165"/>
                    <a:pt x="63598" y="23165"/>
                  </a:cubicBezTo>
                  <a:cubicBezTo>
                    <a:pt x="72233" y="23165"/>
                    <a:pt x="65494" y="10740"/>
                    <a:pt x="58755" y="10740"/>
                  </a:cubicBezTo>
                  <a:cubicBezTo>
                    <a:pt x="64440" y="10740"/>
                    <a:pt x="54964" y="13478"/>
                    <a:pt x="48225" y="1347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3" name="Forme libre : forme 27">
              <a:extLst>
                <a:ext uri="{FF2B5EF4-FFF2-40B4-BE49-F238E27FC236}">
                  <a16:creationId xmlns:a16="http://schemas.microsoft.com/office/drawing/2014/main" id="{67810A55-F35D-4378-9E9C-448F0A9BC1BD}"/>
                </a:ext>
              </a:extLst>
            </p:cNvPr>
            <p:cNvSpPr/>
            <p:nvPr/>
          </p:nvSpPr>
          <p:spPr>
            <a:xfrm>
              <a:off x="9912217" y="3794782"/>
              <a:ext cx="189398" cy="243440"/>
            </a:xfrm>
            <a:custGeom>
              <a:avLst/>
              <a:gdLst>
                <a:gd name="connsiteX0" fmla="*/ 156758 w 189398"/>
                <a:gd name="connsiteY0" fmla="*/ 51173 h 243440"/>
                <a:gd name="connsiteX1" fmla="*/ 81998 w 189398"/>
                <a:gd name="connsiteY1" fmla="*/ 31588 h 243440"/>
                <a:gd name="connsiteX2" fmla="*/ 30193 w 189398"/>
                <a:gd name="connsiteY2" fmla="*/ 25271 h 243440"/>
                <a:gd name="connsiteX3" fmla="*/ 40723 w 189398"/>
                <a:gd name="connsiteY3" fmla="*/ 77707 h 243440"/>
                <a:gd name="connsiteX4" fmla="*/ 80103 w 189398"/>
                <a:gd name="connsiteY4" fmla="*/ 84867 h 243440"/>
                <a:gd name="connsiteX5" fmla="*/ 113586 w 189398"/>
                <a:gd name="connsiteY5" fmla="*/ 82551 h 243440"/>
                <a:gd name="connsiteX6" fmla="*/ 146439 w 189398"/>
                <a:gd name="connsiteY6" fmla="*/ 87816 h 243440"/>
                <a:gd name="connsiteX7" fmla="*/ 117588 w 189398"/>
                <a:gd name="connsiteY7" fmla="*/ 103610 h 243440"/>
                <a:gd name="connsiteX8" fmla="*/ 95476 w 189398"/>
                <a:gd name="connsiteY8" fmla="*/ 121931 h 243440"/>
                <a:gd name="connsiteX9" fmla="*/ 142438 w 189398"/>
                <a:gd name="connsiteY9" fmla="*/ 188688 h 243440"/>
                <a:gd name="connsiteX10" fmla="*/ 180133 w 189398"/>
                <a:gd name="connsiteY10" fmla="*/ 237755 h 243440"/>
                <a:gd name="connsiteX11" fmla="*/ 145386 w 189398"/>
                <a:gd name="connsiteY11" fmla="*/ 243441 h 243440"/>
                <a:gd name="connsiteX12" fmla="*/ 112744 w 189398"/>
                <a:gd name="connsiteY12" fmla="*/ 204482 h 243440"/>
                <a:gd name="connsiteX13" fmla="*/ 88737 w 189398"/>
                <a:gd name="connsiteY13" fmla="*/ 171841 h 243440"/>
                <a:gd name="connsiteX14" fmla="*/ 76312 w 189398"/>
                <a:gd name="connsiteY14" fmla="*/ 138357 h 243440"/>
                <a:gd name="connsiteX15" fmla="*/ 57149 w 189398"/>
                <a:gd name="connsiteY15" fmla="*/ 148465 h 243440"/>
                <a:gd name="connsiteX16" fmla="*/ 77366 w 189398"/>
                <a:gd name="connsiteY16" fmla="*/ 219013 h 243440"/>
                <a:gd name="connsiteX17" fmla="*/ 45566 w 189398"/>
                <a:gd name="connsiteY17" fmla="*/ 231437 h 243440"/>
                <a:gd name="connsiteX18" fmla="*/ 37775 w 189398"/>
                <a:gd name="connsiteY18" fmla="*/ 166576 h 243440"/>
                <a:gd name="connsiteX19" fmla="*/ 2185 w 189398"/>
                <a:gd name="connsiteY19" fmla="*/ 143411 h 243440"/>
                <a:gd name="connsiteX20" fmla="*/ 11030 w 189398"/>
                <a:gd name="connsiteY20" fmla="*/ 94976 h 243440"/>
                <a:gd name="connsiteX21" fmla="*/ 11030 w 189398"/>
                <a:gd name="connsiteY21" fmla="*/ 16215 h 243440"/>
                <a:gd name="connsiteX22" fmla="*/ 47462 w 189398"/>
                <a:gd name="connsiteY22" fmla="*/ 0 h 243440"/>
                <a:gd name="connsiteX23" fmla="*/ 123274 w 189398"/>
                <a:gd name="connsiteY23" fmla="*/ 26324 h 243440"/>
                <a:gd name="connsiteX24" fmla="*/ 168340 w 189398"/>
                <a:gd name="connsiteY24" fmla="*/ 15794 h 243440"/>
                <a:gd name="connsiteX25" fmla="*/ 189399 w 189398"/>
                <a:gd name="connsiteY25" fmla="*/ 10951 h 243440"/>
                <a:gd name="connsiteX26" fmla="*/ 156758 w 189398"/>
                <a:gd name="connsiteY26" fmla="*/ 51173 h 2434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89398" h="243440">
                  <a:moveTo>
                    <a:pt x="156758" y="51173"/>
                  </a:moveTo>
                  <a:cubicBezTo>
                    <a:pt x="142438" y="51173"/>
                    <a:pt x="93370" y="31588"/>
                    <a:pt x="81998" y="31588"/>
                  </a:cubicBezTo>
                  <a:cubicBezTo>
                    <a:pt x="69573" y="31588"/>
                    <a:pt x="25350" y="16637"/>
                    <a:pt x="30193" y="25271"/>
                  </a:cubicBezTo>
                  <a:cubicBezTo>
                    <a:pt x="25350" y="34958"/>
                    <a:pt x="25350" y="77707"/>
                    <a:pt x="40723" y="77707"/>
                  </a:cubicBezTo>
                  <a:cubicBezTo>
                    <a:pt x="51252" y="89290"/>
                    <a:pt x="69573" y="84867"/>
                    <a:pt x="80103" y="84867"/>
                  </a:cubicBezTo>
                  <a:cubicBezTo>
                    <a:pt x="84947" y="94976"/>
                    <a:pt x="101162" y="82551"/>
                    <a:pt x="113586" y="82551"/>
                  </a:cubicBezTo>
                  <a:cubicBezTo>
                    <a:pt x="127064" y="82551"/>
                    <a:pt x="156758" y="87816"/>
                    <a:pt x="146439" y="87816"/>
                  </a:cubicBezTo>
                  <a:cubicBezTo>
                    <a:pt x="156968" y="87816"/>
                    <a:pt x="125380" y="110980"/>
                    <a:pt x="117588" y="103610"/>
                  </a:cubicBezTo>
                  <a:cubicBezTo>
                    <a:pt x="107058" y="103610"/>
                    <a:pt x="81998" y="107822"/>
                    <a:pt x="95476" y="121931"/>
                  </a:cubicBezTo>
                  <a:cubicBezTo>
                    <a:pt x="105163" y="140252"/>
                    <a:pt x="123274" y="168892"/>
                    <a:pt x="142438" y="188688"/>
                  </a:cubicBezTo>
                  <a:cubicBezTo>
                    <a:pt x="161601" y="207851"/>
                    <a:pt x="187503" y="237755"/>
                    <a:pt x="180133" y="237755"/>
                  </a:cubicBezTo>
                  <a:cubicBezTo>
                    <a:pt x="186872" y="237755"/>
                    <a:pt x="164760" y="243441"/>
                    <a:pt x="145386" y="243441"/>
                  </a:cubicBezTo>
                  <a:cubicBezTo>
                    <a:pt x="125169" y="243441"/>
                    <a:pt x="122431" y="204482"/>
                    <a:pt x="112744" y="204482"/>
                  </a:cubicBezTo>
                  <a:cubicBezTo>
                    <a:pt x="121379" y="204482"/>
                    <a:pt x="99266" y="171841"/>
                    <a:pt x="88737" y="171841"/>
                  </a:cubicBezTo>
                  <a:cubicBezTo>
                    <a:pt x="99266" y="171841"/>
                    <a:pt x="92527" y="138357"/>
                    <a:pt x="76312" y="138357"/>
                  </a:cubicBezTo>
                  <a:cubicBezTo>
                    <a:pt x="62835" y="138357"/>
                    <a:pt x="57149" y="130565"/>
                    <a:pt x="57149" y="148465"/>
                  </a:cubicBezTo>
                  <a:cubicBezTo>
                    <a:pt x="65783" y="165734"/>
                    <a:pt x="77366" y="206588"/>
                    <a:pt x="77366" y="219013"/>
                  </a:cubicBezTo>
                  <a:cubicBezTo>
                    <a:pt x="83051" y="230595"/>
                    <a:pt x="56307" y="252496"/>
                    <a:pt x="45566" y="231437"/>
                  </a:cubicBezTo>
                  <a:cubicBezTo>
                    <a:pt x="45566" y="207009"/>
                    <a:pt x="51463" y="180475"/>
                    <a:pt x="37775" y="166576"/>
                  </a:cubicBezTo>
                  <a:cubicBezTo>
                    <a:pt x="22402" y="151624"/>
                    <a:pt x="2185" y="164259"/>
                    <a:pt x="2185" y="143411"/>
                  </a:cubicBezTo>
                  <a:cubicBezTo>
                    <a:pt x="-7502" y="124669"/>
                    <a:pt x="18611" y="110349"/>
                    <a:pt x="11030" y="94976"/>
                  </a:cubicBezTo>
                  <a:cubicBezTo>
                    <a:pt x="11030" y="78129"/>
                    <a:pt x="4291" y="29693"/>
                    <a:pt x="11030" y="16215"/>
                  </a:cubicBezTo>
                  <a:cubicBezTo>
                    <a:pt x="16716" y="3791"/>
                    <a:pt x="21559" y="0"/>
                    <a:pt x="47462" y="0"/>
                  </a:cubicBezTo>
                  <a:cubicBezTo>
                    <a:pt x="74417" y="0"/>
                    <a:pt x="101372" y="26324"/>
                    <a:pt x="123274" y="26324"/>
                  </a:cubicBezTo>
                  <a:cubicBezTo>
                    <a:pt x="146439" y="26324"/>
                    <a:pt x="176131" y="15794"/>
                    <a:pt x="168340" y="15794"/>
                  </a:cubicBezTo>
                  <a:cubicBezTo>
                    <a:pt x="176131" y="15794"/>
                    <a:pt x="183713" y="-1053"/>
                    <a:pt x="189399" y="10951"/>
                  </a:cubicBezTo>
                  <a:cubicBezTo>
                    <a:pt x="189399" y="24428"/>
                    <a:pt x="172131" y="67178"/>
                    <a:pt x="156758" y="5117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4" name="Forme libre : forme 28">
              <a:extLst>
                <a:ext uri="{FF2B5EF4-FFF2-40B4-BE49-F238E27FC236}">
                  <a16:creationId xmlns:a16="http://schemas.microsoft.com/office/drawing/2014/main" id="{FFA73681-17DA-403C-9F49-C97224EF5A07}"/>
                </a:ext>
              </a:extLst>
            </p:cNvPr>
            <p:cNvSpPr/>
            <p:nvPr/>
          </p:nvSpPr>
          <p:spPr>
            <a:xfrm>
              <a:off x="9521199" y="3568318"/>
              <a:ext cx="365017" cy="383352"/>
            </a:xfrm>
            <a:custGeom>
              <a:avLst/>
              <a:gdLst>
                <a:gd name="connsiteX0" fmla="*/ 252739 w 365017"/>
                <a:gd name="connsiteY0" fmla="*/ 4503 h 383352"/>
                <a:gd name="connsiteX1" fmla="*/ 285591 w 365017"/>
                <a:gd name="connsiteY1" fmla="*/ 42830 h 383352"/>
                <a:gd name="connsiteX2" fmla="*/ 330658 w 365017"/>
                <a:gd name="connsiteY2" fmla="*/ 72734 h 383352"/>
                <a:gd name="connsiteX3" fmla="*/ 326656 w 365017"/>
                <a:gd name="connsiteY3" fmla="*/ 84316 h 383352"/>
                <a:gd name="connsiteX4" fmla="*/ 306650 w 365017"/>
                <a:gd name="connsiteY4" fmla="*/ 90634 h 383352"/>
                <a:gd name="connsiteX5" fmla="*/ 327709 w 365017"/>
                <a:gd name="connsiteY5" fmla="*/ 108323 h 383352"/>
                <a:gd name="connsiteX6" fmla="*/ 300754 w 365017"/>
                <a:gd name="connsiteY6" fmla="*/ 108744 h 383352"/>
                <a:gd name="connsiteX7" fmla="*/ 311283 w 365017"/>
                <a:gd name="connsiteY7" fmla="*/ 162023 h 383352"/>
                <a:gd name="connsiteX8" fmla="*/ 325603 w 365017"/>
                <a:gd name="connsiteY8" fmla="*/ 181608 h 383352"/>
                <a:gd name="connsiteX9" fmla="*/ 345820 w 365017"/>
                <a:gd name="connsiteY9" fmla="*/ 207932 h 383352"/>
                <a:gd name="connsiteX10" fmla="*/ 357191 w 365017"/>
                <a:gd name="connsiteY10" fmla="*/ 228570 h 383352"/>
                <a:gd name="connsiteX11" fmla="*/ 321603 w 365017"/>
                <a:gd name="connsiteY11" fmla="*/ 237836 h 383352"/>
                <a:gd name="connsiteX12" fmla="*/ 330236 w 365017"/>
                <a:gd name="connsiteY12" fmla="*/ 272793 h 383352"/>
                <a:gd name="connsiteX13" fmla="*/ 303281 w 365017"/>
                <a:gd name="connsiteY13" fmla="*/ 291115 h 383352"/>
                <a:gd name="connsiteX14" fmla="*/ 308125 w 365017"/>
                <a:gd name="connsiteY14" fmla="*/ 323335 h 383352"/>
                <a:gd name="connsiteX15" fmla="*/ 302439 w 365017"/>
                <a:gd name="connsiteY15" fmla="*/ 350290 h 383352"/>
                <a:gd name="connsiteX16" fmla="*/ 309177 w 365017"/>
                <a:gd name="connsiteY16" fmla="*/ 383353 h 383352"/>
                <a:gd name="connsiteX17" fmla="*/ 283275 w 365017"/>
                <a:gd name="connsiteY17" fmla="*/ 366084 h 383352"/>
                <a:gd name="connsiteX18" fmla="*/ 243895 w 365017"/>
                <a:gd name="connsiteY18" fmla="*/ 372191 h 383352"/>
                <a:gd name="connsiteX19" fmla="*/ 219888 w 365017"/>
                <a:gd name="connsiteY19" fmla="*/ 351133 h 383352"/>
                <a:gd name="connsiteX20" fmla="*/ 192090 w 365017"/>
                <a:gd name="connsiteY20" fmla="*/ 337234 h 383352"/>
                <a:gd name="connsiteX21" fmla="*/ 167240 w 365017"/>
                <a:gd name="connsiteY21" fmla="*/ 335759 h 383352"/>
                <a:gd name="connsiteX22" fmla="*/ 133546 w 365017"/>
                <a:gd name="connsiteY22" fmla="*/ 328178 h 383352"/>
                <a:gd name="connsiteX23" fmla="*/ 107644 w 365017"/>
                <a:gd name="connsiteY23" fmla="*/ 314701 h 383352"/>
                <a:gd name="connsiteX24" fmla="*/ 69106 w 365017"/>
                <a:gd name="connsiteY24" fmla="*/ 295958 h 383352"/>
                <a:gd name="connsiteX25" fmla="*/ 55628 w 365017"/>
                <a:gd name="connsiteY25" fmla="*/ 248786 h 383352"/>
                <a:gd name="connsiteX26" fmla="*/ 18143 w 365017"/>
                <a:gd name="connsiteY26" fmla="*/ 220988 h 383352"/>
                <a:gd name="connsiteX27" fmla="*/ 2770 w 365017"/>
                <a:gd name="connsiteY27" fmla="*/ 150441 h 383352"/>
                <a:gd name="connsiteX28" fmla="*/ 25724 w 365017"/>
                <a:gd name="connsiteY28" fmla="*/ 135068 h 383352"/>
                <a:gd name="connsiteX29" fmla="*/ 67000 w 365017"/>
                <a:gd name="connsiteY29" fmla="*/ 144755 h 383352"/>
                <a:gd name="connsiteX30" fmla="*/ 73739 w 365017"/>
                <a:gd name="connsiteY30" fmla="*/ 106849 h 383352"/>
                <a:gd name="connsiteX31" fmla="*/ 140917 w 365017"/>
                <a:gd name="connsiteY31" fmla="*/ 99268 h 383352"/>
                <a:gd name="connsiteX32" fmla="*/ 191880 w 365017"/>
                <a:gd name="connsiteY32" fmla="*/ 58835 h 383352"/>
                <a:gd name="connsiteX33" fmla="*/ 216729 w 365017"/>
                <a:gd name="connsiteY33" fmla="*/ 36302 h 383352"/>
                <a:gd name="connsiteX34" fmla="*/ 252739 w 365017"/>
                <a:gd name="connsiteY34" fmla="*/ 4503 h 383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65017" h="383352">
                  <a:moveTo>
                    <a:pt x="252739" y="4503"/>
                  </a:moveTo>
                  <a:cubicBezTo>
                    <a:pt x="266217" y="17560"/>
                    <a:pt x="271903" y="42830"/>
                    <a:pt x="285591" y="42830"/>
                  </a:cubicBezTo>
                  <a:cubicBezTo>
                    <a:pt x="292330" y="55255"/>
                    <a:pt x="337397" y="72734"/>
                    <a:pt x="330658" y="72734"/>
                  </a:cubicBezTo>
                  <a:cubicBezTo>
                    <a:pt x="337397" y="72734"/>
                    <a:pt x="339292" y="84316"/>
                    <a:pt x="326656" y="84316"/>
                  </a:cubicBezTo>
                  <a:cubicBezTo>
                    <a:pt x="315074" y="84316"/>
                    <a:pt x="292120" y="90634"/>
                    <a:pt x="306650" y="90634"/>
                  </a:cubicBezTo>
                  <a:cubicBezTo>
                    <a:pt x="322023" y="90634"/>
                    <a:pt x="333395" y="114641"/>
                    <a:pt x="327709" y="108323"/>
                  </a:cubicBezTo>
                  <a:cubicBezTo>
                    <a:pt x="319917" y="108323"/>
                    <a:pt x="295911" y="99268"/>
                    <a:pt x="300754" y="108744"/>
                  </a:cubicBezTo>
                  <a:cubicBezTo>
                    <a:pt x="300754" y="119274"/>
                    <a:pt x="318022" y="162023"/>
                    <a:pt x="311283" y="162023"/>
                  </a:cubicBezTo>
                  <a:cubicBezTo>
                    <a:pt x="318022" y="162023"/>
                    <a:pt x="332342" y="181608"/>
                    <a:pt x="325603" y="181608"/>
                  </a:cubicBezTo>
                  <a:cubicBezTo>
                    <a:pt x="332342" y="181608"/>
                    <a:pt x="332342" y="207932"/>
                    <a:pt x="345820" y="207932"/>
                  </a:cubicBezTo>
                  <a:cubicBezTo>
                    <a:pt x="359298" y="207932"/>
                    <a:pt x="374671" y="228570"/>
                    <a:pt x="357191" y="228570"/>
                  </a:cubicBezTo>
                  <a:cubicBezTo>
                    <a:pt x="342030" y="228570"/>
                    <a:pt x="332342" y="237836"/>
                    <a:pt x="321603" y="237836"/>
                  </a:cubicBezTo>
                  <a:cubicBezTo>
                    <a:pt x="332132" y="237836"/>
                    <a:pt x="339924" y="272793"/>
                    <a:pt x="330236" y="272793"/>
                  </a:cubicBezTo>
                  <a:cubicBezTo>
                    <a:pt x="335080" y="281849"/>
                    <a:pt x="311073" y="291115"/>
                    <a:pt x="303281" y="291115"/>
                  </a:cubicBezTo>
                  <a:cubicBezTo>
                    <a:pt x="311073" y="291115"/>
                    <a:pt x="303281" y="314701"/>
                    <a:pt x="308125" y="323335"/>
                  </a:cubicBezTo>
                  <a:cubicBezTo>
                    <a:pt x="308125" y="333864"/>
                    <a:pt x="312968" y="350290"/>
                    <a:pt x="302439" y="350290"/>
                  </a:cubicBezTo>
                  <a:cubicBezTo>
                    <a:pt x="312968" y="350290"/>
                    <a:pt x="317811" y="383353"/>
                    <a:pt x="309177" y="383353"/>
                  </a:cubicBezTo>
                  <a:cubicBezTo>
                    <a:pt x="299490" y="383353"/>
                    <a:pt x="291909" y="366084"/>
                    <a:pt x="283275" y="366084"/>
                  </a:cubicBezTo>
                  <a:cubicBezTo>
                    <a:pt x="291909" y="366084"/>
                    <a:pt x="257372" y="372191"/>
                    <a:pt x="243895" y="372191"/>
                  </a:cubicBezTo>
                  <a:cubicBezTo>
                    <a:pt x="256320" y="372191"/>
                    <a:pt x="224731" y="360188"/>
                    <a:pt x="219888" y="351133"/>
                  </a:cubicBezTo>
                  <a:cubicBezTo>
                    <a:pt x="210201" y="351133"/>
                    <a:pt x="203672" y="337234"/>
                    <a:pt x="192090" y="337234"/>
                  </a:cubicBezTo>
                  <a:cubicBezTo>
                    <a:pt x="203672" y="337234"/>
                    <a:pt x="174822" y="335759"/>
                    <a:pt x="167240" y="335759"/>
                  </a:cubicBezTo>
                  <a:cubicBezTo>
                    <a:pt x="173979" y="335759"/>
                    <a:pt x="144075" y="328178"/>
                    <a:pt x="133546" y="328178"/>
                  </a:cubicBezTo>
                  <a:cubicBezTo>
                    <a:pt x="143233" y="328178"/>
                    <a:pt x="126808" y="314701"/>
                    <a:pt x="107644" y="314701"/>
                  </a:cubicBezTo>
                  <a:cubicBezTo>
                    <a:pt x="94166" y="301223"/>
                    <a:pt x="78793" y="295958"/>
                    <a:pt x="69106" y="295958"/>
                  </a:cubicBezTo>
                  <a:cubicBezTo>
                    <a:pt x="77740" y="295958"/>
                    <a:pt x="72896" y="248786"/>
                    <a:pt x="55628" y="248786"/>
                  </a:cubicBezTo>
                  <a:cubicBezTo>
                    <a:pt x="38360" y="248786"/>
                    <a:pt x="18143" y="238678"/>
                    <a:pt x="18143" y="220988"/>
                  </a:cubicBezTo>
                  <a:cubicBezTo>
                    <a:pt x="10562" y="204773"/>
                    <a:pt x="-6707" y="169605"/>
                    <a:pt x="2770" y="150441"/>
                  </a:cubicBezTo>
                  <a:cubicBezTo>
                    <a:pt x="11404" y="132752"/>
                    <a:pt x="9509" y="135068"/>
                    <a:pt x="25724" y="135068"/>
                  </a:cubicBezTo>
                  <a:cubicBezTo>
                    <a:pt x="41940" y="135068"/>
                    <a:pt x="54575" y="144755"/>
                    <a:pt x="67000" y="144755"/>
                  </a:cubicBezTo>
                  <a:cubicBezTo>
                    <a:pt x="71843" y="134226"/>
                    <a:pt x="57313" y="106849"/>
                    <a:pt x="73739" y="106849"/>
                  </a:cubicBezTo>
                  <a:cubicBezTo>
                    <a:pt x="91007" y="106849"/>
                    <a:pt x="135231" y="109166"/>
                    <a:pt x="140917" y="99268"/>
                  </a:cubicBezTo>
                  <a:cubicBezTo>
                    <a:pt x="152499" y="99268"/>
                    <a:pt x="171452" y="58835"/>
                    <a:pt x="191880" y="58835"/>
                  </a:cubicBezTo>
                  <a:cubicBezTo>
                    <a:pt x="211043" y="58835"/>
                    <a:pt x="209147" y="51043"/>
                    <a:pt x="216729" y="36302"/>
                  </a:cubicBezTo>
                  <a:cubicBezTo>
                    <a:pt x="224942" y="20718"/>
                    <a:pt x="245159" y="-11923"/>
                    <a:pt x="252739" y="450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5" name="Forme libre : forme 29">
              <a:extLst>
                <a:ext uri="{FF2B5EF4-FFF2-40B4-BE49-F238E27FC236}">
                  <a16:creationId xmlns:a16="http://schemas.microsoft.com/office/drawing/2014/main" id="{D86C9F36-6AC0-4325-8CFE-A3373F2DCD33}"/>
                </a:ext>
              </a:extLst>
            </p:cNvPr>
            <p:cNvSpPr/>
            <p:nvPr/>
          </p:nvSpPr>
          <p:spPr>
            <a:xfrm>
              <a:off x="9457002" y="3967044"/>
              <a:ext cx="388125" cy="148016"/>
            </a:xfrm>
            <a:custGeom>
              <a:avLst/>
              <a:gdLst>
                <a:gd name="connsiteX0" fmla="*/ 168050 w 388125"/>
                <a:gd name="connsiteY0" fmla="*/ 53279 h 148016"/>
                <a:gd name="connsiteX1" fmla="*/ 121089 w 388125"/>
                <a:gd name="connsiteY1" fmla="*/ 38959 h 148016"/>
                <a:gd name="connsiteX2" fmla="*/ 84446 w 388125"/>
                <a:gd name="connsiteY2" fmla="*/ 13899 h 148016"/>
                <a:gd name="connsiteX3" fmla="*/ 35590 w 388125"/>
                <a:gd name="connsiteY3" fmla="*/ 4843 h 148016"/>
                <a:gd name="connsiteX4" fmla="*/ 2948 w 388125"/>
                <a:gd name="connsiteY4" fmla="*/ 0 h 148016"/>
                <a:gd name="connsiteX5" fmla="*/ 0 w 388125"/>
                <a:gd name="connsiteY5" fmla="*/ 19795 h 148016"/>
                <a:gd name="connsiteX6" fmla="*/ 29903 w 388125"/>
                <a:gd name="connsiteY6" fmla="*/ 33273 h 148016"/>
                <a:gd name="connsiteX7" fmla="*/ 34747 w 388125"/>
                <a:gd name="connsiteY7" fmla="*/ 52437 h 148016"/>
                <a:gd name="connsiteX8" fmla="*/ 93291 w 388125"/>
                <a:gd name="connsiteY8" fmla="*/ 67810 h 148016"/>
                <a:gd name="connsiteX9" fmla="*/ 136461 w 388125"/>
                <a:gd name="connsiteY9" fmla="*/ 79813 h 148016"/>
                <a:gd name="connsiteX10" fmla="*/ 175842 w 388125"/>
                <a:gd name="connsiteY10" fmla="*/ 89500 h 148016"/>
                <a:gd name="connsiteX11" fmla="*/ 235439 w 388125"/>
                <a:gd name="connsiteY11" fmla="*/ 112455 h 148016"/>
                <a:gd name="connsiteX12" fmla="*/ 293982 w 388125"/>
                <a:gd name="connsiteY12" fmla="*/ 125511 h 148016"/>
                <a:gd name="connsiteX13" fmla="*/ 328519 w 388125"/>
                <a:gd name="connsiteY13" fmla="*/ 140463 h 148016"/>
                <a:gd name="connsiteX14" fmla="*/ 364951 w 388125"/>
                <a:gd name="connsiteY14" fmla="*/ 144254 h 148016"/>
                <a:gd name="connsiteX15" fmla="*/ 364109 w 388125"/>
                <a:gd name="connsiteY15" fmla="*/ 127406 h 148016"/>
                <a:gd name="connsiteX16" fmla="*/ 309356 w 388125"/>
                <a:gd name="connsiteY16" fmla="*/ 100872 h 148016"/>
                <a:gd name="connsiteX17" fmla="*/ 275661 w 388125"/>
                <a:gd name="connsiteY17" fmla="*/ 85920 h 148016"/>
                <a:gd name="connsiteX18" fmla="*/ 317990 w 388125"/>
                <a:gd name="connsiteY18" fmla="*/ 78129 h 148016"/>
                <a:gd name="connsiteX19" fmla="*/ 246811 w 388125"/>
                <a:gd name="connsiteY19" fmla="*/ 61281 h 148016"/>
                <a:gd name="connsiteX20" fmla="*/ 198796 w 388125"/>
                <a:gd name="connsiteY20" fmla="*/ 36221 h 148016"/>
                <a:gd name="connsiteX21" fmla="*/ 169103 w 388125"/>
                <a:gd name="connsiteY21" fmla="*/ 53490 h 148016"/>
                <a:gd name="connsiteX22" fmla="*/ 168050 w 388125"/>
                <a:gd name="connsiteY22" fmla="*/ 53279 h 1480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88125" h="148016">
                  <a:moveTo>
                    <a:pt x="168050" y="53279"/>
                  </a:moveTo>
                  <a:cubicBezTo>
                    <a:pt x="146991" y="53279"/>
                    <a:pt x="135409" y="38959"/>
                    <a:pt x="121089" y="38959"/>
                  </a:cubicBezTo>
                  <a:cubicBezTo>
                    <a:pt x="106558" y="38959"/>
                    <a:pt x="98135" y="13899"/>
                    <a:pt x="84446" y="13899"/>
                  </a:cubicBezTo>
                  <a:cubicBezTo>
                    <a:pt x="72021" y="13899"/>
                    <a:pt x="48857" y="18321"/>
                    <a:pt x="35590" y="4843"/>
                  </a:cubicBezTo>
                  <a:cubicBezTo>
                    <a:pt x="16426" y="4843"/>
                    <a:pt x="9687" y="0"/>
                    <a:pt x="2948" y="0"/>
                  </a:cubicBezTo>
                  <a:cubicBezTo>
                    <a:pt x="10740" y="0"/>
                    <a:pt x="7792" y="19795"/>
                    <a:pt x="0" y="19795"/>
                  </a:cubicBezTo>
                  <a:cubicBezTo>
                    <a:pt x="7792" y="19795"/>
                    <a:pt x="19164" y="33273"/>
                    <a:pt x="29903" y="33273"/>
                  </a:cubicBezTo>
                  <a:cubicBezTo>
                    <a:pt x="41486" y="33273"/>
                    <a:pt x="12635" y="52437"/>
                    <a:pt x="34747" y="52437"/>
                  </a:cubicBezTo>
                  <a:cubicBezTo>
                    <a:pt x="56859" y="52437"/>
                    <a:pt x="85499" y="52858"/>
                    <a:pt x="93291" y="67810"/>
                  </a:cubicBezTo>
                  <a:cubicBezTo>
                    <a:pt x="109506" y="67810"/>
                    <a:pt x="116245" y="79813"/>
                    <a:pt x="136461" y="79813"/>
                  </a:cubicBezTo>
                  <a:cubicBezTo>
                    <a:pt x="157520" y="79813"/>
                    <a:pt x="154572" y="68652"/>
                    <a:pt x="175842" y="89500"/>
                  </a:cubicBezTo>
                  <a:cubicBezTo>
                    <a:pt x="189319" y="116456"/>
                    <a:pt x="212484" y="97292"/>
                    <a:pt x="235439" y="112455"/>
                  </a:cubicBezTo>
                  <a:cubicBezTo>
                    <a:pt x="263236" y="112455"/>
                    <a:pt x="289138" y="115824"/>
                    <a:pt x="293982" y="125511"/>
                  </a:cubicBezTo>
                  <a:cubicBezTo>
                    <a:pt x="305564" y="125511"/>
                    <a:pt x="321991" y="127406"/>
                    <a:pt x="328519" y="140463"/>
                  </a:cubicBezTo>
                  <a:cubicBezTo>
                    <a:pt x="343050" y="140463"/>
                    <a:pt x="352526" y="144254"/>
                    <a:pt x="364951" y="144254"/>
                  </a:cubicBezTo>
                  <a:cubicBezTo>
                    <a:pt x="401383" y="158574"/>
                    <a:pt x="390011" y="127406"/>
                    <a:pt x="364109" y="127406"/>
                  </a:cubicBezTo>
                  <a:cubicBezTo>
                    <a:pt x="352526" y="103820"/>
                    <a:pt x="343050" y="100872"/>
                    <a:pt x="309356" y="100872"/>
                  </a:cubicBezTo>
                  <a:cubicBezTo>
                    <a:pt x="280505" y="82130"/>
                    <a:pt x="262394" y="85920"/>
                    <a:pt x="275661" y="85920"/>
                  </a:cubicBezTo>
                  <a:cubicBezTo>
                    <a:pt x="288086" y="85920"/>
                    <a:pt x="324728" y="78129"/>
                    <a:pt x="317990" y="78129"/>
                  </a:cubicBezTo>
                  <a:cubicBezTo>
                    <a:pt x="324728" y="78129"/>
                    <a:pt x="268080" y="61281"/>
                    <a:pt x="246811" y="61281"/>
                  </a:cubicBezTo>
                  <a:cubicBezTo>
                    <a:pt x="226593" y="61281"/>
                    <a:pt x="209326" y="36221"/>
                    <a:pt x="198796" y="36221"/>
                  </a:cubicBezTo>
                  <a:cubicBezTo>
                    <a:pt x="188267" y="36221"/>
                    <a:pt x="181528" y="53490"/>
                    <a:pt x="169103" y="53490"/>
                  </a:cubicBezTo>
                  <a:cubicBezTo>
                    <a:pt x="169946" y="53700"/>
                    <a:pt x="169103" y="53279"/>
                    <a:pt x="168050" y="5327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6" name="Forme libre : forme 30">
              <a:extLst>
                <a:ext uri="{FF2B5EF4-FFF2-40B4-BE49-F238E27FC236}">
                  <a16:creationId xmlns:a16="http://schemas.microsoft.com/office/drawing/2014/main" id="{A5D040FF-6866-4C52-8267-9A388D9651EA}"/>
                </a:ext>
              </a:extLst>
            </p:cNvPr>
            <p:cNvSpPr/>
            <p:nvPr/>
          </p:nvSpPr>
          <p:spPr>
            <a:xfrm>
              <a:off x="10142776" y="4175316"/>
              <a:ext cx="123154" cy="57729"/>
            </a:xfrm>
            <a:custGeom>
              <a:avLst/>
              <a:gdLst>
                <a:gd name="connsiteX0" fmla="*/ 120151 w 123154"/>
                <a:gd name="connsiteY0" fmla="*/ 7792 h 57729"/>
                <a:gd name="connsiteX1" fmla="*/ 91511 w 123154"/>
                <a:gd name="connsiteY1" fmla="*/ 0 h 57729"/>
                <a:gd name="connsiteX2" fmla="*/ 49182 w 123154"/>
                <a:gd name="connsiteY2" fmla="*/ 3791 h 57729"/>
                <a:gd name="connsiteX3" fmla="*/ 36758 w 123154"/>
                <a:gd name="connsiteY3" fmla="*/ 18742 h 57729"/>
                <a:gd name="connsiteX4" fmla="*/ 8749 w 123154"/>
                <a:gd name="connsiteY4" fmla="*/ 27376 h 57729"/>
                <a:gd name="connsiteX5" fmla="*/ 2010 w 123154"/>
                <a:gd name="connsiteY5" fmla="*/ 48435 h 57729"/>
                <a:gd name="connsiteX6" fmla="*/ 28966 w 123154"/>
                <a:gd name="connsiteY6" fmla="*/ 50331 h 57729"/>
                <a:gd name="connsiteX7" fmla="*/ 68346 w 123154"/>
                <a:gd name="connsiteY7" fmla="*/ 26324 h 57729"/>
                <a:gd name="connsiteX8" fmla="*/ 98249 w 123154"/>
                <a:gd name="connsiteY8" fmla="*/ 16637 h 57729"/>
                <a:gd name="connsiteX9" fmla="*/ 120151 w 123154"/>
                <a:gd name="connsiteY9" fmla="*/ 7792 h 57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154" h="57729">
                  <a:moveTo>
                    <a:pt x="120151" y="7792"/>
                  </a:moveTo>
                  <a:cubicBezTo>
                    <a:pt x="110675" y="7792"/>
                    <a:pt x="100987" y="0"/>
                    <a:pt x="91511" y="0"/>
                  </a:cubicBezTo>
                  <a:cubicBezTo>
                    <a:pt x="70241" y="0"/>
                    <a:pt x="55921" y="3791"/>
                    <a:pt x="49182" y="3791"/>
                  </a:cubicBezTo>
                  <a:cubicBezTo>
                    <a:pt x="58869" y="3791"/>
                    <a:pt x="41601" y="29272"/>
                    <a:pt x="36758" y="18742"/>
                  </a:cubicBezTo>
                  <a:cubicBezTo>
                    <a:pt x="41601" y="18742"/>
                    <a:pt x="17594" y="27376"/>
                    <a:pt x="8749" y="27376"/>
                  </a:cubicBezTo>
                  <a:cubicBezTo>
                    <a:pt x="16541" y="27376"/>
                    <a:pt x="7907" y="48435"/>
                    <a:pt x="2010" y="48435"/>
                  </a:cubicBezTo>
                  <a:cubicBezTo>
                    <a:pt x="-7677" y="48435"/>
                    <a:pt x="20332" y="68020"/>
                    <a:pt x="28966" y="50331"/>
                  </a:cubicBezTo>
                  <a:cubicBezTo>
                    <a:pt x="28966" y="29272"/>
                    <a:pt x="56763" y="26324"/>
                    <a:pt x="68346" y="26324"/>
                  </a:cubicBezTo>
                  <a:cubicBezTo>
                    <a:pt x="78033" y="26324"/>
                    <a:pt x="105831" y="16637"/>
                    <a:pt x="98249" y="16637"/>
                  </a:cubicBezTo>
                  <a:cubicBezTo>
                    <a:pt x="106673" y="16847"/>
                    <a:pt x="131733" y="7792"/>
                    <a:pt x="120151" y="779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7" name="Forme libre : forme 31">
              <a:extLst>
                <a:ext uri="{FF2B5EF4-FFF2-40B4-BE49-F238E27FC236}">
                  <a16:creationId xmlns:a16="http://schemas.microsoft.com/office/drawing/2014/main" id="{0E580C36-6FD8-46EB-A015-1202E7FDBA48}"/>
                </a:ext>
              </a:extLst>
            </p:cNvPr>
            <p:cNvSpPr/>
            <p:nvPr/>
          </p:nvSpPr>
          <p:spPr>
            <a:xfrm>
              <a:off x="10240595" y="3981137"/>
              <a:ext cx="116542" cy="55333"/>
            </a:xfrm>
            <a:custGeom>
              <a:avLst/>
              <a:gdLst>
                <a:gd name="connsiteX0" fmla="*/ 108884 w 116542"/>
                <a:gd name="connsiteY0" fmla="*/ 44871 h 55333"/>
                <a:gd name="connsiteX1" fmla="*/ 57921 w 116542"/>
                <a:gd name="connsiteY1" fmla="*/ 18126 h 55333"/>
                <a:gd name="connsiteX2" fmla="*/ 1272 w 116542"/>
                <a:gd name="connsiteY2" fmla="*/ 6965 h 55333"/>
                <a:gd name="connsiteX3" fmla="*/ 50340 w 116542"/>
                <a:gd name="connsiteY3" fmla="*/ 36869 h 55333"/>
                <a:gd name="connsiteX4" fmla="*/ 102145 w 116542"/>
                <a:gd name="connsiteY4" fmla="*/ 54558 h 55333"/>
                <a:gd name="connsiteX5" fmla="*/ 108884 w 116542"/>
                <a:gd name="connsiteY5" fmla="*/ 44871 h 55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6542" h="55333">
                  <a:moveTo>
                    <a:pt x="108884" y="44871"/>
                  </a:moveTo>
                  <a:cubicBezTo>
                    <a:pt x="94353" y="31393"/>
                    <a:pt x="76242" y="18126"/>
                    <a:pt x="57921" y="18126"/>
                  </a:cubicBezTo>
                  <a:cubicBezTo>
                    <a:pt x="39811" y="18126"/>
                    <a:pt x="-8415" y="-13673"/>
                    <a:pt x="1272" y="6965"/>
                  </a:cubicBezTo>
                  <a:cubicBezTo>
                    <a:pt x="11802" y="28234"/>
                    <a:pt x="29281" y="36869"/>
                    <a:pt x="50340" y="36869"/>
                  </a:cubicBezTo>
                  <a:cubicBezTo>
                    <a:pt x="71399" y="36869"/>
                    <a:pt x="87825" y="54558"/>
                    <a:pt x="102145" y="54558"/>
                  </a:cubicBezTo>
                  <a:cubicBezTo>
                    <a:pt x="115412" y="54558"/>
                    <a:pt x="123204" y="59402"/>
                    <a:pt x="108884" y="4487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8" name="Forme libre : forme 32">
              <a:extLst>
                <a:ext uri="{FF2B5EF4-FFF2-40B4-BE49-F238E27FC236}">
                  <a16:creationId xmlns:a16="http://schemas.microsoft.com/office/drawing/2014/main" id="{0FEFF0F6-CDC9-4464-B10C-94EB04C25876}"/>
                </a:ext>
              </a:extLst>
            </p:cNvPr>
            <p:cNvSpPr/>
            <p:nvPr/>
          </p:nvSpPr>
          <p:spPr>
            <a:xfrm>
              <a:off x="10171134" y="3982100"/>
              <a:ext cx="46166" cy="28635"/>
            </a:xfrm>
            <a:custGeom>
              <a:avLst/>
              <a:gdLst>
                <a:gd name="connsiteX0" fmla="*/ 26510 w 46166"/>
                <a:gd name="connsiteY0" fmla="*/ 2212 h 28635"/>
                <a:gd name="connsiteX1" fmla="*/ 6294 w 46166"/>
                <a:gd name="connsiteY1" fmla="*/ 10425 h 28635"/>
                <a:gd name="connsiteX2" fmla="*/ 41883 w 46166"/>
                <a:gd name="connsiteY2" fmla="*/ 28115 h 28635"/>
                <a:gd name="connsiteX3" fmla="*/ 26510 w 46166"/>
                <a:gd name="connsiteY3" fmla="*/ 2212 h 28635"/>
              </a:gdLst>
              <a:ahLst/>
              <a:cxnLst>
                <a:cxn ang="0">
                  <a:pos x="connsiteX0" y="connsiteY0"/>
                </a:cxn>
                <a:cxn ang="0">
                  <a:pos x="connsiteX1" y="connsiteY1"/>
                </a:cxn>
                <a:cxn ang="0">
                  <a:pos x="connsiteX2" y="connsiteY2"/>
                </a:cxn>
                <a:cxn ang="0">
                  <a:pos x="connsiteX3" y="connsiteY3"/>
                </a:cxn>
              </a:cxnLst>
              <a:rect l="l" t="t" r="r" b="b"/>
              <a:pathLst>
                <a:path w="46166" h="28635">
                  <a:moveTo>
                    <a:pt x="26510" y="2212"/>
                  </a:moveTo>
                  <a:cubicBezTo>
                    <a:pt x="11138" y="2212"/>
                    <a:pt x="-10975" y="-6422"/>
                    <a:pt x="6294" y="10425"/>
                  </a:cubicBezTo>
                  <a:cubicBezTo>
                    <a:pt x="17876" y="33379"/>
                    <a:pt x="33249" y="28115"/>
                    <a:pt x="41883" y="28115"/>
                  </a:cubicBezTo>
                  <a:cubicBezTo>
                    <a:pt x="51360" y="28115"/>
                    <a:pt x="44621" y="2212"/>
                    <a:pt x="26510" y="221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49" name="Forme libre : forme 33">
              <a:extLst>
                <a:ext uri="{FF2B5EF4-FFF2-40B4-BE49-F238E27FC236}">
                  <a16:creationId xmlns:a16="http://schemas.microsoft.com/office/drawing/2014/main" id="{D431F907-FEBE-4F1C-9527-04AEF52F0629}"/>
                </a:ext>
              </a:extLst>
            </p:cNvPr>
            <p:cNvSpPr/>
            <p:nvPr/>
          </p:nvSpPr>
          <p:spPr>
            <a:xfrm>
              <a:off x="10184377" y="3807600"/>
              <a:ext cx="57570" cy="103637"/>
            </a:xfrm>
            <a:custGeom>
              <a:avLst/>
              <a:gdLst>
                <a:gd name="connsiteX0" fmla="*/ 45066 w 57570"/>
                <a:gd name="connsiteY0" fmla="*/ 27404 h 103637"/>
                <a:gd name="connsiteX1" fmla="*/ 20006 w 57570"/>
                <a:gd name="connsiteY1" fmla="*/ 41724 h 103637"/>
                <a:gd name="connsiteX2" fmla="*/ 16215 w 57570"/>
                <a:gd name="connsiteY2" fmla="*/ 7609 h 103637"/>
                <a:gd name="connsiteX3" fmla="*/ 0 w 57570"/>
                <a:gd name="connsiteY3" fmla="*/ 9504 h 103637"/>
                <a:gd name="connsiteX4" fmla="*/ 10529 w 57570"/>
                <a:gd name="connsiteY4" fmla="*/ 67206 h 103637"/>
                <a:gd name="connsiteX5" fmla="*/ 36432 w 57570"/>
                <a:gd name="connsiteY5" fmla="*/ 103638 h 103637"/>
                <a:gd name="connsiteX6" fmla="*/ 39380 w 57570"/>
                <a:gd name="connsiteY6" fmla="*/ 87422 h 103637"/>
                <a:gd name="connsiteX7" fmla="*/ 31588 w 57570"/>
                <a:gd name="connsiteY7" fmla="*/ 59414 h 103637"/>
                <a:gd name="connsiteX8" fmla="*/ 56648 w 57570"/>
                <a:gd name="connsiteY8" fmla="*/ 69101 h 103637"/>
                <a:gd name="connsiteX9" fmla="*/ 39380 w 57570"/>
                <a:gd name="connsiteY9" fmla="*/ 45515 h 103637"/>
                <a:gd name="connsiteX10" fmla="*/ 45066 w 57570"/>
                <a:gd name="connsiteY10" fmla="*/ 27404 h 10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7570" h="103637">
                  <a:moveTo>
                    <a:pt x="45066" y="27404"/>
                  </a:moveTo>
                  <a:cubicBezTo>
                    <a:pt x="25902" y="27404"/>
                    <a:pt x="24849" y="41724"/>
                    <a:pt x="20006" y="41724"/>
                  </a:cubicBezTo>
                  <a:cubicBezTo>
                    <a:pt x="24849" y="41724"/>
                    <a:pt x="22954" y="7609"/>
                    <a:pt x="16215" y="7609"/>
                  </a:cubicBezTo>
                  <a:cubicBezTo>
                    <a:pt x="24849" y="7609"/>
                    <a:pt x="0" y="-10712"/>
                    <a:pt x="0" y="9504"/>
                  </a:cubicBezTo>
                  <a:cubicBezTo>
                    <a:pt x="8634" y="27404"/>
                    <a:pt x="2737" y="52254"/>
                    <a:pt x="10529" y="67206"/>
                  </a:cubicBezTo>
                  <a:cubicBezTo>
                    <a:pt x="17268" y="81526"/>
                    <a:pt x="48856" y="103638"/>
                    <a:pt x="36432" y="103638"/>
                  </a:cubicBezTo>
                  <a:cubicBezTo>
                    <a:pt x="48856" y="103638"/>
                    <a:pt x="55595" y="87422"/>
                    <a:pt x="39380" y="87422"/>
                  </a:cubicBezTo>
                  <a:cubicBezTo>
                    <a:pt x="25902" y="73944"/>
                    <a:pt x="22112" y="59414"/>
                    <a:pt x="31588" y="59414"/>
                  </a:cubicBezTo>
                  <a:cubicBezTo>
                    <a:pt x="40222" y="59414"/>
                    <a:pt x="62334" y="80052"/>
                    <a:pt x="56648" y="69101"/>
                  </a:cubicBezTo>
                  <a:cubicBezTo>
                    <a:pt x="56648" y="54781"/>
                    <a:pt x="30746" y="45515"/>
                    <a:pt x="39380" y="45515"/>
                  </a:cubicBezTo>
                  <a:cubicBezTo>
                    <a:pt x="48856" y="45515"/>
                    <a:pt x="57490" y="27404"/>
                    <a:pt x="45066" y="2740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0" name="Forme libre : forme 34">
              <a:extLst>
                <a:ext uri="{FF2B5EF4-FFF2-40B4-BE49-F238E27FC236}">
                  <a16:creationId xmlns:a16="http://schemas.microsoft.com/office/drawing/2014/main" id="{2B1E9AC5-6001-4297-ADF4-9FF66E4EA17D}"/>
                </a:ext>
              </a:extLst>
            </p:cNvPr>
            <p:cNvSpPr/>
            <p:nvPr/>
          </p:nvSpPr>
          <p:spPr>
            <a:xfrm>
              <a:off x="7031226" y="3986433"/>
              <a:ext cx="283552" cy="543935"/>
            </a:xfrm>
            <a:custGeom>
              <a:avLst/>
              <a:gdLst>
                <a:gd name="connsiteX0" fmla="*/ 235018 w 283552"/>
                <a:gd name="connsiteY0" fmla="*/ 5670 h 543935"/>
                <a:gd name="connsiteX1" fmla="*/ 208062 w 283552"/>
                <a:gd name="connsiteY1" fmla="*/ 29677 h 543935"/>
                <a:gd name="connsiteX2" fmla="*/ 180685 w 283552"/>
                <a:gd name="connsiteY2" fmla="*/ 66109 h 543935"/>
                <a:gd name="connsiteX3" fmla="*/ 153309 w 283552"/>
                <a:gd name="connsiteY3" fmla="*/ 108859 h 543935"/>
                <a:gd name="connsiteX4" fmla="*/ 100451 w 283552"/>
                <a:gd name="connsiteY4" fmla="*/ 139605 h 543935"/>
                <a:gd name="connsiteX5" fmla="*/ 37064 w 283552"/>
                <a:gd name="connsiteY5" fmla="*/ 154978 h 543935"/>
                <a:gd name="connsiteX6" fmla="*/ 22112 w 283552"/>
                <a:gd name="connsiteY6" fmla="*/ 190989 h 543935"/>
                <a:gd name="connsiteX7" fmla="*/ 24428 w 283552"/>
                <a:gd name="connsiteY7" fmla="*/ 243426 h 543935"/>
                <a:gd name="connsiteX8" fmla="*/ 42750 w 283552"/>
                <a:gd name="connsiteY8" fmla="*/ 312077 h 543935"/>
                <a:gd name="connsiteX9" fmla="*/ 0 w 283552"/>
                <a:gd name="connsiteY9" fmla="*/ 375044 h 543935"/>
                <a:gd name="connsiteX10" fmla="*/ 14531 w 283552"/>
                <a:gd name="connsiteY10" fmla="*/ 454646 h 543935"/>
                <a:gd name="connsiteX11" fmla="*/ 33694 w 283552"/>
                <a:gd name="connsiteY11" fmla="*/ 508978 h 543935"/>
                <a:gd name="connsiteX12" fmla="*/ 76444 w 283552"/>
                <a:gd name="connsiteY12" fmla="*/ 543936 h 543935"/>
                <a:gd name="connsiteX13" fmla="*/ 128460 w 283552"/>
                <a:gd name="connsiteY13" fmla="*/ 538671 h 543935"/>
                <a:gd name="connsiteX14" fmla="*/ 170156 w 283552"/>
                <a:gd name="connsiteY14" fmla="*/ 504135 h 543935"/>
                <a:gd name="connsiteX15" fmla="*/ 203850 w 283552"/>
                <a:gd name="connsiteY15" fmla="*/ 380729 h 543935"/>
                <a:gd name="connsiteX16" fmla="*/ 234596 w 283552"/>
                <a:gd name="connsiteY16" fmla="*/ 259641 h 543935"/>
                <a:gd name="connsiteX17" fmla="*/ 247021 w 283552"/>
                <a:gd name="connsiteY17" fmla="*/ 188462 h 543935"/>
                <a:gd name="connsiteX18" fmla="*/ 248495 w 283552"/>
                <a:gd name="connsiteY18" fmla="*/ 142764 h 543935"/>
                <a:gd name="connsiteX19" fmla="*/ 268080 w 283552"/>
                <a:gd name="connsiteY19" fmla="*/ 150977 h 543935"/>
                <a:gd name="connsiteX20" fmla="*/ 283453 w 283552"/>
                <a:gd name="connsiteY20" fmla="*/ 115387 h 543935"/>
                <a:gd name="connsiteX21" fmla="*/ 262394 w 283552"/>
                <a:gd name="connsiteY21" fmla="*/ 53895 h 543935"/>
                <a:gd name="connsiteX22" fmla="*/ 235018 w 283552"/>
                <a:gd name="connsiteY22" fmla="*/ 5670 h 543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83552" h="543935">
                  <a:moveTo>
                    <a:pt x="235018" y="5670"/>
                  </a:moveTo>
                  <a:cubicBezTo>
                    <a:pt x="235018" y="-10756"/>
                    <a:pt x="208062" y="11988"/>
                    <a:pt x="208062" y="29677"/>
                  </a:cubicBezTo>
                  <a:cubicBezTo>
                    <a:pt x="208062" y="48420"/>
                    <a:pt x="188898" y="49894"/>
                    <a:pt x="180685" y="66109"/>
                  </a:cubicBezTo>
                  <a:cubicBezTo>
                    <a:pt x="172473" y="82325"/>
                    <a:pt x="168261" y="108859"/>
                    <a:pt x="153309" y="108859"/>
                  </a:cubicBezTo>
                  <a:cubicBezTo>
                    <a:pt x="139410" y="108859"/>
                    <a:pt x="117719" y="139605"/>
                    <a:pt x="100451" y="139605"/>
                  </a:cubicBezTo>
                  <a:cubicBezTo>
                    <a:pt x="88026" y="127180"/>
                    <a:pt x="44856" y="140026"/>
                    <a:pt x="37064" y="154978"/>
                  </a:cubicBezTo>
                  <a:cubicBezTo>
                    <a:pt x="25060" y="167403"/>
                    <a:pt x="22112" y="174563"/>
                    <a:pt x="22112" y="190989"/>
                  </a:cubicBezTo>
                  <a:cubicBezTo>
                    <a:pt x="22112" y="207836"/>
                    <a:pt x="14741" y="224051"/>
                    <a:pt x="24428" y="243426"/>
                  </a:cubicBezTo>
                  <a:cubicBezTo>
                    <a:pt x="24428" y="264063"/>
                    <a:pt x="51805" y="293756"/>
                    <a:pt x="42750" y="312077"/>
                  </a:cubicBezTo>
                  <a:cubicBezTo>
                    <a:pt x="34115" y="329346"/>
                    <a:pt x="0" y="354827"/>
                    <a:pt x="0" y="375044"/>
                  </a:cubicBezTo>
                  <a:cubicBezTo>
                    <a:pt x="0" y="396103"/>
                    <a:pt x="14531" y="436536"/>
                    <a:pt x="14531" y="454646"/>
                  </a:cubicBezTo>
                  <a:cubicBezTo>
                    <a:pt x="14531" y="473389"/>
                    <a:pt x="24218" y="489183"/>
                    <a:pt x="33694" y="508978"/>
                  </a:cubicBezTo>
                  <a:cubicBezTo>
                    <a:pt x="48014" y="523298"/>
                    <a:pt x="64440" y="531511"/>
                    <a:pt x="76444" y="543936"/>
                  </a:cubicBezTo>
                  <a:cubicBezTo>
                    <a:pt x="94133" y="543936"/>
                    <a:pt x="112034" y="538671"/>
                    <a:pt x="128460" y="538671"/>
                  </a:cubicBezTo>
                  <a:cubicBezTo>
                    <a:pt x="144254" y="538671"/>
                    <a:pt x="161101" y="522245"/>
                    <a:pt x="170156" y="504135"/>
                  </a:cubicBezTo>
                  <a:cubicBezTo>
                    <a:pt x="185108" y="489183"/>
                    <a:pt x="203850" y="400946"/>
                    <a:pt x="203850" y="380729"/>
                  </a:cubicBezTo>
                  <a:cubicBezTo>
                    <a:pt x="203850" y="360513"/>
                    <a:pt x="234596" y="279857"/>
                    <a:pt x="234596" y="259641"/>
                  </a:cubicBezTo>
                  <a:cubicBezTo>
                    <a:pt x="234596" y="239003"/>
                    <a:pt x="233122" y="188462"/>
                    <a:pt x="247021" y="188462"/>
                  </a:cubicBezTo>
                  <a:cubicBezTo>
                    <a:pt x="261973" y="188462"/>
                    <a:pt x="256708" y="159611"/>
                    <a:pt x="248495" y="142764"/>
                  </a:cubicBezTo>
                  <a:cubicBezTo>
                    <a:pt x="248495" y="124653"/>
                    <a:pt x="275450" y="150977"/>
                    <a:pt x="268080" y="150977"/>
                  </a:cubicBezTo>
                  <a:cubicBezTo>
                    <a:pt x="285770" y="150977"/>
                    <a:pt x="283453" y="135183"/>
                    <a:pt x="283453" y="115387"/>
                  </a:cubicBezTo>
                  <a:cubicBezTo>
                    <a:pt x="283453" y="96224"/>
                    <a:pt x="262394" y="73691"/>
                    <a:pt x="262394" y="53895"/>
                  </a:cubicBezTo>
                  <a:cubicBezTo>
                    <a:pt x="257551" y="34310"/>
                    <a:pt x="235018" y="17674"/>
                    <a:pt x="235018" y="567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1" name="Forme libre : forme 35">
              <a:extLst>
                <a:ext uri="{FF2B5EF4-FFF2-40B4-BE49-F238E27FC236}">
                  <a16:creationId xmlns:a16="http://schemas.microsoft.com/office/drawing/2014/main" id="{8A44DF32-D86F-4E60-B8F6-6AD9DAEE820A}"/>
                </a:ext>
              </a:extLst>
            </p:cNvPr>
            <p:cNvSpPr/>
            <p:nvPr/>
          </p:nvSpPr>
          <p:spPr>
            <a:xfrm>
              <a:off x="10971556" y="4207747"/>
              <a:ext cx="130966" cy="61138"/>
            </a:xfrm>
            <a:custGeom>
              <a:avLst/>
              <a:gdLst>
                <a:gd name="connsiteX0" fmla="*/ 120249 w 130966"/>
                <a:gd name="connsiteY0" fmla="*/ 5265 h 61138"/>
                <a:gd name="connsiteX1" fmla="*/ 98138 w 130966"/>
                <a:gd name="connsiteY1" fmla="*/ 0 h 61138"/>
                <a:gd name="connsiteX2" fmla="*/ 104877 w 130966"/>
                <a:gd name="connsiteY2" fmla="*/ 24007 h 61138"/>
                <a:gd name="connsiteX3" fmla="*/ 85714 w 130966"/>
                <a:gd name="connsiteY3" fmla="*/ 33062 h 61138"/>
                <a:gd name="connsiteX4" fmla="*/ 38541 w 130966"/>
                <a:gd name="connsiteY4" fmla="*/ 27798 h 61138"/>
                <a:gd name="connsiteX5" fmla="*/ 1056 w 130966"/>
                <a:gd name="connsiteY5" fmla="*/ 19164 h 61138"/>
                <a:gd name="connsiteX6" fmla="*/ 53914 w 130966"/>
                <a:gd name="connsiteY6" fmla="*/ 56227 h 61138"/>
                <a:gd name="connsiteX7" fmla="*/ 101928 w 130966"/>
                <a:gd name="connsiteY7" fmla="*/ 57701 h 61138"/>
                <a:gd name="connsiteX8" fmla="*/ 125936 w 130966"/>
                <a:gd name="connsiteY8" fmla="*/ 37064 h 61138"/>
                <a:gd name="connsiteX9" fmla="*/ 120249 w 130966"/>
                <a:gd name="connsiteY9" fmla="*/ 5265 h 61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0966" h="61138">
                  <a:moveTo>
                    <a:pt x="120249" y="5265"/>
                  </a:moveTo>
                  <a:cubicBezTo>
                    <a:pt x="128884" y="5265"/>
                    <a:pt x="108667" y="0"/>
                    <a:pt x="98138" y="0"/>
                  </a:cubicBezTo>
                  <a:cubicBezTo>
                    <a:pt x="108667" y="0"/>
                    <a:pt x="118355" y="24007"/>
                    <a:pt x="104877" y="24007"/>
                  </a:cubicBezTo>
                  <a:cubicBezTo>
                    <a:pt x="96243" y="14952"/>
                    <a:pt x="90557" y="41275"/>
                    <a:pt x="85714" y="33062"/>
                  </a:cubicBezTo>
                  <a:cubicBezTo>
                    <a:pt x="75184" y="33062"/>
                    <a:pt x="47175" y="27798"/>
                    <a:pt x="38541" y="27798"/>
                  </a:cubicBezTo>
                  <a:cubicBezTo>
                    <a:pt x="28854" y="27798"/>
                    <a:pt x="-6525" y="2738"/>
                    <a:pt x="1056" y="19164"/>
                  </a:cubicBezTo>
                  <a:cubicBezTo>
                    <a:pt x="5899" y="36853"/>
                    <a:pt x="37699" y="56227"/>
                    <a:pt x="53914" y="56227"/>
                  </a:cubicBezTo>
                  <a:cubicBezTo>
                    <a:pt x="60653" y="70547"/>
                    <a:pt x="97085" y="48014"/>
                    <a:pt x="101928" y="57701"/>
                  </a:cubicBezTo>
                  <a:cubicBezTo>
                    <a:pt x="113510" y="57701"/>
                    <a:pt x="135623" y="37064"/>
                    <a:pt x="125936" y="37064"/>
                  </a:cubicBezTo>
                  <a:cubicBezTo>
                    <a:pt x="136676" y="36853"/>
                    <a:pt x="128041" y="5265"/>
                    <a:pt x="120249" y="526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2" name="Forme libre : forme 36">
              <a:extLst>
                <a:ext uri="{FF2B5EF4-FFF2-40B4-BE49-F238E27FC236}">
                  <a16:creationId xmlns:a16="http://schemas.microsoft.com/office/drawing/2014/main" id="{A4DF4B1A-6D0E-4D35-90F6-FC6D36D35F82}"/>
                </a:ext>
              </a:extLst>
            </p:cNvPr>
            <p:cNvSpPr/>
            <p:nvPr/>
          </p:nvSpPr>
          <p:spPr>
            <a:xfrm>
              <a:off x="11184351" y="4273451"/>
              <a:ext cx="58152" cy="53279"/>
            </a:xfrm>
            <a:custGeom>
              <a:avLst/>
              <a:gdLst>
                <a:gd name="connsiteX0" fmla="*/ 2641 w 58152"/>
                <a:gd name="connsiteY0" fmla="*/ 0 h 53279"/>
                <a:gd name="connsiteX1" fmla="*/ 39283 w 58152"/>
                <a:gd name="connsiteY1" fmla="*/ 53279 h 53279"/>
                <a:gd name="connsiteX2" fmla="*/ 51708 w 58152"/>
                <a:gd name="connsiteY2" fmla="*/ 46119 h 53279"/>
                <a:gd name="connsiteX3" fmla="*/ 2641 w 58152"/>
                <a:gd name="connsiteY3" fmla="*/ 0 h 53279"/>
              </a:gdLst>
              <a:ahLst/>
              <a:cxnLst>
                <a:cxn ang="0">
                  <a:pos x="connsiteX0" y="connsiteY0"/>
                </a:cxn>
                <a:cxn ang="0">
                  <a:pos x="connsiteX1" y="connsiteY1"/>
                </a:cxn>
                <a:cxn ang="0">
                  <a:pos x="connsiteX2" y="connsiteY2"/>
                </a:cxn>
                <a:cxn ang="0">
                  <a:pos x="connsiteX3" y="connsiteY3"/>
                </a:cxn>
              </a:cxnLst>
              <a:rect l="l" t="t" r="r" b="b"/>
              <a:pathLst>
                <a:path w="58152" h="53279">
                  <a:moveTo>
                    <a:pt x="2641" y="0"/>
                  </a:moveTo>
                  <a:cubicBezTo>
                    <a:pt x="-13575" y="0"/>
                    <a:pt x="50656" y="53279"/>
                    <a:pt x="39283" y="53279"/>
                  </a:cubicBezTo>
                  <a:cubicBezTo>
                    <a:pt x="51708" y="53279"/>
                    <a:pt x="67081" y="46119"/>
                    <a:pt x="51708" y="46119"/>
                  </a:cubicBezTo>
                  <a:cubicBezTo>
                    <a:pt x="38019" y="46119"/>
                    <a:pt x="9380" y="0"/>
                    <a:pt x="2641"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3" name="Forme libre : forme 37">
              <a:extLst>
                <a:ext uri="{FF2B5EF4-FFF2-40B4-BE49-F238E27FC236}">
                  <a16:creationId xmlns:a16="http://schemas.microsoft.com/office/drawing/2014/main" id="{606050DB-6ACF-4EFB-8F3B-D4AF100746C0}"/>
                </a:ext>
              </a:extLst>
            </p:cNvPr>
            <p:cNvSpPr/>
            <p:nvPr/>
          </p:nvSpPr>
          <p:spPr>
            <a:xfrm>
              <a:off x="11378126" y="4437539"/>
              <a:ext cx="58625" cy="46500"/>
            </a:xfrm>
            <a:custGeom>
              <a:avLst/>
              <a:gdLst>
                <a:gd name="connsiteX0" fmla="*/ 50833 w 58625"/>
                <a:gd name="connsiteY0" fmla="*/ 32391 h 46500"/>
                <a:gd name="connsiteX1" fmla="*/ 20088 w 58625"/>
                <a:gd name="connsiteY1" fmla="*/ 15123 h 46500"/>
                <a:gd name="connsiteX2" fmla="*/ 923 w 58625"/>
                <a:gd name="connsiteY2" fmla="*/ 7331 h 46500"/>
                <a:gd name="connsiteX3" fmla="*/ 29774 w 58625"/>
                <a:gd name="connsiteY3" fmla="*/ 35339 h 46500"/>
                <a:gd name="connsiteX4" fmla="*/ 47884 w 58625"/>
                <a:gd name="connsiteY4" fmla="*/ 46501 h 46500"/>
                <a:gd name="connsiteX5" fmla="*/ 50833 w 58625"/>
                <a:gd name="connsiteY5" fmla="*/ 32391 h 4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625" h="46500">
                  <a:moveTo>
                    <a:pt x="50833" y="32391"/>
                  </a:moveTo>
                  <a:cubicBezTo>
                    <a:pt x="63258" y="32391"/>
                    <a:pt x="23878" y="23336"/>
                    <a:pt x="20088" y="15123"/>
                  </a:cubicBezTo>
                  <a:cubicBezTo>
                    <a:pt x="11453" y="15123"/>
                    <a:pt x="-3920" y="-12885"/>
                    <a:pt x="923" y="7331"/>
                  </a:cubicBezTo>
                  <a:cubicBezTo>
                    <a:pt x="923" y="27126"/>
                    <a:pt x="21982" y="35339"/>
                    <a:pt x="29774" y="35339"/>
                  </a:cubicBezTo>
                  <a:cubicBezTo>
                    <a:pt x="40303" y="35339"/>
                    <a:pt x="40303" y="46501"/>
                    <a:pt x="47884" y="46501"/>
                  </a:cubicBezTo>
                  <a:cubicBezTo>
                    <a:pt x="56730" y="46290"/>
                    <a:pt x="65363" y="46290"/>
                    <a:pt x="50833" y="3239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4" name="Forme libre : forme 38">
              <a:extLst>
                <a:ext uri="{FF2B5EF4-FFF2-40B4-BE49-F238E27FC236}">
                  <a16:creationId xmlns:a16="http://schemas.microsoft.com/office/drawing/2014/main" id="{92B363FA-EF33-4D47-A65D-6120D3DE18C9}"/>
                </a:ext>
              </a:extLst>
            </p:cNvPr>
            <p:cNvSpPr/>
            <p:nvPr/>
          </p:nvSpPr>
          <p:spPr>
            <a:xfrm>
              <a:off x="12046828" y="4905833"/>
              <a:ext cx="51439" cy="38554"/>
            </a:xfrm>
            <a:custGeom>
              <a:avLst/>
              <a:gdLst>
                <a:gd name="connsiteX0" fmla="*/ 18110 w 51439"/>
                <a:gd name="connsiteY0" fmla="*/ 17 h 38554"/>
                <a:gd name="connsiteX1" fmla="*/ 0 w 51439"/>
                <a:gd name="connsiteY1" fmla="*/ 13495 h 38554"/>
                <a:gd name="connsiteX2" fmla="*/ 33483 w 51439"/>
                <a:gd name="connsiteY2" fmla="*/ 38555 h 38554"/>
                <a:gd name="connsiteX3" fmla="*/ 44012 w 51439"/>
                <a:gd name="connsiteY3" fmla="*/ 24656 h 38554"/>
                <a:gd name="connsiteX4" fmla="*/ 18110 w 51439"/>
                <a:gd name="connsiteY4" fmla="*/ 17 h 38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9" h="38554">
                  <a:moveTo>
                    <a:pt x="18110" y="17"/>
                  </a:moveTo>
                  <a:cubicBezTo>
                    <a:pt x="8423" y="17"/>
                    <a:pt x="0" y="-1036"/>
                    <a:pt x="0" y="13495"/>
                  </a:cubicBezTo>
                  <a:cubicBezTo>
                    <a:pt x="6739" y="26341"/>
                    <a:pt x="24849" y="30342"/>
                    <a:pt x="33483" y="38555"/>
                  </a:cubicBezTo>
                  <a:cubicBezTo>
                    <a:pt x="44012" y="38555"/>
                    <a:pt x="61492" y="24656"/>
                    <a:pt x="44012" y="24656"/>
                  </a:cubicBezTo>
                  <a:cubicBezTo>
                    <a:pt x="26744" y="24656"/>
                    <a:pt x="29482" y="17"/>
                    <a:pt x="18110" y="1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5" name="Forme libre : forme 39">
              <a:extLst>
                <a:ext uri="{FF2B5EF4-FFF2-40B4-BE49-F238E27FC236}">
                  <a16:creationId xmlns:a16="http://schemas.microsoft.com/office/drawing/2014/main" id="{2AEF3C72-2FD3-4F2D-AF0C-C49F5ED67D13}"/>
                </a:ext>
              </a:extLst>
            </p:cNvPr>
            <p:cNvSpPr/>
            <p:nvPr/>
          </p:nvSpPr>
          <p:spPr>
            <a:xfrm>
              <a:off x="11650920" y="4899743"/>
              <a:ext cx="121243" cy="104241"/>
            </a:xfrm>
            <a:custGeom>
              <a:avLst/>
              <a:gdLst>
                <a:gd name="connsiteX0" fmla="*/ 0 w 121243"/>
                <a:gd name="connsiteY0" fmla="*/ 0 h 104241"/>
                <a:gd name="connsiteX1" fmla="*/ 46118 w 121243"/>
                <a:gd name="connsiteY1" fmla="*/ 54753 h 104241"/>
                <a:gd name="connsiteX2" fmla="*/ 99819 w 121243"/>
                <a:gd name="connsiteY2" fmla="*/ 104242 h 104241"/>
                <a:gd name="connsiteX3" fmla="*/ 115192 w 121243"/>
                <a:gd name="connsiteY3" fmla="*/ 100030 h 104241"/>
                <a:gd name="connsiteX4" fmla="*/ 43171 w 121243"/>
                <a:gd name="connsiteY4" fmla="*/ 34747 h 104241"/>
                <a:gd name="connsiteX5" fmla="*/ 0 w 121243"/>
                <a:gd name="connsiteY5" fmla="*/ 0 h 10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243" h="104241">
                  <a:moveTo>
                    <a:pt x="0" y="0"/>
                  </a:moveTo>
                  <a:cubicBezTo>
                    <a:pt x="0" y="11582"/>
                    <a:pt x="58754" y="54753"/>
                    <a:pt x="46118" y="54753"/>
                  </a:cubicBezTo>
                  <a:cubicBezTo>
                    <a:pt x="58543" y="54753"/>
                    <a:pt x="89290" y="104242"/>
                    <a:pt x="99819" y="104242"/>
                  </a:cubicBezTo>
                  <a:cubicBezTo>
                    <a:pt x="110559" y="104242"/>
                    <a:pt x="131618" y="100030"/>
                    <a:pt x="115192" y="100030"/>
                  </a:cubicBezTo>
                  <a:cubicBezTo>
                    <a:pt x="107400" y="85078"/>
                    <a:pt x="47803" y="34747"/>
                    <a:pt x="43171" y="34747"/>
                  </a:cubicBezTo>
                  <a:cubicBezTo>
                    <a:pt x="48014" y="34537"/>
                    <a:pt x="8634" y="0"/>
                    <a:pt x="0"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6" name="Forme libre : forme 40">
              <a:extLst>
                <a:ext uri="{FF2B5EF4-FFF2-40B4-BE49-F238E27FC236}">
                  <a16:creationId xmlns:a16="http://schemas.microsoft.com/office/drawing/2014/main" id="{06E70488-BD0C-47CA-9ECC-16E11D1462C9}"/>
                </a:ext>
              </a:extLst>
            </p:cNvPr>
            <p:cNvSpPr/>
            <p:nvPr/>
          </p:nvSpPr>
          <p:spPr>
            <a:xfrm>
              <a:off x="11270115" y="4373309"/>
              <a:ext cx="59516" cy="45027"/>
            </a:xfrm>
            <a:custGeom>
              <a:avLst/>
              <a:gdLst>
                <a:gd name="connsiteX0" fmla="*/ 44494 w 59516"/>
                <a:gd name="connsiteY0" fmla="*/ 20178 h 45027"/>
                <a:gd name="connsiteX1" fmla="*/ 12695 w 59516"/>
                <a:gd name="connsiteY1" fmla="*/ 1435 h 45027"/>
                <a:gd name="connsiteX2" fmla="*/ 14801 w 59516"/>
                <a:gd name="connsiteY2" fmla="*/ 19757 h 45027"/>
                <a:gd name="connsiteX3" fmla="*/ 55023 w 59516"/>
                <a:gd name="connsiteY3" fmla="*/ 45028 h 45027"/>
                <a:gd name="connsiteX4" fmla="*/ 44494 w 59516"/>
                <a:gd name="connsiteY4" fmla="*/ 20178 h 4502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516" h="45027">
                  <a:moveTo>
                    <a:pt x="44494" y="20178"/>
                  </a:moveTo>
                  <a:cubicBezTo>
                    <a:pt x="27225" y="20178"/>
                    <a:pt x="29121" y="1435"/>
                    <a:pt x="12695" y="1435"/>
                  </a:cubicBezTo>
                  <a:cubicBezTo>
                    <a:pt x="-2678" y="1435"/>
                    <a:pt x="-6468" y="-7620"/>
                    <a:pt x="14801" y="19757"/>
                  </a:cubicBezTo>
                  <a:cubicBezTo>
                    <a:pt x="44494" y="34498"/>
                    <a:pt x="44494" y="45028"/>
                    <a:pt x="55023" y="45028"/>
                  </a:cubicBezTo>
                  <a:cubicBezTo>
                    <a:pt x="65764" y="45028"/>
                    <a:pt x="55234" y="41448"/>
                    <a:pt x="44494" y="2017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7" name="Forme libre : forme 41">
              <a:extLst>
                <a:ext uri="{FF2B5EF4-FFF2-40B4-BE49-F238E27FC236}">
                  <a16:creationId xmlns:a16="http://schemas.microsoft.com/office/drawing/2014/main" id="{313A1F7E-3FB0-4DE0-8B66-36AEF4DB4B6B}"/>
                </a:ext>
              </a:extLst>
            </p:cNvPr>
            <p:cNvSpPr/>
            <p:nvPr/>
          </p:nvSpPr>
          <p:spPr>
            <a:xfrm>
              <a:off x="2558335" y="5887691"/>
              <a:ext cx="81662" cy="55941"/>
            </a:xfrm>
            <a:custGeom>
              <a:avLst/>
              <a:gdLst>
                <a:gd name="connsiteX0" fmla="*/ 77263 w 81662"/>
                <a:gd name="connsiteY0" fmla="*/ 6453 h 55941"/>
                <a:gd name="connsiteX1" fmla="*/ 49466 w 81662"/>
                <a:gd name="connsiteY1" fmla="*/ 767 h 55941"/>
                <a:gd name="connsiteX2" fmla="*/ 29670 w 81662"/>
                <a:gd name="connsiteY2" fmla="*/ 14666 h 55941"/>
                <a:gd name="connsiteX3" fmla="*/ 2715 w 81662"/>
                <a:gd name="connsiteY3" fmla="*/ 44359 h 55941"/>
                <a:gd name="connsiteX4" fmla="*/ 8401 w 81662"/>
                <a:gd name="connsiteY4" fmla="*/ 55942 h 55941"/>
                <a:gd name="connsiteX5" fmla="*/ 52625 w 81662"/>
                <a:gd name="connsiteY5" fmla="*/ 35093 h 55941"/>
                <a:gd name="connsiteX6" fmla="*/ 75579 w 81662"/>
                <a:gd name="connsiteY6" fmla="*/ 21616 h 55941"/>
                <a:gd name="connsiteX7" fmla="*/ 77263 w 81662"/>
                <a:gd name="connsiteY7" fmla="*/ 6453 h 55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662" h="55941">
                  <a:moveTo>
                    <a:pt x="77263" y="6453"/>
                  </a:moveTo>
                  <a:cubicBezTo>
                    <a:pt x="68208" y="6453"/>
                    <a:pt x="55152" y="767"/>
                    <a:pt x="49466" y="767"/>
                  </a:cubicBezTo>
                  <a:cubicBezTo>
                    <a:pt x="55573" y="767"/>
                    <a:pt x="34514" y="-4919"/>
                    <a:pt x="29670" y="14666"/>
                  </a:cubicBezTo>
                  <a:cubicBezTo>
                    <a:pt x="17246" y="30881"/>
                    <a:pt x="9875" y="44359"/>
                    <a:pt x="2715" y="44359"/>
                  </a:cubicBezTo>
                  <a:cubicBezTo>
                    <a:pt x="9875" y="44359"/>
                    <a:pt x="-10763" y="55942"/>
                    <a:pt x="8401" y="55942"/>
                  </a:cubicBezTo>
                  <a:cubicBezTo>
                    <a:pt x="27986" y="55942"/>
                    <a:pt x="61680" y="35093"/>
                    <a:pt x="52625" y="35093"/>
                  </a:cubicBezTo>
                  <a:cubicBezTo>
                    <a:pt x="63575" y="35093"/>
                    <a:pt x="85266" y="21616"/>
                    <a:pt x="75579" y="21616"/>
                  </a:cubicBezTo>
                  <a:cubicBezTo>
                    <a:pt x="85266" y="22037"/>
                    <a:pt x="81476" y="-1549"/>
                    <a:pt x="77263" y="645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8" name="Forme libre : forme 42">
              <a:extLst>
                <a:ext uri="{FF2B5EF4-FFF2-40B4-BE49-F238E27FC236}">
                  <a16:creationId xmlns:a16="http://schemas.microsoft.com/office/drawing/2014/main" id="{062A9875-FD34-4BAE-8B37-02ABDEDF4745}"/>
                </a:ext>
              </a:extLst>
            </p:cNvPr>
            <p:cNvSpPr/>
            <p:nvPr/>
          </p:nvSpPr>
          <p:spPr>
            <a:xfrm>
              <a:off x="2500401" y="5892881"/>
              <a:ext cx="79937" cy="49699"/>
            </a:xfrm>
            <a:custGeom>
              <a:avLst/>
              <a:gdLst>
                <a:gd name="connsiteX0" fmla="*/ 57280 w 79937"/>
                <a:gd name="connsiteY0" fmla="*/ 842 h 49699"/>
                <a:gd name="connsiteX1" fmla="*/ 30746 w 79937"/>
                <a:gd name="connsiteY1" fmla="*/ 12003 h 49699"/>
                <a:gd name="connsiteX2" fmla="*/ 22954 w 79937"/>
                <a:gd name="connsiteY2" fmla="*/ 35589 h 49699"/>
                <a:gd name="connsiteX3" fmla="*/ 0 w 79937"/>
                <a:gd name="connsiteY3" fmla="*/ 27798 h 49699"/>
                <a:gd name="connsiteX4" fmla="*/ 13478 w 79937"/>
                <a:gd name="connsiteY4" fmla="*/ 49699 h 49699"/>
                <a:gd name="connsiteX5" fmla="*/ 61071 w 79937"/>
                <a:gd name="connsiteY5" fmla="*/ 22533 h 49699"/>
                <a:gd name="connsiteX6" fmla="*/ 76444 w 79937"/>
                <a:gd name="connsiteY6" fmla="*/ 0 h 49699"/>
                <a:gd name="connsiteX7" fmla="*/ 57280 w 79937"/>
                <a:gd name="connsiteY7" fmla="*/ 842 h 49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9937" h="49699">
                  <a:moveTo>
                    <a:pt x="57280" y="842"/>
                  </a:moveTo>
                  <a:cubicBezTo>
                    <a:pt x="46119" y="842"/>
                    <a:pt x="35589" y="12003"/>
                    <a:pt x="30746" y="12003"/>
                  </a:cubicBezTo>
                  <a:cubicBezTo>
                    <a:pt x="35589" y="12003"/>
                    <a:pt x="30325" y="35589"/>
                    <a:pt x="22954" y="35589"/>
                  </a:cubicBezTo>
                  <a:cubicBezTo>
                    <a:pt x="31167" y="35589"/>
                    <a:pt x="8634" y="27798"/>
                    <a:pt x="0" y="27798"/>
                  </a:cubicBezTo>
                  <a:cubicBezTo>
                    <a:pt x="9055" y="27798"/>
                    <a:pt x="421" y="49699"/>
                    <a:pt x="13478" y="49699"/>
                  </a:cubicBezTo>
                  <a:cubicBezTo>
                    <a:pt x="25481" y="49699"/>
                    <a:pt x="47593" y="22533"/>
                    <a:pt x="61071" y="22533"/>
                  </a:cubicBezTo>
                  <a:cubicBezTo>
                    <a:pt x="74549" y="22533"/>
                    <a:pt x="85920" y="0"/>
                    <a:pt x="76444" y="0"/>
                  </a:cubicBezTo>
                  <a:cubicBezTo>
                    <a:pt x="66967" y="0"/>
                    <a:pt x="64651" y="842"/>
                    <a:pt x="57280" y="84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59" name="Forme libre : forme 43">
              <a:extLst>
                <a:ext uri="{FF2B5EF4-FFF2-40B4-BE49-F238E27FC236}">
                  <a16:creationId xmlns:a16="http://schemas.microsoft.com/office/drawing/2014/main" id="{556656E8-9452-41D4-A435-4DAA4A69156E}"/>
                </a:ext>
              </a:extLst>
            </p:cNvPr>
            <p:cNvSpPr/>
            <p:nvPr/>
          </p:nvSpPr>
          <p:spPr>
            <a:xfrm>
              <a:off x="532656" y="2849026"/>
              <a:ext cx="86169" cy="57755"/>
            </a:xfrm>
            <a:custGeom>
              <a:avLst/>
              <a:gdLst>
                <a:gd name="connsiteX0" fmla="*/ 83393 w 86169"/>
                <a:gd name="connsiteY0" fmla="*/ 3791 h 57755"/>
                <a:gd name="connsiteX1" fmla="*/ 74338 w 86169"/>
                <a:gd name="connsiteY1" fmla="*/ 4212 h 57755"/>
                <a:gd name="connsiteX2" fmla="*/ 75812 w 86169"/>
                <a:gd name="connsiteY2" fmla="*/ 0 h 57755"/>
                <a:gd name="connsiteX3" fmla="*/ 63387 w 86169"/>
                <a:gd name="connsiteY3" fmla="*/ 7160 h 57755"/>
                <a:gd name="connsiteX4" fmla="*/ 40854 w 86169"/>
                <a:gd name="connsiteY4" fmla="*/ 22533 h 57755"/>
                <a:gd name="connsiteX5" fmla="*/ 25481 w 86169"/>
                <a:gd name="connsiteY5" fmla="*/ 31167 h 57755"/>
                <a:gd name="connsiteX6" fmla="*/ 19164 w 86169"/>
                <a:gd name="connsiteY6" fmla="*/ 37064 h 57755"/>
                <a:gd name="connsiteX7" fmla="*/ 1895 w 86169"/>
                <a:gd name="connsiteY7" fmla="*/ 46540 h 57755"/>
                <a:gd name="connsiteX8" fmla="*/ 0 w 86169"/>
                <a:gd name="connsiteY8" fmla="*/ 54753 h 57755"/>
                <a:gd name="connsiteX9" fmla="*/ 11582 w 86169"/>
                <a:gd name="connsiteY9" fmla="*/ 52226 h 57755"/>
                <a:gd name="connsiteX10" fmla="*/ 36011 w 86169"/>
                <a:gd name="connsiteY10" fmla="*/ 39170 h 57755"/>
                <a:gd name="connsiteX11" fmla="*/ 56227 w 86169"/>
                <a:gd name="connsiteY11" fmla="*/ 25692 h 57755"/>
                <a:gd name="connsiteX12" fmla="*/ 67178 w 86169"/>
                <a:gd name="connsiteY12" fmla="*/ 17058 h 57755"/>
                <a:gd name="connsiteX13" fmla="*/ 58965 w 86169"/>
                <a:gd name="connsiteY13" fmla="*/ 17058 h 57755"/>
                <a:gd name="connsiteX14" fmla="*/ 67178 w 86169"/>
                <a:gd name="connsiteY14" fmla="*/ 10319 h 57755"/>
                <a:gd name="connsiteX15" fmla="*/ 83393 w 86169"/>
                <a:gd name="connsiteY15" fmla="*/ 3791 h 57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169" h="57755">
                  <a:moveTo>
                    <a:pt x="83393" y="3791"/>
                  </a:moveTo>
                  <a:cubicBezTo>
                    <a:pt x="92449" y="3791"/>
                    <a:pt x="76654" y="4212"/>
                    <a:pt x="74338" y="4212"/>
                  </a:cubicBezTo>
                  <a:cubicBezTo>
                    <a:pt x="76654" y="4212"/>
                    <a:pt x="79182" y="0"/>
                    <a:pt x="75812" y="0"/>
                  </a:cubicBezTo>
                  <a:cubicBezTo>
                    <a:pt x="79603" y="0"/>
                    <a:pt x="75391" y="7160"/>
                    <a:pt x="63387" y="7160"/>
                  </a:cubicBezTo>
                  <a:cubicBezTo>
                    <a:pt x="51805" y="7160"/>
                    <a:pt x="50963" y="22533"/>
                    <a:pt x="40854" y="22533"/>
                  </a:cubicBezTo>
                  <a:cubicBezTo>
                    <a:pt x="50541" y="22533"/>
                    <a:pt x="31588" y="31167"/>
                    <a:pt x="25481" y="31167"/>
                  </a:cubicBezTo>
                  <a:cubicBezTo>
                    <a:pt x="32220" y="31167"/>
                    <a:pt x="25060" y="37064"/>
                    <a:pt x="19164" y="37064"/>
                  </a:cubicBezTo>
                  <a:cubicBezTo>
                    <a:pt x="24007" y="37064"/>
                    <a:pt x="7581" y="46540"/>
                    <a:pt x="1895" y="46540"/>
                  </a:cubicBezTo>
                  <a:cubicBezTo>
                    <a:pt x="6739" y="46540"/>
                    <a:pt x="3369" y="54753"/>
                    <a:pt x="0" y="54753"/>
                  </a:cubicBezTo>
                  <a:cubicBezTo>
                    <a:pt x="3369" y="54753"/>
                    <a:pt x="6318" y="62966"/>
                    <a:pt x="11582" y="52226"/>
                  </a:cubicBezTo>
                  <a:cubicBezTo>
                    <a:pt x="23165" y="52226"/>
                    <a:pt x="25902" y="39170"/>
                    <a:pt x="36011" y="39170"/>
                  </a:cubicBezTo>
                  <a:cubicBezTo>
                    <a:pt x="45698" y="39170"/>
                    <a:pt x="51805" y="33905"/>
                    <a:pt x="56227" y="25692"/>
                  </a:cubicBezTo>
                  <a:cubicBezTo>
                    <a:pt x="65283" y="25692"/>
                    <a:pt x="70547" y="17058"/>
                    <a:pt x="67178" y="17058"/>
                  </a:cubicBezTo>
                  <a:cubicBezTo>
                    <a:pt x="70126" y="17058"/>
                    <a:pt x="61071" y="17058"/>
                    <a:pt x="58965" y="17058"/>
                  </a:cubicBezTo>
                  <a:cubicBezTo>
                    <a:pt x="61913" y="17058"/>
                    <a:pt x="60018" y="10319"/>
                    <a:pt x="67178" y="10319"/>
                  </a:cubicBezTo>
                  <a:cubicBezTo>
                    <a:pt x="73706" y="10529"/>
                    <a:pt x="88237" y="3791"/>
                    <a:pt x="83393" y="379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0" name="Forme libre : forme 44">
              <a:extLst>
                <a:ext uri="{FF2B5EF4-FFF2-40B4-BE49-F238E27FC236}">
                  <a16:creationId xmlns:a16="http://schemas.microsoft.com/office/drawing/2014/main" id="{98401B9D-2F2D-45DF-A5E6-697E8BE91F62}"/>
                </a:ext>
              </a:extLst>
            </p:cNvPr>
            <p:cNvSpPr/>
            <p:nvPr/>
          </p:nvSpPr>
          <p:spPr>
            <a:xfrm>
              <a:off x="235514" y="1943657"/>
              <a:ext cx="3581489" cy="4209945"/>
            </a:xfrm>
            <a:custGeom>
              <a:avLst/>
              <a:gdLst>
                <a:gd name="connsiteX0" fmla="*/ 1982697 w 3581489"/>
                <a:gd name="connsiteY0" fmla="*/ 3936378 h 4209945"/>
                <a:gd name="connsiteX1" fmla="*/ 1946265 w 3581489"/>
                <a:gd name="connsiteY1" fmla="*/ 3968177 h 4209945"/>
                <a:gd name="connsiteX2" fmla="*/ 1962059 w 3581489"/>
                <a:gd name="connsiteY2" fmla="*/ 4031353 h 4209945"/>
                <a:gd name="connsiteX3" fmla="*/ 1925206 w 3581489"/>
                <a:gd name="connsiteY3" fmla="*/ 4045884 h 4209945"/>
                <a:gd name="connsiteX4" fmla="*/ 1975116 w 3581489"/>
                <a:gd name="connsiteY4" fmla="*/ 4078946 h 4209945"/>
                <a:gd name="connsiteX5" fmla="*/ 2008810 w 3581489"/>
                <a:gd name="connsiteY5" fmla="*/ 4119379 h 4209945"/>
                <a:gd name="connsiteX6" fmla="*/ 2077041 w 3581489"/>
                <a:gd name="connsiteY6" fmla="*/ 4139596 h 4209945"/>
                <a:gd name="connsiteX7" fmla="*/ 2057877 w 3581489"/>
                <a:gd name="connsiteY7" fmla="*/ 4162129 h 4209945"/>
                <a:gd name="connsiteX8" fmla="*/ 2006493 w 3581489"/>
                <a:gd name="connsiteY8" fmla="*/ 4169710 h 4209945"/>
                <a:gd name="connsiteX9" fmla="*/ 1965218 w 3581489"/>
                <a:gd name="connsiteY9" fmla="*/ 4185504 h 4209945"/>
                <a:gd name="connsiteX10" fmla="*/ 1949003 w 3581489"/>
                <a:gd name="connsiteY10" fmla="*/ 4205089 h 4209945"/>
                <a:gd name="connsiteX11" fmla="*/ 1914466 w 3581489"/>
                <a:gd name="connsiteY11" fmla="*/ 4198350 h 4209945"/>
                <a:gd name="connsiteX12" fmla="*/ 1876981 w 3581489"/>
                <a:gd name="connsiteY12" fmla="*/ 4188242 h 4209945"/>
                <a:gd name="connsiteX13" fmla="*/ 1834653 w 3581489"/>
                <a:gd name="connsiteY13" fmla="*/ 4175817 h 4209945"/>
                <a:gd name="connsiteX14" fmla="*/ 1795272 w 3581489"/>
                <a:gd name="connsiteY14" fmla="*/ 4157075 h 4209945"/>
                <a:gd name="connsiteX15" fmla="*/ 1763684 w 3581489"/>
                <a:gd name="connsiteY15" fmla="*/ 4136858 h 4209945"/>
                <a:gd name="connsiteX16" fmla="*/ 1738203 w 3581489"/>
                <a:gd name="connsiteY16" fmla="*/ 4118748 h 4209945"/>
                <a:gd name="connsiteX17" fmla="*/ 1718618 w 3581489"/>
                <a:gd name="connsiteY17" fmla="*/ 4101058 h 4209945"/>
                <a:gd name="connsiteX18" fmla="*/ 1745995 w 3581489"/>
                <a:gd name="connsiteY18" fmla="*/ 4090950 h 4209945"/>
                <a:gd name="connsiteX19" fmla="*/ 1702192 w 3581489"/>
                <a:gd name="connsiteY19" fmla="*/ 4058309 h 4209945"/>
                <a:gd name="connsiteX20" fmla="*/ 1733359 w 3581489"/>
                <a:gd name="connsiteY20" fmla="*/ 4040408 h 4209945"/>
                <a:gd name="connsiteX21" fmla="*/ 1751049 w 3581489"/>
                <a:gd name="connsiteY21" fmla="*/ 4024614 h 4209945"/>
                <a:gd name="connsiteX22" fmla="*/ 1703877 w 3581489"/>
                <a:gd name="connsiteY22" fmla="*/ 4025667 h 4209945"/>
                <a:gd name="connsiteX23" fmla="*/ 1727042 w 3581489"/>
                <a:gd name="connsiteY23" fmla="*/ 3976179 h 4209945"/>
                <a:gd name="connsiteX24" fmla="*/ 1706825 w 3581489"/>
                <a:gd name="connsiteY24" fmla="*/ 3989657 h 4209945"/>
                <a:gd name="connsiteX25" fmla="*/ 1691452 w 3581489"/>
                <a:gd name="connsiteY25" fmla="*/ 3991552 h 4209945"/>
                <a:gd name="connsiteX26" fmla="*/ 1694400 w 3581489"/>
                <a:gd name="connsiteY26" fmla="*/ 3943959 h 4209945"/>
                <a:gd name="connsiteX27" fmla="*/ 1707878 w 3581489"/>
                <a:gd name="connsiteY27" fmla="*/ 3887310 h 4209945"/>
                <a:gd name="connsiteX28" fmla="*/ 1725568 w 3581489"/>
                <a:gd name="connsiteY28" fmla="*/ 3846877 h 4209945"/>
                <a:gd name="connsiteX29" fmla="*/ 1767685 w 3581489"/>
                <a:gd name="connsiteY29" fmla="*/ 3811288 h 4209945"/>
                <a:gd name="connsiteX30" fmla="*/ 1725989 w 3581489"/>
                <a:gd name="connsiteY30" fmla="*/ 3808971 h 4209945"/>
                <a:gd name="connsiteX31" fmla="*/ 1736518 w 3581489"/>
                <a:gd name="connsiteY31" fmla="*/ 3776751 h 4209945"/>
                <a:gd name="connsiteX32" fmla="*/ 1776319 w 3581489"/>
                <a:gd name="connsiteY32" fmla="*/ 3711890 h 4209945"/>
                <a:gd name="connsiteX33" fmla="*/ 1794009 w 3581489"/>
                <a:gd name="connsiteY33" fmla="*/ 3662401 h 4209945"/>
                <a:gd name="connsiteX34" fmla="*/ 1801169 w 3581489"/>
                <a:gd name="connsiteY34" fmla="*/ 3738845 h 4209945"/>
                <a:gd name="connsiteX35" fmla="*/ 1832336 w 3581489"/>
                <a:gd name="connsiteY35" fmla="*/ 3662822 h 4209945"/>
                <a:gd name="connsiteX36" fmla="*/ 1851500 w 3581489"/>
                <a:gd name="connsiteY36" fmla="*/ 3590380 h 4209945"/>
                <a:gd name="connsiteX37" fmla="*/ 1865399 w 3581489"/>
                <a:gd name="connsiteY37" fmla="*/ 3544261 h 4209945"/>
                <a:gd name="connsiteX38" fmla="*/ 1824123 w 3581489"/>
                <a:gd name="connsiteY38" fmla="*/ 3616703 h 4209945"/>
                <a:gd name="connsiteX39" fmla="*/ 1787691 w 3581489"/>
                <a:gd name="connsiteY39" fmla="*/ 3630602 h 4209945"/>
                <a:gd name="connsiteX40" fmla="*/ 1822860 w 3581489"/>
                <a:gd name="connsiteY40" fmla="*/ 3556264 h 4209945"/>
                <a:gd name="connsiteX41" fmla="*/ 1835284 w 3581489"/>
                <a:gd name="connsiteY41" fmla="*/ 3489508 h 4209945"/>
                <a:gd name="connsiteX42" fmla="*/ 1860345 w 3581489"/>
                <a:gd name="connsiteY42" fmla="*/ 3425067 h 4209945"/>
                <a:gd name="connsiteX43" fmla="*/ 1860766 w 3581489"/>
                <a:gd name="connsiteY43" fmla="*/ 3362101 h 4209945"/>
                <a:gd name="connsiteX44" fmla="*/ 1887721 w 3581489"/>
                <a:gd name="connsiteY44" fmla="*/ 3320405 h 4209945"/>
                <a:gd name="connsiteX45" fmla="*/ 1928575 w 3581489"/>
                <a:gd name="connsiteY45" fmla="*/ 3246488 h 4209945"/>
                <a:gd name="connsiteX46" fmla="*/ 1965639 w 3581489"/>
                <a:gd name="connsiteY46" fmla="*/ 3171097 h 4209945"/>
                <a:gd name="connsiteX47" fmla="*/ 1986277 w 3581489"/>
                <a:gd name="connsiteY47" fmla="*/ 3034214 h 4209945"/>
                <a:gd name="connsiteX48" fmla="*/ 2000176 w 3581489"/>
                <a:gd name="connsiteY48" fmla="*/ 3022210 h 4209945"/>
                <a:gd name="connsiteX49" fmla="*/ 2009863 w 3581489"/>
                <a:gd name="connsiteY49" fmla="*/ 2976091 h 4209945"/>
                <a:gd name="connsiteX50" fmla="*/ 2033449 w 3581489"/>
                <a:gd name="connsiteY50" fmla="*/ 2912704 h 4209945"/>
                <a:gd name="connsiteX51" fmla="*/ 2058509 w 3581489"/>
                <a:gd name="connsiteY51" fmla="*/ 2847000 h 4209945"/>
                <a:gd name="connsiteX52" fmla="*/ 2072829 w 3581489"/>
                <a:gd name="connsiteY52" fmla="*/ 2798986 h 4209945"/>
                <a:gd name="connsiteX53" fmla="*/ 2081042 w 3581489"/>
                <a:gd name="connsiteY53" fmla="*/ 2731176 h 4209945"/>
                <a:gd name="connsiteX54" fmla="*/ 2096836 w 3581489"/>
                <a:gd name="connsiteY54" fmla="*/ 2711591 h 4209945"/>
                <a:gd name="connsiteX55" fmla="*/ 2114526 w 3581489"/>
                <a:gd name="connsiteY55" fmla="*/ 2647151 h 4209945"/>
                <a:gd name="connsiteX56" fmla="*/ 2125055 w 3581489"/>
                <a:gd name="connsiteY56" fmla="*/ 2536171 h 4209945"/>
                <a:gd name="connsiteX57" fmla="*/ 2090097 w 3581489"/>
                <a:gd name="connsiteY57" fmla="*/ 2496369 h 4209945"/>
                <a:gd name="connsiteX58" fmla="*/ 2051770 w 3581489"/>
                <a:gd name="connsiteY58" fmla="*/ 2466466 h 4209945"/>
                <a:gd name="connsiteX59" fmla="*/ 1982065 w 3581489"/>
                <a:gd name="connsiteY59" fmla="*/ 2437615 h 4209945"/>
                <a:gd name="connsiteX60" fmla="*/ 1949845 w 3581489"/>
                <a:gd name="connsiteY60" fmla="*/ 2410239 h 4209945"/>
                <a:gd name="connsiteX61" fmla="*/ 1943527 w 3581489"/>
                <a:gd name="connsiteY61" fmla="*/ 2369384 h 4209945"/>
                <a:gd name="connsiteX62" fmla="*/ 1927733 w 3581489"/>
                <a:gd name="connsiteY62" fmla="*/ 2308945 h 4209945"/>
                <a:gd name="connsiteX63" fmla="*/ 1888774 w 3581489"/>
                <a:gd name="connsiteY63" fmla="*/ 2198596 h 4209945"/>
                <a:gd name="connsiteX64" fmla="*/ 1859502 w 3581489"/>
                <a:gd name="connsiteY64" fmla="*/ 2135209 h 4209945"/>
                <a:gd name="connsiteX65" fmla="*/ 1828335 w 3581489"/>
                <a:gd name="connsiteY65" fmla="*/ 2114571 h 4209945"/>
                <a:gd name="connsiteX66" fmla="*/ 1836127 w 3581489"/>
                <a:gd name="connsiteY66" fmla="*/ 2082351 h 4209945"/>
                <a:gd name="connsiteX67" fmla="*/ 1841392 w 3581489"/>
                <a:gd name="connsiteY67" fmla="*/ 2046762 h 4209945"/>
                <a:gd name="connsiteX68" fmla="*/ 1888563 w 3581489"/>
                <a:gd name="connsiteY68" fmla="*/ 2007803 h 4209945"/>
                <a:gd name="connsiteX69" fmla="*/ 1872348 w 3581489"/>
                <a:gd name="connsiteY69" fmla="*/ 1975582 h 4209945"/>
                <a:gd name="connsiteX70" fmla="*/ 1883930 w 3581489"/>
                <a:gd name="connsiteY70" fmla="*/ 1931359 h 4209945"/>
                <a:gd name="connsiteX71" fmla="*/ 1908991 w 3581489"/>
                <a:gd name="connsiteY71" fmla="*/ 1900613 h 4209945"/>
                <a:gd name="connsiteX72" fmla="*/ 1922468 w 3581489"/>
                <a:gd name="connsiteY72" fmla="*/ 1869867 h 4209945"/>
                <a:gd name="connsiteX73" fmla="*/ 1961849 w 3581489"/>
                <a:gd name="connsiteY73" fmla="*/ 1847755 h 4209945"/>
                <a:gd name="connsiteX74" fmla="*/ 1997438 w 3581489"/>
                <a:gd name="connsiteY74" fmla="*/ 1798266 h 4209945"/>
                <a:gd name="connsiteX75" fmla="*/ 2035344 w 3581489"/>
                <a:gd name="connsiteY75" fmla="*/ 1773206 h 4209945"/>
                <a:gd name="connsiteX76" fmla="*/ 2047348 w 3581489"/>
                <a:gd name="connsiteY76" fmla="*/ 1728140 h 4209945"/>
                <a:gd name="connsiteX77" fmla="*/ 2061668 w 3581489"/>
                <a:gd name="connsiteY77" fmla="*/ 1692551 h 4209945"/>
                <a:gd name="connsiteX78" fmla="*/ 2067354 w 3581489"/>
                <a:gd name="connsiteY78" fmla="*/ 1655908 h 4209945"/>
                <a:gd name="connsiteX79" fmla="*/ 2051981 w 3581489"/>
                <a:gd name="connsiteY79" fmla="*/ 1620950 h 4209945"/>
                <a:gd name="connsiteX80" fmla="*/ 2050928 w 3581489"/>
                <a:gd name="connsiteY80" fmla="*/ 1593153 h 4209945"/>
                <a:gd name="connsiteX81" fmla="*/ 2020182 w 3581489"/>
                <a:gd name="connsiteY81" fmla="*/ 1588941 h 4209945"/>
                <a:gd name="connsiteX82" fmla="*/ 1977853 w 3581489"/>
                <a:gd name="connsiteY82" fmla="*/ 1624530 h 4209945"/>
                <a:gd name="connsiteX83" fmla="*/ 1990910 w 3581489"/>
                <a:gd name="connsiteY83" fmla="*/ 1646221 h 4209945"/>
                <a:gd name="connsiteX84" fmla="*/ 1951108 w 3581489"/>
                <a:gd name="connsiteY84" fmla="*/ 1651065 h 4209945"/>
                <a:gd name="connsiteX85" fmla="*/ 1935735 w 3581489"/>
                <a:gd name="connsiteY85" fmla="*/ 1639904 h 4209945"/>
                <a:gd name="connsiteX86" fmla="*/ 1914045 w 3581489"/>
                <a:gd name="connsiteY86" fmla="*/ 1633586 h 4209945"/>
                <a:gd name="connsiteX87" fmla="*/ 1890459 w 3581489"/>
                <a:gd name="connsiteY87" fmla="*/ 1632743 h 4209945"/>
                <a:gd name="connsiteX88" fmla="*/ 1871716 w 3581489"/>
                <a:gd name="connsiteY88" fmla="*/ 1631691 h 4209945"/>
                <a:gd name="connsiteX89" fmla="*/ 1867505 w 3581489"/>
                <a:gd name="connsiteY89" fmla="*/ 1608736 h 4209945"/>
                <a:gd name="connsiteX90" fmla="*/ 1845393 w 3581489"/>
                <a:gd name="connsiteY90" fmla="*/ 1597154 h 4209945"/>
                <a:gd name="connsiteX91" fmla="*/ 1820333 w 3581489"/>
                <a:gd name="connsiteY91" fmla="*/ 1607262 h 4209945"/>
                <a:gd name="connsiteX92" fmla="*/ 1807908 w 3581489"/>
                <a:gd name="connsiteY92" fmla="*/ 1586203 h 4209945"/>
                <a:gd name="connsiteX93" fmla="*/ 1809803 w 3581489"/>
                <a:gd name="connsiteY93" fmla="*/ 1549561 h 4209945"/>
                <a:gd name="connsiteX94" fmla="*/ 1772739 w 3581489"/>
                <a:gd name="connsiteY94" fmla="*/ 1514603 h 4209945"/>
                <a:gd name="connsiteX95" fmla="*/ 1741151 w 3581489"/>
                <a:gd name="connsiteY95" fmla="*/ 1512708 h 4209945"/>
                <a:gd name="connsiteX96" fmla="*/ 1691663 w 3581489"/>
                <a:gd name="connsiteY96" fmla="*/ 1505548 h 4209945"/>
                <a:gd name="connsiteX97" fmla="*/ 1644069 w 3581489"/>
                <a:gd name="connsiteY97" fmla="*/ 1508496 h 4209945"/>
                <a:gd name="connsiteX98" fmla="*/ 1613323 w 3581489"/>
                <a:gd name="connsiteY98" fmla="*/ 1476276 h 4209945"/>
                <a:gd name="connsiteX99" fmla="*/ 1562361 w 3581489"/>
                <a:gd name="connsiteY99" fmla="*/ 1468694 h 4209945"/>
                <a:gd name="connsiteX100" fmla="*/ 1486549 w 3581489"/>
                <a:gd name="connsiteY100" fmla="*/ 1496914 h 4209945"/>
                <a:gd name="connsiteX101" fmla="*/ 1419792 w 3581489"/>
                <a:gd name="connsiteY101" fmla="*/ 1485752 h 4209945"/>
                <a:gd name="connsiteX102" fmla="*/ 1366513 w 3581489"/>
                <a:gd name="connsiteY102" fmla="*/ 1483436 h 4209945"/>
                <a:gd name="connsiteX103" fmla="*/ 1344822 w 3581489"/>
                <a:gd name="connsiteY103" fmla="*/ 1468063 h 4209945"/>
                <a:gd name="connsiteX104" fmla="*/ 1313655 w 3581489"/>
                <a:gd name="connsiteY104" fmla="*/ 1470379 h 4209945"/>
                <a:gd name="connsiteX105" fmla="*/ 1289648 w 3581489"/>
                <a:gd name="connsiteY105" fmla="*/ 1457955 h 4209945"/>
                <a:gd name="connsiteX106" fmla="*/ 1255954 w 3581489"/>
                <a:gd name="connsiteY106" fmla="*/ 1447425 h 4209945"/>
                <a:gd name="connsiteX107" fmla="*/ 1242055 w 3581489"/>
                <a:gd name="connsiteY107" fmla="*/ 1425734 h 4209945"/>
                <a:gd name="connsiteX108" fmla="*/ 1268379 w 3581489"/>
                <a:gd name="connsiteY108" fmla="*/ 1399411 h 4209945"/>
                <a:gd name="connsiteX109" fmla="*/ 1268800 w 3581489"/>
                <a:gd name="connsiteY109" fmla="*/ 1365716 h 4209945"/>
                <a:gd name="connsiteX110" fmla="*/ 1257217 w 3581489"/>
                <a:gd name="connsiteY110" fmla="*/ 1339814 h 4209945"/>
                <a:gd name="connsiteX111" fmla="*/ 1224576 w 3581489"/>
                <a:gd name="connsiteY111" fmla="*/ 1319597 h 4209945"/>
                <a:gd name="connsiteX112" fmla="*/ 1209624 w 3581489"/>
                <a:gd name="connsiteY112" fmla="*/ 1308015 h 4209945"/>
                <a:gd name="connsiteX113" fmla="*/ 1191303 w 3581489"/>
                <a:gd name="connsiteY113" fmla="*/ 1294958 h 4209945"/>
                <a:gd name="connsiteX114" fmla="*/ 1198042 w 3581489"/>
                <a:gd name="connsiteY114" fmla="*/ 1273268 h 4209945"/>
                <a:gd name="connsiteX115" fmla="*/ 1179720 w 3581489"/>
                <a:gd name="connsiteY115" fmla="*/ 1269477 h 4209945"/>
                <a:gd name="connsiteX116" fmla="*/ 1170033 w 3581489"/>
                <a:gd name="connsiteY116" fmla="*/ 1255157 h 4209945"/>
                <a:gd name="connsiteX117" fmla="*/ 1142235 w 3581489"/>
                <a:gd name="connsiteY117" fmla="*/ 1242732 h 4209945"/>
                <a:gd name="connsiteX118" fmla="*/ 1130653 w 3581489"/>
                <a:gd name="connsiteY118" fmla="*/ 1209038 h 4209945"/>
                <a:gd name="connsiteX119" fmla="*/ 1126231 w 3581489"/>
                <a:gd name="connsiteY119" fmla="*/ 1186084 h 4209945"/>
                <a:gd name="connsiteX120" fmla="*/ 1101802 w 3581489"/>
                <a:gd name="connsiteY120" fmla="*/ 1181240 h 4209945"/>
                <a:gd name="connsiteX121" fmla="*/ 1080112 w 3581489"/>
                <a:gd name="connsiteY121" fmla="*/ 1194297 h 4209945"/>
                <a:gd name="connsiteX122" fmla="*/ 1076742 w 3581489"/>
                <a:gd name="connsiteY122" fmla="*/ 1222095 h 4209945"/>
                <a:gd name="connsiteX123" fmla="*/ 1094432 w 3581489"/>
                <a:gd name="connsiteY123" fmla="*/ 1244207 h 4209945"/>
                <a:gd name="connsiteX124" fmla="*/ 1108752 w 3581489"/>
                <a:gd name="connsiteY124" fmla="*/ 1266318 h 4209945"/>
                <a:gd name="connsiteX125" fmla="*/ 1124125 w 3581489"/>
                <a:gd name="connsiteY125" fmla="*/ 1297907 h 4209945"/>
                <a:gd name="connsiteX126" fmla="*/ 1132338 w 3581489"/>
                <a:gd name="connsiteY126" fmla="*/ 1334970 h 4209945"/>
                <a:gd name="connsiteX127" fmla="*/ 1139498 w 3581489"/>
                <a:gd name="connsiteY127" fmla="*/ 1355187 h 4209945"/>
                <a:gd name="connsiteX128" fmla="*/ 1161610 w 3581489"/>
                <a:gd name="connsiteY128" fmla="*/ 1364874 h 4209945"/>
                <a:gd name="connsiteX129" fmla="*/ 1139498 w 3581489"/>
                <a:gd name="connsiteY129" fmla="*/ 1387407 h 4209945"/>
                <a:gd name="connsiteX130" fmla="*/ 1122230 w 3581489"/>
                <a:gd name="connsiteY130" fmla="*/ 1362979 h 4209945"/>
                <a:gd name="connsiteX131" fmla="*/ 1088114 w 3581489"/>
                <a:gd name="connsiteY131" fmla="*/ 1349922 h 4209945"/>
                <a:gd name="connsiteX132" fmla="*/ 1101592 w 3581489"/>
                <a:gd name="connsiteY132" fmla="*/ 1314754 h 4209945"/>
                <a:gd name="connsiteX133" fmla="*/ 1076532 w 3581489"/>
                <a:gd name="connsiteY133" fmla="*/ 1302750 h 4209945"/>
                <a:gd name="connsiteX134" fmla="*/ 1039047 w 3581489"/>
                <a:gd name="connsiteY134" fmla="*/ 1294537 h 4209945"/>
                <a:gd name="connsiteX135" fmla="*/ 1062633 w 3581489"/>
                <a:gd name="connsiteY135" fmla="*/ 1278322 h 4209945"/>
                <a:gd name="connsiteX136" fmla="*/ 1067476 w 3581489"/>
                <a:gd name="connsiteY136" fmla="*/ 1255368 h 4209945"/>
                <a:gd name="connsiteX137" fmla="*/ 1041153 w 3581489"/>
                <a:gd name="connsiteY137" fmla="*/ 1238099 h 4209945"/>
                <a:gd name="connsiteX138" fmla="*/ 1035888 w 3581489"/>
                <a:gd name="connsiteY138" fmla="*/ 1215145 h 4209945"/>
                <a:gd name="connsiteX139" fmla="*/ 1024937 w 3581489"/>
                <a:gd name="connsiteY139" fmla="*/ 1182504 h 4209945"/>
                <a:gd name="connsiteX140" fmla="*/ 1021568 w 3581489"/>
                <a:gd name="connsiteY140" fmla="*/ 1162287 h 4209945"/>
                <a:gd name="connsiteX141" fmla="*/ 999877 w 3581489"/>
                <a:gd name="connsiteY141" fmla="*/ 1159339 h 4209945"/>
                <a:gd name="connsiteX142" fmla="*/ 975870 w 3581489"/>
                <a:gd name="connsiteY142" fmla="*/ 1157023 h 4209945"/>
                <a:gd name="connsiteX143" fmla="*/ 947019 w 3581489"/>
                <a:gd name="connsiteY143" fmla="*/ 1157444 h 4209945"/>
                <a:gd name="connsiteX144" fmla="*/ 945545 w 3581489"/>
                <a:gd name="connsiteY144" fmla="*/ 1142492 h 4209945"/>
                <a:gd name="connsiteX145" fmla="*/ 928698 w 3581489"/>
                <a:gd name="connsiteY145" fmla="*/ 1120380 h 4209945"/>
                <a:gd name="connsiteX146" fmla="*/ 928277 w 3581489"/>
                <a:gd name="connsiteY146" fmla="*/ 1107955 h 4209945"/>
                <a:gd name="connsiteX147" fmla="*/ 926803 w 3581489"/>
                <a:gd name="connsiteY147" fmla="*/ 1092161 h 4209945"/>
                <a:gd name="connsiteX148" fmla="*/ 910377 w 3581489"/>
                <a:gd name="connsiteY148" fmla="*/ 1080579 h 4209945"/>
                <a:gd name="connsiteX149" fmla="*/ 907429 w 3581489"/>
                <a:gd name="connsiteY149" fmla="*/ 1067522 h 4209945"/>
                <a:gd name="connsiteX150" fmla="*/ 904059 w 3581489"/>
                <a:gd name="connsiteY150" fmla="*/ 1051728 h 4209945"/>
                <a:gd name="connsiteX151" fmla="*/ 908271 w 3581489"/>
                <a:gd name="connsiteY151" fmla="*/ 1035934 h 4209945"/>
                <a:gd name="connsiteX152" fmla="*/ 925118 w 3581489"/>
                <a:gd name="connsiteY152" fmla="*/ 1009610 h 4209945"/>
                <a:gd name="connsiteX153" fmla="*/ 934384 w 3581489"/>
                <a:gd name="connsiteY153" fmla="*/ 981181 h 4209945"/>
                <a:gd name="connsiteX154" fmla="*/ 962603 w 3581489"/>
                <a:gd name="connsiteY154" fmla="*/ 947065 h 4209945"/>
                <a:gd name="connsiteX155" fmla="*/ 988084 w 3581489"/>
                <a:gd name="connsiteY155" fmla="*/ 897156 h 4209945"/>
                <a:gd name="connsiteX156" fmla="*/ 988505 w 3581489"/>
                <a:gd name="connsiteY156" fmla="*/ 868726 h 4209945"/>
                <a:gd name="connsiteX157" fmla="*/ 1013987 w 3581489"/>
                <a:gd name="connsiteY157" fmla="*/ 861145 h 4209945"/>
                <a:gd name="connsiteX158" fmla="*/ 1052525 w 3581489"/>
                <a:gd name="connsiteY158" fmla="*/ 848720 h 4209945"/>
                <a:gd name="connsiteX159" fmla="*/ 1050208 w 3581489"/>
                <a:gd name="connsiteY159" fmla="*/ 831452 h 4209945"/>
                <a:gd name="connsiteX160" fmla="*/ 1015672 w 3581489"/>
                <a:gd name="connsiteY160" fmla="*/ 829557 h 4209945"/>
                <a:gd name="connsiteX161" fmla="*/ 997350 w 3581489"/>
                <a:gd name="connsiteY161" fmla="*/ 829557 h 4209945"/>
                <a:gd name="connsiteX162" fmla="*/ 1022410 w 3581489"/>
                <a:gd name="connsiteY162" fmla="*/ 841139 h 4209945"/>
                <a:gd name="connsiteX163" fmla="*/ 1028728 w 3581489"/>
                <a:gd name="connsiteY163" fmla="*/ 848931 h 4209945"/>
                <a:gd name="connsiteX164" fmla="*/ 977765 w 3581489"/>
                <a:gd name="connsiteY164" fmla="*/ 856512 h 4209945"/>
                <a:gd name="connsiteX165" fmla="*/ 918169 w 3581489"/>
                <a:gd name="connsiteY165" fmla="*/ 845983 h 4209945"/>
                <a:gd name="connsiteX166" fmla="*/ 938385 w 3581489"/>
                <a:gd name="connsiteY166" fmla="*/ 833979 h 4209945"/>
                <a:gd name="connsiteX167" fmla="*/ 962814 w 3581489"/>
                <a:gd name="connsiteY167" fmla="*/ 829557 h 4209945"/>
                <a:gd name="connsiteX168" fmla="*/ 940702 w 3581489"/>
                <a:gd name="connsiteY168" fmla="*/ 819448 h 4209945"/>
                <a:gd name="connsiteX169" fmla="*/ 907218 w 3581489"/>
                <a:gd name="connsiteY169" fmla="*/ 810814 h 4209945"/>
                <a:gd name="connsiteX170" fmla="*/ 889529 w 3581489"/>
                <a:gd name="connsiteY170" fmla="*/ 796915 h 4209945"/>
                <a:gd name="connsiteX171" fmla="*/ 887633 w 3581489"/>
                <a:gd name="connsiteY171" fmla="*/ 781964 h 4209945"/>
                <a:gd name="connsiteX172" fmla="*/ 838145 w 3581489"/>
                <a:gd name="connsiteY172" fmla="*/ 797336 h 4209945"/>
                <a:gd name="connsiteX173" fmla="*/ 827615 w 3581489"/>
                <a:gd name="connsiteY173" fmla="*/ 784912 h 4209945"/>
                <a:gd name="connsiteX174" fmla="*/ 820876 w 3581489"/>
                <a:gd name="connsiteY174" fmla="*/ 778805 h 4209945"/>
                <a:gd name="connsiteX175" fmla="*/ 797922 w 3581489"/>
                <a:gd name="connsiteY175" fmla="*/ 782174 h 4209945"/>
                <a:gd name="connsiteX176" fmla="*/ 788235 w 3581489"/>
                <a:gd name="connsiteY176" fmla="*/ 772908 h 4209945"/>
                <a:gd name="connsiteX177" fmla="*/ 774336 w 3581489"/>
                <a:gd name="connsiteY177" fmla="*/ 765748 h 4209945"/>
                <a:gd name="connsiteX178" fmla="*/ 753067 w 3581489"/>
                <a:gd name="connsiteY178" fmla="*/ 764274 h 4209945"/>
                <a:gd name="connsiteX179" fmla="*/ 715161 w 3581489"/>
                <a:gd name="connsiteY179" fmla="*/ 766169 h 4209945"/>
                <a:gd name="connsiteX180" fmla="*/ 717898 w 3581489"/>
                <a:gd name="connsiteY180" fmla="*/ 757114 h 4209945"/>
                <a:gd name="connsiteX181" fmla="*/ 685257 w 3581489"/>
                <a:gd name="connsiteY181" fmla="*/ 770170 h 4209945"/>
                <a:gd name="connsiteX182" fmla="*/ 651142 w 3581489"/>
                <a:gd name="connsiteY182" fmla="*/ 778383 h 4209945"/>
                <a:gd name="connsiteX183" fmla="*/ 618921 w 3581489"/>
                <a:gd name="connsiteY183" fmla="*/ 790808 h 4209945"/>
                <a:gd name="connsiteX184" fmla="*/ 593440 w 3581489"/>
                <a:gd name="connsiteY184" fmla="*/ 798389 h 4209945"/>
                <a:gd name="connsiteX185" fmla="*/ 571328 w 3581489"/>
                <a:gd name="connsiteY185" fmla="*/ 805971 h 4209945"/>
                <a:gd name="connsiteX186" fmla="*/ 543952 w 3581489"/>
                <a:gd name="connsiteY186" fmla="*/ 815658 h 4209945"/>
                <a:gd name="connsiteX187" fmla="*/ 542478 w 3581489"/>
                <a:gd name="connsiteY187" fmla="*/ 813341 h 4209945"/>
                <a:gd name="connsiteX188" fmla="*/ 544373 w 3581489"/>
                <a:gd name="connsiteY188" fmla="*/ 806181 h 4209945"/>
                <a:gd name="connsiteX189" fmla="*/ 514048 w 3581489"/>
                <a:gd name="connsiteY189" fmla="*/ 817764 h 4209945"/>
                <a:gd name="connsiteX190" fmla="*/ 507309 w 3581489"/>
                <a:gd name="connsiteY190" fmla="*/ 830820 h 4209945"/>
                <a:gd name="connsiteX191" fmla="*/ 479933 w 3581489"/>
                <a:gd name="connsiteY191" fmla="*/ 845772 h 4209945"/>
                <a:gd name="connsiteX192" fmla="*/ 440553 w 3581489"/>
                <a:gd name="connsiteY192" fmla="*/ 866410 h 4209945"/>
                <a:gd name="connsiteX193" fmla="*/ 401593 w 3581489"/>
                <a:gd name="connsiteY193" fmla="*/ 885573 h 4209945"/>
                <a:gd name="connsiteX194" fmla="*/ 389590 w 3581489"/>
                <a:gd name="connsiteY194" fmla="*/ 888522 h 4209945"/>
                <a:gd name="connsiteX195" fmla="*/ 401172 w 3581489"/>
                <a:gd name="connsiteY195" fmla="*/ 876097 h 4209945"/>
                <a:gd name="connsiteX196" fmla="*/ 389169 w 3581489"/>
                <a:gd name="connsiteY196" fmla="*/ 875676 h 4209945"/>
                <a:gd name="connsiteX197" fmla="*/ 356527 w 3581489"/>
                <a:gd name="connsiteY197" fmla="*/ 897366 h 4209945"/>
                <a:gd name="connsiteX198" fmla="*/ 333994 w 3581489"/>
                <a:gd name="connsiteY198" fmla="*/ 912318 h 4209945"/>
                <a:gd name="connsiteX199" fmla="*/ 348314 w 3581489"/>
                <a:gd name="connsiteY199" fmla="*/ 911265 h 4209945"/>
                <a:gd name="connsiteX200" fmla="*/ 320517 w 3581489"/>
                <a:gd name="connsiteY200" fmla="*/ 931061 h 4209945"/>
                <a:gd name="connsiteX201" fmla="*/ 290824 w 3581489"/>
                <a:gd name="connsiteY201" fmla="*/ 948750 h 4209945"/>
                <a:gd name="connsiteX202" fmla="*/ 250391 w 3581489"/>
                <a:gd name="connsiteY202" fmla="*/ 973178 h 4209945"/>
                <a:gd name="connsiteX203" fmla="*/ 232069 w 3581489"/>
                <a:gd name="connsiteY203" fmla="*/ 986656 h 4209945"/>
                <a:gd name="connsiteX204" fmla="*/ 196480 w 3581489"/>
                <a:gd name="connsiteY204" fmla="*/ 1006241 h 4209945"/>
                <a:gd name="connsiteX205" fmla="*/ 170577 w 3581489"/>
                <a:gd name="connsiteY205" fmla="*/ 1026457 h 4209945"/>
                <a:gd name="connsiteX206" fmla="*/ 143201 w 3581489"/>
                <a:gd name="connsiteY206" fmla="*/ 1041830 h 4209945"/>
                <a:gd name="connsiteX207" fmla="*/ 142779 w 3581489"/>
                <a:gd name="connsiteY207" fmla="*/ 1038461 h 4209945"/>
                <a:gd name="connsiteX208" fmla="*/ 116456 w 3581489"/>
                <a:gd name="connsiteY208" fmla="*/ 1053413 h 4209945"/>
                <a:gd name="connsiteX209" fmla="*/ 95818 w 3581489"/>
                <a:gd name="connsiteY209" fmla="*/ 1063100 h 4209945"/>
                <a:gd name="connsiteX210" fmla="*/ 72232 w 3581489"/>
                <a:gd name="connsiteY210" fmla="*/ 1078894 h 4209945"/>
                <a:gd name="connsiteX211" fmla="*/ 50541 w 3581489"/>
                <a:gd name="connsiteY211" fmla="*/ 1090898 h 4209945"/>
                <a:gd name="connsiteX212" fmla="*/ 18321 w 3581489"/>
                <a:gd name="connsiteY212" fmla="*/ 1108587 h 4209945"/>
                <a:gd name="connsiteX213" fmla="*/ 0 w 3581489"/>
                <a:gd name="connsiteY213" fmla="*/ 1118696 h 4209945"/>
                <a:gd name="connsiteX214" fmla="*/ 11582 w 3581489"/>
                <a:gd name="connsiteY214" fmla="*/ 1108587 h 4209945"/>
                <a:gd name="connsiteX215" fmla="*/ 46751 w 3581489"/>
                <a:gd name="connsiteY215" fmla="*/ 1089424 h 4209945"/>
                <a:gd name="connsiteX216" fmla="*/ 75180 w 3581489"/>
                <a:gd name="connsiteY216" fmla="*/ 1069839 h 4209945"/>
                <a:gd name="connsiteX217" fmla="*/ 102557 w 3581489"/>
                <a:gd name="connsiteY217" fmla="*/ 1053413 h 4209945"/>
                <a:gd name="connsiteX218" fmla="*/ 120878 w 3581489"/>
                <a:gd name="connsiteY218" fmla="*/ 1043305 h 4209945"/>
                <a:gd name="connsiteX219" fmla="*/ 133303 w 3581489"/>
                <a:gd name="connsiteY219" fmla="*/ 1037619 h 4209945"/>
                <a:gd name="connsiteX220" fmla="*/ 155836 w 3581489"/>
                <a:gd name="connsiteY220" fmla="*/ 1021824 h 4209945"/>
                <a:gd name="connsiteX221" fmla="*/ 185108 w 3581489"/>
                <a:gd name="connsiteY221" fmla="*/ 1004977 h 4209945"/>
                <a:gd name="connsiteX222" fmla="*/ 202376 w 3581489"/>
                <a:gd name="connsiteY222" fmla="*/ 991921 h 4209945"/>
                <a:gd name="connsiteX223" fmla="*/ 225962 w 3581489"/>
                <a:gd name="connsiteY223" fmla="*/ 974652 h 4209945"/>
                <a:gd name="connsiteX224" fmla="*/ 241756 w 3581489"/>
                <a:gd name="connsiteY224" fmla="*/ 959280 h 4209945"/>
                <a:gd name="connsiteX225" fmla="*/ 252918 w 3581489"/>
                <a:gd name="connsiteY225" fmla="*/ 948750 h 4209945"/>
                <a:gd name="connsiteX226" fmla="*/ 227436 w 3581489"/>
                <a:gd name="connsiteY226" fmla="*/ 963070 h 4209945"/>
                <a:gd name="connsiteX227" fmla="*/ 211642 w 3581489"/>
                <a:gd name="connsiteY227" fmla="*/ 969388 h 4209945"/>
                <a:gd name="connsiteX228" fmla="*/ 196269 w 3581489"/>
                <a:gd name="connsiteY228" fmla="*/ 979917 h 4209945"/>
                <a:gd name="connsiteX229" fmla="*/ 183844 w 3581489"/>
                <a:gd name="connsiteY229" fmla="*/ 978022 h 4209945"/>
                <a:gd name="connsiteX230" fmla="*/ 169524 w 3581489"/>
                <a:gd name="connsiteY230" fmla="*/ 981391 h 4209945"/>
                <a:gd name="connsiteX231" fmla="*/ 143622 w 3581489"/>
                <a:gd name="connsiteY231" fmla="*/ 994869 h 4209945"/>
                <a:gd name="connsiteX232" fmla="*/ 135409 w 3581489"/>
                <a:gd name="connsiteY232" fmla="*/ 994869 h 4209945"/>
                <a:gd name="connsiteX233" fmla="*/ 133092 w 3581489"/>
                <a:gd name="connsiteY233" fmla="*/ 991921 h 4209945"/>
                <a:gd name="connsiteX234" fmla="*/ 144675 w 3581489"/>
                <a:gd name="connsiteY234" fmla="*/ 982234 h 4209945"/>
                <a:gd name="connsiteX235" fmla="*/ 123616 w 3581489"/>
                <a:gd name="connsiteY235" fmla="*/ 988551 h 4209945"/>
                <a:gd name="connsiteX236" fmla="*/ 93291 w 3581489"/>
                <a:gd name="connsiteY236" fmla="*/ 1002029 h 4209945"/>
                <a:gd name="connsiteX237" fmla="*/ 77918 w 3581489"/>
                <a:gd name="connsiteY237" fmla="*/ 1000134 h 4209945"/>
                <a:gd name="connsiteX238" fmla="*/ 73074 w 3581489"/>
                <a:gd name="connsiteY238" fmla="*/ 995290 h 4209945"/>
                <a:gd name="connsiteX239" fmla="*/ 77286 w 3581489"/>
                <a:gd name="connsiteY239" fmla="*/ 988551 h 4209945"/>
                <a:gd name="connsiteX240" fmla="*/ 60439 w 3581489"/>
                <a:gd name="connsiteY240" fmla="*/ 992763 h 4209945"/>
                <a:gd name="connsiteX241" fmla="*/ 70547 w 3581489"/>
                <a:gd name="connsiteY241" fmla="*/ 981813 h 4209945"/>
                <a:gd name="connsiteX242" fmla="*/ 96871 w 3581489"/>
                <a:gd name="connsiteY242" fmla="*/ 960122 h 4209945"/>
                <a:gd name="connsiteX243" fmla="*/ 124248 w 3581489"/>
                <a:gd name="connsiteY243" fmla="*/ 938010 h 4209945"/>
                <a:gd name="connsiteX244" fmla="*/ 147834 w 3581489"/>
                <a:gd name="connsiteY244" fmla="*/ 927481 h 4209945"/>
                <a:gd name="connsiteX245" fmla="*/ 169314 w 3581489"/>
                <a:gd name="connsiteY245" fmla="*/ 921795 h 4209945"/>
                <a:gd name="connsiteX246" fmla="*/ 187003 w 3581489"/>
                <a:gd name="connsiteY246" fmla="*/ 907896 h 4209945"/>
                <a:gd name="connsiteX247" fmla="*/ 209536 w 3581489"/>
                <a:gd name="connsiteY247" fmla="*/ 902210 h 4209945"/>
                <a:gd name="connsiteX248" fmla="*/ 230174 w 3581489"/>
                <a:gd name="connsiteY248" fmla="*/ 886416 h 4209945"/>
                <a:gd name="connsiteX249" fmla="*/ 220487 w 3581489"/>
                <a:gd name="connsiteY249" fmla="*/ 883467 h 4209945"/>
                <a:gd name="connsiteX250" fmla="*/ 239229 w 3581489"/>
                <a:gd name="connsiteY250" fmla="*/ 874201 h 4209945"/>
                <a:gd name="connsiteX251" fmla="*/ 230595 w 3581489"/>
                <a:gd name="connsiteY251" fmla="*/ 873780 h 4209945"/>
                <a:gd name="connsiteX252" fmla="*/ 197533 w 3581489"/>
                <a:gd name="connsiteY252" fmla="*/ 892523 h 4209945"/>
                <a:gd name="connsiteX253" fmla="*/ 175000 w 3581489"/>
                <a:gd name="connsiteY253" fmla="*/ 902631 h 4209945"/>
                <a:gd name="connsiteX254" fmla="*/ 135619 w 3581489"/>
                <a:gd name="connsiteY254" fmla="*/ 918846 h 4209945"/>
                <a:gd name="connsiteX255" fmla="*/ 104452 w 3581489"/>
                <a:gd name="connsiteY255" fmla="*/ 931903 h 4209945"/>
                <a:gd name="connsiteX256" fmla="*/ 104031 w 3581489"/>
                <a:gd name="connsiteY256" fmla="*/ 924111 h 4209945"/>
                <a:gd name="connsiteX257" fmla="*/ 85289 w 3581489"/>
                <a:gd name="connsiteY257" fmla="*/ 927481 h 4209945"/>
                <a:gd name="connsiteX258" fmla="*/ 93080 w 3581489"/>
                <a:gd name="connsiteY258" fmla="*/ 919899 h 4209945"/>
                <a:gd name="connsiteX259" fmla="*/ 136672 w 3581489"/>
                <a:gd name="connsiteY259" fmla="*/ 896313 h 4209945"/>
                <a:gd name="connsiteX260" fmla="*/ 177948 w 3581489"/>
                <a:gd name="connsiteY260" fmla="*/ 875254 h 4209945"/>
                <a:gd name="connsiteX261" fmla="*/ 194795 w 3581489"/>
                <a:gd name="connsiteY261" fmla="*/ 868094 h 4209945"/>
                <a:gd name="connsiteX262" fmla="*/ 195848 w 3581489"/>
                <a:gd name="connsiteY262" fmla="*/ 875254 h 4209945"/>
                <a:gd name="connsiteX263" fmla="*/ 229542 w 3581489"/>
                <a:gd name="connsiteY263" fmla="*/ 859881 h 4209945"/>
                <a:gd name="connsiteX264" fmla="*/ 242599 w 3581489"/>
                <a:gd name="connsiteY264" fmla="*/ 846825 h 4209945"/>
                <a:gd name="connsiteX265" fmla="*/ 216696 w 3581489"/>
                <a:gd name="connsiteY265" fmla="*/ 852090 h 4209945"/>
                <a:gd name="connsiteX266" fmla="*/ 205535 w 3581489"/>
                <a:gd name="connsiteY266" fmla="*/ 851037 h 4209945"/>
                <a:gd name="connsiteX267" fmla="*/ 185318 w 3581489"/>
                <a:gd name="connsiteY267" fmla="*/ 853985 h 4209945"/>
                <a:gd name="connsiteX268" fmla="*/ 156889 w 3581489"/>
                <a:gd name="connsiteY268" fmla="*/ 862198 h 4209945"/>
                <a:gd name="connsiteX269" fmla="*/ 162154 w 3581489"/>
                <a:gd name="connsiteY269" fmla="*/ 855880 h 4209945"/>
                <a:gd name="connsiteX270" fmla="*/ 175210 w 3581489"/>
                <a:gd name="connsiteY270" fmla="*/ 846614 h 4209945"/>
                <a:gd name="connsiteX271" fmla="*/ 196690 w 3581489"/>
                <a:gd name="connsiteY271" fmla="*/ 836085 h 4209945"/>
                <a:gd name="connsiteX272" fmla="*/ 233333 w 3581489"/>
                <a:gd name="connsiteY272" fmla="*/ 818817 h 4209945"/>
                <a:gd name="connsiteX273" fmla="*/ 264079 w 3581489"/>
                <a:gd name="connsiteY273" fmla="*/ 796705 h 4209945"/>
                <a:gd name="connsiteX274" fmla="*/ 318411 w 3581489"/>
                <a:gd name="connsiteY274" fmla="*/ 767854 h 4209945"/>
                <a:gd name="connsiteX275" fmla="*/ 358212 w 3581489"/>
                <a:gd name="connsiteY275" fmla="*/ 746163 h 4209945"/>
                <a:gd name="connsiteX276" fmla="*/ 386642 w 3581489"/>
                <a:gd name="connsiteY276" fmla="*/ 733739 h 4209945"/>
                <a:gd name="connsiteX277" fmla="*/ 430444 w 3581489"/>
                <a:gd name="connsiteY277" fmla="*/ 710574 h 4209945"/>
                <a:gd name="connsiteX278" fmla="*/ 460559 w 3581489"/>
                <a:gd name="connsiteY278" fmla="*/ 698991 h 4209945"/>
                <a:gd name="connsiteX279" fmla="*/ 489830 w 3581489"/>
                <a:gd name="connsiteY279" fmla="*/ 689725 h 4209945"/>
                <a:gd name="connsiteX280" fmla="*/ 530685 w 3581489"/>
                <a:gd name="connsiteY280" fmla="*/ 673931 h 4209945"/>
                <a:gd name="connsiteX281" fmla="*/ 557640 w 3581489"/>
                <a:gd name="connsiteY281" fmla="*/ 668245 h 4209945"/>
                <a:gd name="connsiteX282" fmla="*/ 621449 w 3581489"/>
                <a:gd name="connsiteY282" fmla="*/ 645081 h 4209945"/>
                <a:gd name="connsiteX283" fmla="*/ 655985 w 3581489"/>
                <a:gd name="connsiteY283" fmla="*/ 634972 h 4209945"/>
                <a:gd name="connsiteX284" fmla="*/ 687784 w 3581489"/>
                <a:gd name="connsiteY284" fmla="*/ 624443 h 4209945"/>
                <a:gd name="connsiteX285" fmla="*/ 712212 w 3581489"/>
                <a:gd name="connsiteY285" fmla="*/ 615809 h 4209945"/>
                <a:gd name="connsiteX286" fmla="*/ 748644 w 3581489"/>
                <a:gd name="connsiteY286" fmla="*/ 601910 h 4209945"/>
                <a:gd name="connsiteX287" fmla="*/ 797080 w 3581489"/>
                <a:gd name="connsiteY287" fmla="*/ 588432 h 4209945"/>
                <a:gd name="connsiteX288" fmla="*/ 845515 w 3581489"/>
                <a:gd name="connsiteY288" fmla="*/ 573480 h 4209945"/>
                <a:gd name="connsiteX289" fmla="*/ 876683 w 3581489"/>
                <a:gd name="connsiteY289" fmla="*/ 566741 h 4209945"/>
                <a:gd name="connsiteX290" fmla="*/ 899216 w 3581489"/>
                <a:gd name="connsiteY290" fmla="*/ 561056 h 4209945"/>
                <a:gd name="connsiteX291" fmla="*/ 927013 w 3581489"/>
                <a:gd name="connsiteY291" fmla="*/ 544840 h 4209945"/>
                <a:gd name="connsiteX292" fmla="*/ 981767 w 3581489"/>
                <a:gd name="connsiteY292" fmla="*/ 521254 h 4209945"/>
                <a:gd name="connsiteX293" fmla="*/ 1012934 w 3581489"/>
                <a:gd name="connsiteY293" fmla="*/ 510725 h 4209945"/>
                <a:gd name="connsiteX294" fmla="*/ 1062001 w 3581489"/>
                <a:gd name="connsiteY294" fmla="*/ 494299 h 4209945"/>
                <a:gd name="connsiteX295" fmla="*/ 1092747 w 3581489"/>
                <a:gd name="connsiteY295" fmla="*/ 479979 h 4209945"/>
                <a:gd name="connsiteX296" fmla="*/ 1130232 w 3581489"/>
                <a:gd name="connsiteY296" fmla="*/ 464185 h 4209945"/>
                <a:gd name="connsiteX297" fmla="*/ 1115701 w 3581489"/>
                <a:gd name="connsiteY297" fmla="*/ 474714 h 4209945"/>
                <a:gd name="connsiteX298" fmla="*/ 1141604 w 3581489"/>
                <a:gd name="connsiteY298" fmla="*/ 466501 h 4209945"/>
                <a:gd name="connsiteX299" fmla="*/ 1163084 w 3581489"/>
                <a:gd name="connsiteY299" fmla="*/ 451970 h 4209945"/>
                <a:gd name="connsiteX300" fmla="*/ 1175088 w 3581489"/>
                <a:gd name="connsiteY300" fmla="*/ 444810 h 4209945"/>
                <a:gd name="connsiteX301" fmla="*/ 1198673 w 3581489"/>
                <a:gd name="connsiteY301" fmla="*/ 448601 h 4209945"/>
                <a:gd name="connsiteX302" fmla="*/ 1219943 w 3581489"/>
                <a:gd name="connsiteY302" fmla="*/ 447548 h 4209945"/>
                <a:gd name="connsiteX303" fmla="*/ 1249636 w 3581489"/>
                <a:gd name="connsiteY303" fmla="*/ 427963 h 4209945"/>
                <a:gd name="connsiteX304" fmla="*/ 1260587 w 3581489"/>
                <a:gd name="connsiteY304" fmla="*/ 429858 h 4209945"/>
                <a:gd name="connsiteX305" fmla="*/ 1258270 w 3581489"/>
                <a:gd name="connsiteY305" fmla="*/ 437019 h 4209945"/>
                <a:gd name="connsiteX306" fmla="*/ 1296597 w 3581489"/>
                <a:gd name="connsiteY306" fmla="*/ 417434 h 4209945"/>
                <a:gd name="connsiteX307" fmla="*/ 1346928 w 3581489"/>
                <a:gd name="connsiteY307" fmla="*/ 403535 h 4209945"/>
                <a:gd name="connsiteX308" fmla="*/ 1386308 w 3581489"/>
                <a:gd name="connsiteY308" fmla="*/ 396375 h 4209945"/>
                <a:gd name="connsiteX309" fmla="*/ 1414738 w 3581489"/>
                <a:gd name="connsiteY309" fmla="*/ 390057 h 4209945"/>
                <a:gd name="connsiteX310" fmla="*/ 1455171 w 3581489"/>
                <a:gd name="connsiteY310" fmla="*/ 381423 h 4209945"/>
                <a:gd name="connsiteX311" fmla="*/ 1488865 w 3581489"/>
                <a:gd name="connsiteY311" fmla="*/ 370472 h 4209945"/>
                <a:gd name="connsiteX312" fmla="*/ 1524876 w 3581489"/>
                <a:gd name="connsiteY312" fmla="*/ 365629 h 4209945"/>
                <a:gd name="connsiteX313" fmla="*/ 1517084 w 3581489"/>
                <a:gd name="connsiteY313" fmla="*/ 373210 h 4209945"/>
                <a:gd name="connsiteX314" fmla="*/ 1483390 w 3581489"/>
                <a:gd name="connsiteY314" fmla="*/ 388162 h 4209945"/>
                <a:gd name="connsiteX315" fmla="*/ 1542565 w 3581489"/>
                <a:gd name="connsiteY315" fmla="*/ 373842 h 4209945"/>
                <a:gd name="connsiteX316" fmla="*/ 1608901 w 3581489"/>
                <a:gd name="connsiteY316" fmla="*/ 353204 h 4209945"/>
                <a:gd name="connsiteX317" fmla="*/ 1650177 w 3581489"/>
                <a:gd name="connsiteY317" fmla="*/ 338884 h 4209945"/>
                <a:gd name="connsiteX318" fmla="*/ 1678606 w 3581489"/>
                <a:gd name="connsiteY318" fmla="*/ 341201 h 4209945"/>
                <a:gd name="connsiteX319" fmla="*/ 1689557 w 3581489"/>
                <a:gd name="connsiteY319" fmla="*/ 344991 h 4209945"/>
                <a:gd name="connsiteX320" fmla="*/ 1694822 w 3581489"/>
                <a:gd name="connsiteY320" fmla="*/ 331092 h 4209945"/>
                <a:gd name="connsiteX321" fmla="*/ 1683239 w 3581489"/>
                <a:gd name="connsiteY321" fmla="*/ 324775 h 4209945"/>
                <a:gd name="connsiteX322" fmla="*/ 1714827 w 3581489"/>
                <a:gd name="connsiteY322" fmla="*/ 310244 h 4209945"/>
                <a:gd name="connsiteX323" fmla="*/ 1764737 w 3581489"/>
                <a:gd name="connsiteY323" fmla="*/ 294871 h 4209945"/>
                <a:gd name="connsiteX324" fmla="*/ 1799695 w 3581489"/>
                <a:gd name="connsiteY324" fmla="*/ 294871 h 4209945"/>
                <a:gd name="connsiteX325" fmla="*/ 1835284 w 3581489"/>
                <a:gd name="connsiteY325" fmla="*/ 288764 h 4209945"/>
                <a:gd name="connsiteX326" fmla="*/ 1899725 w 3581489"/>
                <a:gd name="connsiteY326" fmla="*/ 273812 h 4209945"/>
                <a:gd name="connsiteX327" fmla="*/ 1928575 w 3581489"/>
                <a:gd name="connsiteY327" fmla="*/ 263704 h 4209945"/>
                <a:gd name="connsiteX328" fmla="*/ 1964586 w 3581489"/>
                <a:gd name="connsiteY328" fmla="*/ 255070 h 4209945"/>
                <a:gd name="connsiteX329" fmla="*/ 1981433 w 3581489"/>
                <a:gd name="connsiteY329" fmla="*/ 243066 h 4209945"/>
                <a:gd name="connsiteX330" fmla="*/ 1989646 w 3581489"/>
                <a:gd name="connsiteY330" fmla="*/ 236748 h 4209945"/>
                <a:gd name="connsiteX331" fmla="*/ 1952161 w 3581489"/>
                <a:gd name="connsiteY331" fmla="*/ 243487 h 4209945"/>
                <a:gd name="connsiteX332" fmla="*/ 1969008 w 3581489"/>
                <a:gd name="connsiteY332" fmla="*/ 232536 h 4209945"/>
                <a:gd name="connsiteX333" fmla="*/ 1991963 w 3581489"/>
                <a:gd name="connsiteY333" fmla="*/ 221375 h 4209945"/>
                <a:gd name="connsiteX334" fmla="*/ 2026499 w 3581489"/>
                <a:gd name="connsiteY334" fmla="*/ 207898 h 4209945"/>
                <a:gd name="connsiteX335" fmla="*/ 2052823 w 3581489"/>
                <a:gd name="connsiteY335" fmla="*/ 207476 h 4209945"/>
                <a:gd name="connsiteX336" fmla="*/ 2061457 w 3581489"/>
                <a:gd name="connsiteY336" fmla="*/ 198842 h 4209945"/>
                <a:gd name="connsiteX337" fmla="*/ 2058088 w 3581489"/>
                <a:gd name="connsiteY337" fmla="*/ 187892 h 4209945"/>
                <a:gd name="connsiteX338" fmla="*/ 2074303 w 3581489"/>
                <a:gd name="connsiteY338" fmla="*/ 174414 h 4209945"/>
                <a:gd name="connsiteX339" fmla="*/ 2103996 w 3581489"/>
                <a:gd name="connsiteY339" fmla="*/ 159462 h 4209945"/>
                <a:gd name="connsiteX340" fmla="*/ 2105049 w 3581489"/>
                <a:gd name="connsiteY340" fmla="*/ 145142 h 4209945"/>
                <a:gd name="connsiteX341" fmla="*/ 2114736 w 3581489"/>
                <a:gd name="connsiteY341" fmla="*/ 131664 h 4209945"/>
                <a:gd name="connsiteX342" fmla="*/ 2141060 w 3581489"/>
                <a:gd name="connsiteY342" fmla="*/ 119661 h 4209945"/>
                <a:gd name="connsiteX343" fmla="*/ 2190970 w 3581489"/>
                <a:gd name="connsiteY343" fmla="*/ 107236 h 4209945"/>
                <a:gd name="connsiteX344" fmla="*/ 2239405 w 3581489"/>
                <a:gd name="connsiteY344" fmla="*/ 96075 h 4209945"/>
                <a:gd name="connsiteX345" fmla="*/ 2273520 w 3581489"/>
                <a:gd name="connsiteY345" fmla="*/ 89336 h 4209945"/>
                <a:gd name="connsiteX346" fmla="*/ 2239826 w 3581489"/>
                <a:gd name="connsiteY346" fmla="*/ 106604 h 4209945"/>
                <a:gd name="connsiteX347" fmla="*/ 2196655 w 3581489"/>
                <a:gd name="connsiteY347" fmla="*/ 125768 h 4209945"/>
                <a:gd name="connsiteX348" fmla="*/ 2164014 w 3581489"/>
                <a:gd name="connsiteY348" fmla="*/ 132086 h 4209945"/>
                <a:gd name="connsiteX349" fmla="*/ 2165488 w 3581489"/>
                <a:gd name="connsiteY349" fmla="*/ 137771 h 4209945"/>
                <a:gd name="connsiteX350" fmla="*/ 2138533 w 3581489"/>
                <a:gd name="connsiteY350" fmla="*/ 150828 h 4209945"/>
                <a:gd name="connsiteX351" fmla="*/ 2160013 w 3581489"/>
                <a:gd name="connsiteY351" fmla="*/ 150828 h 4209945"/>
                <a:gd name="connsiteX352" fmla="*/ 2174333 w 3581489"/>
                <a:gd name="connsiteY352" fmla="*/ 156093 h 4209945"/>
                <a:gd name="connsiteX353" fmla="*/ 2185915 w 3581489"/>
                <a:gd name="connsiteY353" fmla="*/ 159883 h 4209945"/>
                <a:gd name="connsiteX354" fmla="*/ 2203605 w 3581489"/>
                <a:gd name="connsiteY354" fmla="*/ 162200 h 4209945"/>
                <a:gd name="connsiteX355" fmla="*/ 2199182 w 3581489"/>
                <a:gd name="connsiteY355" fmla="*/ 169781 h 4209945"/>
                <a:gd name="connsiteX356" fmla="*/ 2229086 w 3581489"/>
                <a:gd name="connsiteY356" fmla="*/ 164516 h 4209945"/>
                <a:gd name="connsiteX357" fmla="*/ 2244038 w 3581489"/>
                <a:gd name="connsiteY357" fmla="*/ 168307 h 4209945"/>
                <a:gd name="connsiteX358" fmla="*/ 2271836 w 3581489"/>
                <a:gd name="connsiteY358" fmla="*/ 159252 h 4209945"/>
                <a:gd name="connsiteX359" fmla="*/ 2296896 w 3581489"/>
                <a:gd name="connsiteY359" fmla="*/ 161147 h 4209945"/>
                <a:gd name="connsiteX360" fmla="*/ 2281102 w 3581489"/>
                <a:gd name="connsiteY360" fmla="*/ 175467 h 4209945"/>
                <a:gd name="connsiteX361" fmla="*/ 2314796 w 3581489"/>
                <a:gd name="connsiteY361" fmla="*/ 176941 h 4209945"/>
                <a:gd name="connsiteX362" fmla="*/ 2321956 w 3581489"/>
                <a:gd name="connsiteY362" fmla="*/ 164516 h 4209945"/>
                <a:gd name="connsiteX363" fmla="*/ 2347016 w 3581489"/>
                <a:gd name="connsiteY363" fmla="*/ 159252 h 4209945"/>
                <a:gd name="connsiteX364" fmla="*/ 2371023 w 3581489"/>
                <a:gd name="connsiteY364" fmla="*/ 140930 h 4209945"/>
                <a:gd name="connsiteX365" fmla="*/ 2370181 w 3581489"/>
                <a:gd name="connsiteY365" fmla="*/ 127031 h 4209945"/>
                <a:gd name="connsiteX366" fmla="*/ 2337961 w 3581489"/>
                <a:gd name="connsiteY366" fmla="*/ 129769 h 4209945"/>
                <a:gd name="connsiteX367" fmla="*/ 2285524 w 3581489"/>
                <a:gd name="connsiteY367" fmla="*/ 136087 h 4209945"/>
                <a:gd name="connsiteX368" fmla="*/ 2261517 w 3581489"/>
                <a:gd name="connsiteY368" fmla="*/ 130822 h 4209945"/>
                <a:gd name="connsiteX369" fmla="*/ 2284682 w 3581489"/>
                <a:gd name="connsiteY369" fmla="*/ 100497 h 4209945"/>
                <a:gd name="connsiteX370" fmla="*/ 2332696 w 3581489"/>
                <a:gd name="connsiteY370" fmla="*/ 78385 h 4209945"/>
                <a:gd name="connsiteX371" fmla="*/ 2373972 w 3581489"/>
                <a:gd name="connsiteY371" fmla="*/ 66382 h 4209945"/>
                <a:gd name="connsiteX372" fmla="*/ 2417563 w 3581489"/>
                <a:gd name="connsiteY372" fmla="*/ 56273 h 4209945"/>
                <a:gd name="connsiteX373" fmla="*/ 2434411 w 3581489"/>
                <a:gd name="connsiteY373" fmla="*/ 52483 h 4209945"/>
                <a:gd name="connsiteX374" fmla="*/ 2386817 w 3581489"/>
                <a:gd name="connsiteY374" fmla="*/ 71646 h 4209945"/>
                <a:gd name="connsiteX375" fmla="*/ 2377130 w 3581489"/>
                <a:gd name="connsiteY375" fmla="*/ 87019 h 4209945"/>
                <a:gd name="connsiteX376" fmla="*/ 2394399 w 3581489"/>
                <a:gd name="connsiteY376" fmla="*/ 95654 h 4209945"/>
                <a:gd name="connsiteX377" fmla="*/ 2418406 w 3581489"/>
                <a:gd name="connsiteY377" fmla="*/ 89968 h 4209945"/>
                <a:gd name="connsiteX378" fmla="*/ 2396294 w 3581489"/>
                <a:gd name="connsiteY378" fmla="*/ 88072 h 4209945"/>
                <a:gd name="connsiteX379" fmla="*/ 2402612 w 3581489"/>
                <a:gd name="connsiteY379" fmla="*/ 74595 h 4209945"/>
                <a:gd name="connsiteX380" fmla="*/ 2434832 w 3581489"/>
                <a:gd name="connsiteY380" fmla="*/ 58169 h 4209945"/>
                <a:gd name="connsiteX381" fmla="*/ 2490427 w 3581489"/>
                <a:gd name="connsiteY381" fmla="*/ 41953 h 4209945"/>
                <a:gd name="connsiteX382" fmla="*/ 2531282 w 3581489"/>
                <a:gd name="connsiteY382" fmla="*/ 32898 h 4209945"/>
                <a:gd name="connsiteX383" fmla="*/ 2547076 w 3581489"/>
                <a:gd name="connsiteY383" fmla="*/ 36689 h 4209945"/>
                <a:gd name="connsiteX384" fmla="*/ 2547076 w 3581489"/>
                <a:gd name="connsiteY384" fmla="*/ 51009 h 4209945"/>
                <a:gd name="connsiteX385" fmla="*/ 2564344 w 3581489"/>
                <a:gd name="connsiteY385" fmla="*/ 44691 h 4209945"/>
                <a:gd name="connsiteX386" fmla="*/ 2592774 w 3581489"/>
                <a:gd name="connsiteY386" fmla="*/ 37952 h 4209945"/>
                <a:gd name="connsiteX387" fmla="*/ 2622046 w 3581489"/>
                <a:gd name="connsiteY387" fmla="*/ 30160 h 4209945"/>
                <a:gd name="connsiteX388" fmla="*/ 2615307 w 3581489"/>
                <a:gd name="connsiteY388" fmla="*/ 27844 h 4209945"/>
                <a:gd name="connsiteX389" fmla="*/ 2572978 w 3581489"/>
                <a:gd name="connsiteY389" fmla="*/ 34162 h 4209945"/>
                <a:gd name="connsiteX390" fmla="*/ 2557184 w 3581489"/>
                <a:gd name="connsiteY390" fmla="*/ 34162 h 4209945"/>
                <a:gd name="connsiteX391" fmla="*/ 2563502 w 3581489"/>
                <a:gd name="connsiteY391" fmla="*/ 24896 h 4209945"/>
                <a:gd name="connsiteX392" fmla="*/ 2622046 w 3581489"/>
                <a:gd name="connsiteY392" fmla="*/ 13945 h 4209945"/>
                <a:gd name="connsiteX393" fmla="*/ 2667743 w 3581489"/>
                <a:gd name="connsiteY393" fmla="*/ 8259 h 4209945"/>
                <a:gd name="connsiteX394" fmla="*/ 2695120 w 3581489"/>
                <a:gd name="connsiteY394" fmla="*/ 10154 h 4209945"/>
                <a:gd name="connsiteX395" fmla="*/ 2693225 w 3581489"/>
                <a:gd name="connsiteY395" fmla="*/ 15840 h 4209945"/>
                <a:gd name="connsiteX396" fmla="*/ 2725445 w 3581489"/>
                <a:gd name="connsiteY396" fmla="*/ 13524 h 4209945"/>
                <a:gd name="connsiteX397" fmla="*/ 2754717 w 3581489"/>
                <a:gd name="connsiteY397" fmla="*/ 16472 h 4209945"/>
                <a:gd name="connsiteX398" fmla="*/ 2793255 w 3581489"/>
                <a:gd name="connsiteY398" fmla="*/ 9733 h 4209945"/>
                <a:gd name="connsiteX399" fmla="*/ 2830318 w 3581489"/>
                <a:gd name="connsiteY399" fmla="*/ 7838 h 4209945"/>
                <a:gd name="connsiteX400" fmla="*/ 2851377 w 3581489"/>
                <a:gd name="connsiteY400" fmla="*/ 10154 h 4209945"/>
                <a:gd name="connsiteX401" fmla="*/ 2892231 w 3581489"/>
                <a:gd name="connsiteY401" fmla="*/ 5311 h 4209945"/>
                <a:gd name="connsiteX402" fmla="*/ 2922977 w 3581489"/>
                <a:gd name="connsiteY402" fmla="*/ 8259 h 4209945"/>
                <a:gd name="connsiteX403" fmla="*/ 2947827 w 3581489"/>
                <a:gd name="connsiteY403" fmla="*/ 17736 h 4209945"/>
                <a:gd name="connsiteX404" fmla="*/ 2912237 w 3581489"/>
                <a:gd name="connsiteY404" fmla="*/ 29318 h 4209945"/>
                <a:gd name="connsiteX405" fmla="*/ 2956461 w 3581489"/>
                <a:gd name="connsiteY405" fmla="*/ 31635 h 4209945"/>
                <a:gd name="connsiteX406" fmla="*/ 2989523 w 3581489"/>
                <a:gd name="connsiteY406" fmla="*/ 31213 h 4209945"/>
                <a:gd name="connsiteX407" fmla="*/ 3032273 w 3581489"/>
                <a:gd name="connsiteY407" fmla="*/ 33530 h 4209945"/>
                <a:gd name="connsiteX408" fmla="*/ 3067441 w 3581489"/>
                <a:gd name="connsiteY408" fmla="*/ 32056 h 4209945"/>
                <a:gd name="connsiteX409" fmla="*/ 3100083 w 3581489"/>
                <a:gd name="connsiteY409" fmla="*/ 33951 h 4209945"/>
                <a:gd name="connsiteX410" fmla="*/ 3062598 w 3581489"/>
                <a:gd name="connsiteY410" fmla="*/ 50166 h 4209945"/>
                <a:gd name="connsiteX411" fmla="*/ 3048278 w 3581489"/>
                <a:gd name="connsiteY411" fmla="*/ 59222 h 4209945"/>
                <a:gd name="connsiteX412" fmla="*/ 3026587 w 3581489"/>
                <a:gd name="connsiteY412" fmla="*/ 70804 h 4209945"/>
                <a:gd name="connsiteX413" fmla="*/ 2996894 w 3581489"/>
                <a:gd name="connsiteY413" fmla="*/ 78596 h 4209945"/>
                <a:gd name="connsiteX414" fmla="*/ 2955619 w 3581489"/>
                <a:gd name="connsiteY414" fmla="*/ 72278 h 4209945"/>
                <a:gd name="connsiteX415" fmla="*/ 2921082 w 3581489"/>
                <a:gd name="connsiteY415" fmla="*/ 70804 h 4209945"/>
                <a:gd name="connsiteX416" fmla="*/ 2909500 w 3581489"/>
                <a:gd name="connsiteY416" fmla="*/ 87651 h 4209945"/>
                <a:gd name="connsiteX417" fmla="*/ 2951196 w 3581489"/>
                <a:gd name="connsiteY417" fmla="*/ 92916 h 4209945"/>
                <a:gd name="connsiteX418" fmla="*/ 2986154 w 3581489"/>
                <a:gd name="connsiteY418" fmla="*/ 98181 h 4209945"/>
                <a:gd name="connsiteX419" fmla="*/ 2992472 w 3581489"/>
                <a:gd name="connsiteY419" fmla="*/ 106815 h 4209945"/>
                <a:gd name="connsiteX420" fmla="*/ 2968886 w 3581489"/>
                <a:gd name="connsiteY420" fmla="*/ 115449 h 4209945"/>
                <a:gd name="connsiteX421" fmla="*/ 2964042 w 3581489"/>
                <a:gd name="connsiteY421" fmla="*/ 127031 h 4209945"/>
                <a:gd name="connsiteX422" fmla="*/ 2959620 w 3581489"/>
                <a:gd name="connsiteY422" fmla="*/ 134191 h 4209945"/>
                <a:gd name="connsiteX423" fmla="*/ 2938140 w 3581489"/>
                <a:gd name="connsiteY423" fmla="*/ 127874 h 4209945"/>
                <a:gd name="connsiteX424" fmla="*/ 2910763 w 3581489"/>
                <a:gd name="connsiteY424" fmla="*/ 129348 h 4209945"/>
                <a:gd name="connsiteX425" fmla="*/ 2870962 w 3581489"/>
                <a:gd name="connsiteY425" fmla="*/ 127874 h 4209945"/>
                <a:gd name="connsiteX426" fmla="*/ 2846534 w 3581489"/>
                <a:gd name="connsiteY426" fmla="*/ 128716 h 4209945"/>
                <a:gd name="connsiteX427" fmla="*/ 2857063 w 3581489"/>
                <a:gd name="connsiteY427" fmla="*/ 135455 h 4209945"/>
                <a:gd name="connsiteX428" fmla="*/ 2894548 w 3581489"/>
                <a:gd name="connsiteY428" fmla="*/ 139667 h 4209945"/>
                <a:gd name="connsiteX429" fmla="*/ 2920029 w 3581489"/>
                <a:gd name="connsiteY429" fmla="*/ 144931 h 4209945"/>
                <a:gd name="connsiteX430" fmla="*/ 2858116 w 3581489"/>
                <a:gd name="connsiteY430" fmla="*/ 152091 h 4209945"/>
                <a:gd name="connsiteX431" fmla="*/ 2818736 w 3581489"/>
                <a:gd name="connsiteY431" fmla="*/ 152513 h 4209945"/>
                <a:gd name="connsiteX432" fmla="*/ 2759139 w 3581489"/>
                <a:gd name="connsiteY432" fmla="*/ 158409 h 4209945"/>
                <a:gd name="connsiteX433" fmla="*/ 2737870 w 3581489"/>
                <a:gd name="connsiteY433" fmla="*/ 152091 h 4209945"/>
                <a:gd name="connsiteX434" fmla="*/ 2725445 w 3581489"/>
                <a:gd name="connsiteY434" fmla="*/ 145774 h 4209945"/>
                <a:gd name="connsiteX435" fmla="*/ 2682695 w 3581489"/>
                <a:gd name="connsiteY435" fmla="*/ 150196 h 4209945"/>
                <a:gd name="connsiteX436" fmla="*/ 2633207 w 3581489"/>
                <a:gd name="connsiteY436" fmla="*/ 155040 h 4209945"/>
                <a:gd name="connsiteX437" fmla="*/ 2583297 w 3581489"/>
                <a:gd name="connsiteY437" fmla="*/ 170834 h 4209945"/>
                <a:gd name="connsiteX438" fmla="*/ 2556974 w 3581489"/>
                <a:gd name="connsiteY438" fmla="*/ 167886 h 4209945"/>
                <a:gd name="connsiteX439" fmla="*/ 2586666 w 3581489"/>
                <a:gd name="connsiteY439" fmla="*/ 152513 h 4209945"/>
                <a:gd name="connsiteX440" fmla="*/ 2615938 w 3581489"/>
                <a:gd name="connsiteY440" fmla="*/ 143879 h 4209945"/>
                <a:gd name="connsiteX441" fmla="*/ 2669639 w 3581489"/>
                <a:gd name="connsiteY441" fmla="*/ 134613 h 4209945"/>
                <a:gd name="connsiteX442" fmla="*/ 2698489 w 3581489"/>
                <a:gd name="connsiteY442" fmla="*/ 125978 h 4209945"/>
                <a:gd name="connsiteX443" fmla="*/ 2694067 w 3581489"/>
                <a:gd name="connsiteY443" fmla="*/ 118187 h 4209945"/>
                <a:gd name="connsiteX444" fmla="*/ 2697015 w 3581489"/>
                <a:gd name="connsiteY444" fmla="*/ 111027 h 4209945"/>
                <a:gd name="connsiteX445" fmla="*/ 2746925 w 3581489"/>
                <a:gd name="connsiteY445" fmla="*/ 92284 h 4209945"/>
                <a:gd name="connsiteX446" fmla="*/ 2755138 w 3581489"/>
                <a:gd name="connsiteY446" fmla="*/ 79859 h 4209945"/>
                <a:gd name="connsiteX447" fmla="*/ 2735343 w 3581489"/>
                <a:gd name="connsiteY447" fmla="*/ 73121 h 4209945"/>
                <a:gd name="connsiteX448" fmla="*/ 2716179 w 3581489"/>
                <a:gd name="connsiteY448" fmla="*/ 75437 h 4209945"/>
                <a:gd name="connsiteX449" fmla="*/ 2727130 w 3581489"/>
                <a:gd name="connsiteY449" fmla="*/ 81755 h 4209945"/>
                <a:gd name="connsiteX450" fmla="*/ 2690697 w 3581489"/>
                <a:gd name="connsiteY450" fmla="*/ 88494 h 4209945"/>
                <a:gd name="connsiteX451" fmla="*/ 2689224 w 3581489"/>
                <a:gd name="connsiteY451" fmla="*/ 82808 h 4209945"/>
                <a:gd name="connsiteX452" fmla="*/ 2674903 w 3581489"/>
                <a:gd name="connsiteY452" fmla="*/ 79017 h 4209945"/>
                <a:gd name="connsiteX453" fmla="*/ 2642683 w 3581489"/>
                <a:gd name="connsiteY453" fmla="*/ 83439 h 4209945"/>
                <a:gd name="connsiteX454" fmla="*/ 2616781 w 3581489"/>
                <a:gd name="connsiteY454" fmla="*/ 82386 h 4209945"/>
                <a:gd name="connsiteX455" fmla="*/ 2627310 w 3581489"/>
                <a:gd name="connsiteY455" fmla="*/ 72278 h 4209945"/>
                <a:gd name="connsiteX456" fmla="*/ 2607725 w 3581489"/>
                <a:gd name="connsiteY456" fmla="*/ 71225 h 4209945"/>
                <a:gd name="connsiteX457" fmla="*/ 2596775 w 3581489"/>
                <a:gd name="connsiteY457" fmla="*/ 70172 h 4209945"/>
                <a:gd name="connsiteX458" fmla="*/ 2586245 w 3581489"/>
                <a:gd name="connsiteY458" fmla="*/ 73121 h 4209945"/>
                <a:gd name="connsiteX459" fmla="*/ 2547286 w 3581489"/>
                <a:gd name="connsiteY459" fmla="*/ 86598 h 4209945"/>
                <a:gd name="connsiteX460" fmla="*/ 2526227 w 3581489"/>
                <a:gd name="connsiteY460" fmla="*/ 87441 h 4209945"/>
                <a:gd name="connsiteX461" fmla="*/ 2495060 w 3581489"/>
                <a:gd name="connsiteY461" fmla="*/ 97970 h 4209945"/>
                <a:gd name="connsiteX462" fmla="*/ 2484531 w 3581489"/>
                <a:gd name="connsiteY462" fmla="*/ 109974 h 4209945"/>
                <a:gd name="connsiteX463" fmla="*/ 2491691 w 3581489"/>
                <a:gd name="connsiteY463" fmla="*/ 119661 h 4209945"/>
                <a:gd name="connsiteX464" fmla="*/ 2462840 w 3581489"/>
                <a:gd name="connsiteY464" fmla="*/ 131243 h 4209945"/>
                <a:gd name="connsiteX465" fmla="*/ 2484531 w 3581489"/>
                <a:gd name="connsiteY465" fmla="*/ 142826 h 4209945"/>
                <a:gd name="connsiteX466" fmla="*/ 2423039 w 3581489"/>
                <a:gd name="connsiteY466" fmla="*/ 168728 h 4209945"/>
                <a:gd name="connsiteX467" fmla="*/ 2403875 w 3581489"/>
                <a:gd name="connsiteY467" fmla="*/ 184522 h 4209945"/>
                <a:gd name="connsiteX468" fmla="*/ 2378815 w 3581489"/>
                <a:gd name="connsiteY468" fmla="*/ 181153 h 4209945"/>
                <a:gd name="connsiteX469" fmla="*/ 2359651 w 3581489"/>
                <a:gd name="connsiteY469" fmla="*/ 180310 h 4209945"/>
                <a:gd name="connsiteX470" fmla="*/ 2320271 w 3581489"/>
                <a:gd name="connsiteY470" fmla="*/ 190840 h 4209945"/>
                <a:gd name="connsiteX471" fmla="*/ 2313532 w 3581489"/>
                <a:gd name="connsiteY471" fmla="*/ 203896 h 4209945"/>
                <a:gd name="connsiteX472" fmla="*/ 2271836 w 3581489"/>
                <a:gd name="connsiteY472" fmla="*/ 228956 h 4209945"/>
                <a:gd name="connsiteX473" fmla="*/ 2203605 w 3581489"/>
                <a:gd name="connsiteY473" fmla="*/ 258650 h 4209945"/>
                <a:gd name="connsiteX474" fmla="*/ 2173912 w 3581489"/>
                <a:gd name="connsiteY474" fmla="*/ 272970 h 4209945"/>
                <a:gd name="connsiteX475" fmla="*/ 2138322 w 3581489"/>
                <a:gd name="connsiteY475" fmla="*/ 293607 h 4209945"/>
                <a:gd name="connsiteX476" fmla="*/ 2078304 w 3581489"/>
                <a:gd name="connsiteY476" fmla="*/ 319510 h 4209945"/>
                <a:gd name="connsiteX477" fmla="*/ 2011126 w 3581489"/>
                <a:gd name="connsiteY477" fmla="*/ 364576 h 4209945"/>
                <a:gd name="connsiteX478" fmla="*/ 1998702 w 3581489"/>
                <a:gd name="connsiteY478" fmla="*/ 390057 h 4209945"/>
                <a:gd name="connsiteX479" fmla="*/ 2037661 w 3581489"/>
                <a:gd name="connsiteY479" fmla="*/ 388162 h 4209945"/>
                <a:gd name="connsiteX480" fmla="*/ 2044821 w 3581489"/>
                <a:gd name="connsiteY480" fmla="*/ 406483 h 4209945"/>
                <a:gd name="connsiteX481" fmla="*/ 2081253 w 3581489"/>
                <a:gd name="connsiteY481" fmla="*/ 406483 h 4209945"/>
                <a:gd name="connsiteX482" fmla="*/ 2144640 w 3581489"/>
                <a:gd name="connsiteY482" fmla="*/ 396796 h 4209945"/>
                <a:gd name="connsiteX483" fmla="*/ 2215187 w 3581489"/>
                <a:gd name="connsiteY483" fmla="*/ 397217 h 4209945"/>
                <a:gd name="connsiteX484" fmla="*/ 2273731 w 3581489"/>
                <a:gd name="connsiteY484" fmla="*/ 396375 h 4209945"/>
                <a:gd name="connsiteX485" fmla="*/ 2329537 w 3581489"/>
                <a:gd name="connsiteY485" fmla="*/ 383950 h 4209945"/>
                <a:gd name="connsiteX486" fmla="*/ 2341541 w 3581489"/>
                <a:gd name="connsiteY486" fmla="*/ 393005 h 4209945"/>
                <a:gd name="connsiteX487" fmla="*/ 2334381 w 3581489"/>
                <a:gd name="connsiteY487" fmla="*/ 410695 h 4209945"/>
                <a:gd name="connsiteX488" fmla="*/ 2351649 w 3581489"/>
                <a:gd name="connsiteY488" fmla="*/ 420382 h 4209945"/>
                <a:gd name="connsiteX489" fmla="*/ 2380921 w 3581489"/>
                <a:gd name="connsiteY489" fmla="*/ 426278 h 4209945"/>
                <a:gd name="connsiteX490" fmla="*/ 2382395 w 3581489"/>
                <a:gd name="connsiteY490" fmla="*/ 442494 h 4209945"/>
                <a:gd name="connsiteX491" fmla="*/ 2426619 w 3581489"/>
                <a:gd name="connsiteY491" fmla="*/ 425647 h 4209945"/>
                <a:gd name="connsiteX492" fmla="*/ 2430831 w 3581489"/>
                <a:gd name="connsiteY492" fmla="*/ 400587 h 4209945"/>
                <a:gd name="connsiteX493" fmla="*/ 2426619 w 3581489"/>
                <a:gd name="connsiteY493" fmla="*/ 380370 h 4209945"/>
                <a:gd name="connsiteX494" fmla="*/ 2444308 w 3581489"/>
                <a:gd name="connsiteY494" fmla="*/ 366471 h 4209945"/>
                <a:gd name="connsiteX495" fmla="*/ 2517804 w 3581489"/>
                <a:gd name="connsiteY495" fmla="*/ 334672 h 4209945"/>
                <a:gd name="connsiteX496" fmla="*/ 2537599 w 3581489"/>
                <a:gd name="connsiteY496" fmla="*/ 307717 h 4209945"/>
                <a:gd name="connsiteX497" fmla="*/ 2508328 w 3581489"/>
                <a:gd name="connsiteY497" fmla="*/ 291923 h 4209945"/>
                <a:gd name="connsiteX498" fmla="*/ 2482846 w 3581489"/>
                <a:gd name="connsiteY498" fmla="*/ 287500 h 4209945"/>
                <a:gd name="connsiteX499" fmla="*/ 2528333 w 3581489"/>
                <a:gd name="connsiteY499" fmla="*/ 259702 h 4209945"/>
                <a:gd name="connsiteX500" fmla="*/ 2528333 w 3581489"/>
                <a:gd name="connsiteY500" fmla="*/ 245382 h 4209945"/>
                <a:gd name="connsiteX501" fmla="*/ 2538020 w 3581489"/>
                <a:gd name="connsiteY501" fmla="*/ 230009 h 4209945"/>
                <a:gd name="connsiteX502" fmla="*/ 2533177 w 3581489"/>
                <a:gd name="connsiteY502" fmla="*/ 218427 h 4209945"/>
                <a:gd name="connsiteX503" fmla="*/ 2562027 w 3581489"/>
                <a:gd name="connsiteY503" fmla="*/ 202212 h 4209945"/>
                <a:gd name="connsiteX504" fmla="*/ 2611937 w 3581489"/>
                <a:gd name="connsiteY504" fmla="*/ 198421 h 4209945"/>
                <a:gd name="connsiteX505" fmla="*/ 2649001 w 3581489"/>
                <a:gd name="connsiteY505" fmla="*/ 190629 h 4209945"/>
                <a:gd name="connsiteX506" fmla="*/ 2682695 w 3581489"/>
                <a:gd name="connsiteY506" fmla="*/ 183890 h 4209945"/>
                <a:gd name="connsiteX507" fmla="*/ 2729235 w 3581489"/>
                <a:gd name="connsiteY507" fmla="*/ 189576 h 4209945"/>
                <a:gd name="connsiteX508" fmla="*/ 2761877 w 3581489"/>
                <a:gd name="connsiteY508" fmla="*/ 191893 h 4209945"/>
                <a:gd name="connsiteX509" fmla="*/ 2786516 w 3581489"/>
                <a:gd name="connsiteY509" fmla="*/ 189998 h 4209945"/>
                <a:gd name="connsiteX510" fmla="*/ 2808628 w 3581489"/>
                <a:gd name="connsiteY510" fmla="*/ 184733 h 4209945"/>
                <a:gd name="connsiteX511" fmla="*/ 2782304 w 3581489"/>
                <a:gd name="connsiteY511" fmla="*/ 207266 h 4209945"/>
                <a:gd name="connsiteX512" fmla="*/ 2805258 w 3581489"/>
                <a:gd name="connsiteY512" fmla="*/ 221796 h 4209945"/>
                <a:gd name="connsiteX513" fmla="*/ 2846955 w 3581489"/>
                <a:gd name="connsiteY513" fmla="*/ 221796 h 4209945"/>
                <a:gd name="connsiteX514" fmla="*/ 2896864 w 3581489"/>
                <a:gd name="connsiteY514" fmla="*/ 202001 h 4209945"/>
                <a:gd name="connsiteX515" fmla="*/ 2927610 w 3581489"/>
                <a:gd name="connsiteY515" fmla="*/ 179047 h 4209945"/>
                <a:gd name="connsiteX516" fmla="*/ 2955408 w 3581489"/>
                <a:gd name="connsiteY516" fmla="*/ 160304 h 4209945"/>
                <a:gd name="connsiteX517" fmla="*/ 2980889 w 3581489"/>
                <a:gd name="connsiteY517" fmla="*/ 186207 h 4209945"/>
                <a:gd name="connsiteX518" fmla="*/ 3024692 w 3581489"/>
                <a:gd name="connsiteY518" fmla="*/ 209793 h 4209945"/>
                <a:gd name="connsiteX519" fmla="*/ 3033747 w 3581489"/>
                <a:gd name="connsiteY519" fmla="*/ 234221 h 4209945"/>
                <a:gd name="connsiteX520" fmla="*/ 3112087 w 3581489"/>
                <a:gd name="connsiteY520" fmla="*/ 247067 h 4209945"/>
                <a:gd name="connsiteX521" fmla="*/ 3145149 w 3581489"/>
                <a:gd name="connsiteY521" fmla="*/ 248962 h 4209945"/>
                <a:gd name="connsiteX522" fmla="*/ 3148518 w 3581489"/>
                <a:gd name="connsiteY522" fmla="*/ 259492 h 4209945"/>
                <a:gd name="connsiteX523" fmla="*/ 3183476 w 3581489"/>
                <a:gd name="connsiteY523" fmla="*/ 261387 h 4209945"/>
                <a:gd name="connsiteX524" fmla="*/ 3179264 w 3581489"/>
                <a:gd name="connsiteY524" fmla="*/ 292133 h 4209945"/>
                <a:gd name="connsiteX525" fmla="*/ 3077550 w 3581489"/>
                <a:gd name="connsiteY525" fmla="*/ 326670 h 4209945"/>
                <a:gd name="connsiteX526" fmla="*/ 2982785 w 3581489"/>
                <a:gd name="connsiteY526" fmla="*/ 362259 h 4209945"/>
                <a:gd name="connsiteX527" fmla="*/ 2854115 w 3581489"/>
                <a:gd name="connsiteY527" fmla="*/ 379528 h 4209945"/>
                <a:gd name="connsiteX528" fmla="*/ 2775776 w 3581489"/>
                <a:gd name="connsiteY528" fmla="*/ 410274 h 4209945"/>
                <a:gd name="connsiteX529" fmla="*/ 2731552 w 3581489"/>
                <a:gd name="connsiteY529" fmla="*/ 427121 h 4209945"/>
                <a:gd name="connsiteX530" fmla="*/ 2674903 w 3581489"/>
                <a:gd name="connsiteY530" fmla="*/ 463553 h 4209945"/>
                <a:gd name="connsiteX531" fmla="*/ 2732605 w 3581489"/>
                <a:gd name="connsiteY531" fmla="*/ 439546 h 4209945"/>
                <a:gd name="connsiteX532" fmla="*/ 2806521 w 3581489"/>
                <a:gd name="connsiteY532" fmla="*/ 414486 h 4209945"/>
                <a:gd name="connsiteX533" fmla="*/ 2865487 w 3581489"/>
                <a:gd name="connsiteY533" fmla="*/ 405430 h 4209945"/>
                <a:gd name="connsiteX534" fmla="*/ 2853483 w 3581489"/>
                <a:gd name="connsiteY534" fmla="*/ 421856 h 4209945"/>
                <a:gd name="connsiteX535" fmla="*/ 2810312 w 3581489"/>
                <a:gd name="connsiteY535" fmla="*/ 433860 h 4209945"/>
                <a:gd name="connsiteX536" fmla="*/ 2797256 w 3581489"/>
                <a:gd name="connsiteY536" fmla="*/ 442073 h 4209945"/>
                <a:gd name="connsiteX537" fmla="*/ 2816840 w 3581489"/>
                <a:gd name="connsiteY537" fmla="*/ 442494 h 4209945"/>
                <a:gd name="connsiteX538" fmla="*/ 2853272 w 3581489"/>
                <a:gd name="connsiteY538" fmla="*/ 429437 h 4209945"/>
                <a:gd name="connsiteX539" fmla="*/ 2842743 w 3581489"/>
                <a:gd name="connsiteY539" fmla="*/ 447759 h 4209945"/>
                <a:gd name="connsiteX540" fmla="*/ 2846112 w 3581489"/>
                <a:gd name="connsiteY540" fmla="*/ 460183 h 4209945"/>
                <a:gd name="connsiteX541" fmla="*/ 2867803 w 3581489"/>
                <a:gd name="connsiteY541" fmla="*/ 468817 h 4209945"/>
                <a:gd name="connsiteX542" fmla="*/ 2914343 w 3581489"/>
                <a:gd name="connsiteY542" fmla="*/ 466501 h 4209945"/>
                <a:gd name="connsiteX543" fmla="*/ 2958988 w 3581489"/>
                <a:gd name="connsiteY543" fmla="*/ 444810 h 4209945"/>
                <a:gd name="connsiteX544" fmla="*/ 2994578 w 3581489"/>
                <a:gd name="connsiteY544" fmla="*/ 427542 h 4209945"/>
                <a:gd name="connsiteX545" fmla="*/ 2993103 w 3581489"/>
                <a:gd name="connsiteY545" fmla="*/ 449654 h 4209945"/>
                <a:gd name="connsiteX546" fmla="*/ 2909500 w 3581489"/>
                <a:gd name="connsiteY546" fmla="*/ 481453 h 4209945"/>
                <a:gd name="connsiteX547" fmla="*/ 2832635 w 3581489"/>
                <a:gd name="connsiteY547" fmla="*/ 512199 h 4209945"/>
                <a:gd name="connsiteX548" fmla="*/ 2777460 w 3581489"/>
                <a:gd name="connsiteY548" fmla="*/ 538522 h 4209945"/>
                <a:gd name="connsiteX549" fmla="*/ 2781251 w 3581489"/>
                <a:gd name="connsiteY549" fmla="*/ 516411 h 4209945"/>
                <a:gd name="connsiteX550" fmla="*/ 2841690 w 3581489"/>
                <a:gd name="connsiteY550" fmla="*/ 486718 h 4209945"/>
                <a:gd name="connsiteX551" fmla="*/ 2789253 w 3581489"/>
                <a:gd name="connsiteY551" fmla="*/ 502933 h 4209945"/>
                <a:gd name="connsiteX552" fmla="*/ 2719548 w 3581489"/>
                <a:gd name="connsiteY552" fmla="*/ 524624 h 4209945"/>
                <a:gd name="connsiteX553" fmla="*/ 2622467 w 3581489"/>
                <a:gd name="connsiteY553" fmla="*/ 566952 h 4209945"/>
                <a:gd name="connsiteX554" fmla="*/ 2605620 w 3581489"/>
                <a:gd name="connsiteY554" fmla="*/ 605911 h 4209945"/>
                <a:gd name="connsiteX555" fmla="*/ 2560975 w 3581489"/>
                <a:gd name="connsiteY555" fmla="*/ 625496 h 4209945"/>
                <a:gd name="connsiteX556" fmla="*/ 2493797 w 3581489"/>
                <a:gd name="connsiteY556" fmla="*/ 644659 h 4209945"/>
                <a:gd name="connsiteX557" fmla="*/ 2463051 w 3581489"/>
                <a:gd name="connsiteY557" fmla="*/ 676880 h 4209945"/>
                <a:gd name="connsiteX558" fmla="*/ 2429357 w 3581489"/>
                <a:gd name="connsiteY558" fmla="*/ 711837 h 4209945"/>
                <a:gd name="connsiteX559" fmla="*/ 2390397 w 3581489"/>
                <a:gd name="connsiteY559" fmla="*/ 752270 h 4209945"/>
                <a:gd name="connsiteX560" fmla="*/ 2384711 w 3581489"/>
                <a:gd name="connsiteY560" fmla="*/ 726368 h 4209945"/>
                <a:gd name="connsiteX561" fmla="*/ 2372708 w 3581489"/>
                <a:gd name="connsiteY561" fmla="*/ 745953 h 4209945"/>
                <a:gd name="connsiteX562" fmla="*/ 2380500 w 3581489"/>
                <a:gd name="connsiteY562" fmla="*/ 765116 h 4209945"/>
                <a:gd name="connsiteX563" fmla="*/ 2383238 w 3581489"/>
                <a:gd name="connsiteY563" fmla="*/ 794388 h 4209945"/>
                <a:gd name="connsiteX564" fmla="*/ 2307425 w 3581489"/>
                <a:gd name="connsiteY564" fmla="*/ 835243 h 4209945"/>
                <a:gd name="connsiteX565" fmla="*/ 2282365 w 3581489"/>
                <a:gd name="connsiteY565" fmla="*/ 856301 h 4209945"/>
                <a:gd name="connsiteX566" fmla="*/ 2233930 w 3581489"/>
                <a:gd name="connsiteY566" fmla="*/ 877992 h 4209945"/>
                <a:gd name="connsiteX567" fmla="*/ 2178755 w 3581489"/>
                <a:gd name="connsiteY567" fmla="*/ 915477 h 4209945"/>
                <a:gd name="connsiteX568" fmla="*/ 2142323 w 3581489"/>
                <a:gd name="connsiteY568" fmla="*/ 966861 h 4209945"/>
                <a:gd name="connsiteX569" fmla="*/ 2150958 w 3581489"/>
                <a:gd name="connsiteY569" fmla="*/ 1012980 h 4209945"/>
                <a:gd name="connsiteX570" fmla="*/ 2150958 w 3581489"/>
                <a:gd name="connsiteY570" fmla="*/ 1069207 h 4209945"/>
                <a:gd name="connsiteX571" fmla="*/ 2117263 w 3581489"/>
                <a:gd name="connsiteY571" fmla="*/ 1111535 h 4209945"/>
                <a:gd name="connsiteX572" fmla="*/ 2095783 w 3581489"/>
                <a:gd name="connsiteY572" fmla="*/ 1089002 h 4209945"/>
                <a:gd name="connsiteX573" fmla="*/ 2072197 w 3581489"/>
                <a:gd name="connsiteY573" fmla="*/ 1051096 h 4209945"/>
                <a:gd name="connsiteX574" fmla="*/ 2087570 w 3581489"/>
                <a:gd name="connsiteY574" fmla="*/ 1017613 h 4209945"/>
                <a:gd name="connsiteX575" fmla="*/ 2057877 w 3581489"/>
                <a:gd name="connsiteY575" fmla="*/ 994448 h 4209945"/>
                <a:gd name="connsiteX576" fmla="*/ 2025236 w 3581489"/>
                <a:gd name="connsiteY576" fmla="*/ 1006030 h 4209945"/>
                <a:gd name="connsiteX577" fmla="*/ 1991120 w 3581489"/>
                <a:gd name="connsiteY577" fmla="*/ 996343 h 4209945"/>
                <a:gd name="connsiteX578" fmla="*/ 1934051 w 3581489"/>
                <a:gd name="connsiteY578" fmla="*/ 1010663 h 4209945"/>
                <a:gd name="connsiteX579" fmla="*/ 1881614 w 3581489"/>
                <a:gd name="connsiteY579" fmla="*/ 1031933 h 4209945"/>
                <a:gd name="connsiteX580" fmla="*/ 1878245 w 3581489"/>
                <a:gd name="connsiteY580" fmla="*/ 1055940 h 4209945"/>
                <a:gd name="connsiteX581" fmla="*/ 1862029 w 3581489"/>
                <a:gd name="connsiteY581" fmla="*/ 1054045 h 4209945"/>
                <a:gd name="connsiteX582" fmla="*/ 1827493 w 3581489"/>
                <a:gd name="connsiteY582" fmla="*/ 1066469 h 4209945"/>
                <a:gd name="connsiteX583" fmla="*/ 1767054 w 3581489"/>
                <a:gd name="connsiteY583" fmla="*/ 1068786 h 4209945"/>
                <a:gd name="connsiteX584" fmla="*/ 1732096 w 3581489"/>
                <a:gd name="connsiteY584" fmla="*/ 1072155 h 4209945"/>
                <a:gd name="connsiteX585" fmla="*/ 1642174 w 3581489"/>
                <a:gd name="connsiteY585" fmla="*/ 1120591 h 4209945"/>
                <a:gd name="connsiteX586" fmla="*/ 1582577 w 3581489"/>
                <a:gd name="connsiteY586" fmla="*/ 1166710 h 4209945"/>
                <a:gd name="connsiteX587" fmla="*/ 1574364 w 3581489"/>
                <a:gd name="connsiteY587" fmla="*/ 1208406 h 4209945"/>
                <a:gd name="connsiteX588" fmla="*/ 1535406 w 3581489"/>
                <a:gd name="connsiteY588" fmla="*/ 1270741 h 4209945"/>
                <a:gd name="connsiteX589" fmla="*/ 1524455 w 3581489"/>
                <a:gd name="connsiteY589" fmla="*/ 1308647 h 4209945"/>
                <a:gd name="connsiteX590" fmla="*/ 1525508 w 3581489"/>
                <a:gd name="connsiteY590" fmla="*/ 1334128 h 4209945"/>
                <a:gd name="connsiteX591" fmla="*/ 1546567 w 3581489"/>
                <a:gd name="connsiteY591" fmla="*/ 1368665 h 4209945"/>
                <a:gd name="connsiteX592" fmla="*/ 1548462 w 3581489"/>
                <a:gd name="connsiteY592" fmla="*/ 1392672 h 4209945"/>
                <a:gd name="connsiteX593" fmla="*/ 1585947 w 3581489"/>
                <a:gd name="connsiteY593" fmla="*/ 1394567 h 4209945"/>
                <a:gd name="connsiteX594" fmla="*/ 1619009 w 3581489"/>
                <a:gd name="connsiteY594" fmla="*/ 1394567 h 4209945"/>
                <a:gd name="connsiteX595" fmla="*/ 1680501 w 3581489"/>
                <a:gd name="connsiteY595" fmla="*/ 1368665 h 4209945"/>
                <a:gd name="connsiteX596" fmla="*/ 1726620 w 3581489"/>
                <a:gd name="connsiteY596" fmla="*/ 1342762 h 4209945"/>
                <a:gd name="connsiteX597" fmla="*/ 1761157 w 3581489"/>
                <a:gd name="connsiteY597" fmla="*/ 1285061 h 4209945"/>
                <a:gd name="connsiteX598" fmla="*/ 1813594 w 3581489"/>
                <a:gd name="connsiteY598" fmla="*/ 1264002 h 4209945"/>
                <a:gd name="connsiteX599" fmla="*/ 1863503 w 3581489"/>
                <a:gd name="connsiteY599" fmla="*/ 1252420 h 4209945"/>
                <a:gd name="connsiteX600" fmla="*/ 1861187 w 3581489"/>
                <a:gd name="connsiteY600" fmla="*/ 1282113 h 4209945"/>
                <a:gd name="connsiteX601" fmla="*/ 1819490 w 3581489"/>
                <a:gd name="connsiteY601" fmla="*/ 1345500 h 4209945"/>
                <a:gd name="connsiteX602" fmla="*/ 1790639 w 3581489"/>
                <a:gd name="connsiteY602" fmla="*/ 1389724 h 4209945"/>
                <a:gd name="connsiteX603" fmla="*/ 1766211 w 3581489"/>
                <a:gd name="connsiteY603" fmla="*/ 1424260 h 4209945"/>
                <a:gd name="connsiteX604" fmla="*/ 1812330 w 3581489"/>
                <a:gd name="connsiteY604" fmla="*/ 1420891 h 4209945"/>
                <a:gd name="connsiteX605" fmla="*/ 1885405 w 3581489"/>
                <a:gd name="connsiteY605" fmla="*/ 1406992 h 4209945"/>
                <a:gd name="connsiteX606" fmla="*/ 1936788 w 3581489"/>
                <a:gd name="connsiteY606" fmla="*/ 1422786 h 4209945"/>
                <a:gd name="connsiteX607" fmla="*/ 1920994 w 3581489"/>
                <a:gd name="connsiteY607" fmla="*/ 1468484 h 4209945"/>
                <a:gd name="connsiteX608" fmla="*/ 1896566 w 3581489"/>
                <a:gd name="connsiteY608" fmla="*/ 1526185 h 4209945"/>
                <a:gd name="connsiteX609" fmla="*/ 1903305 w 3581489"/>
                <a:gd name="connsiteY609" fmla="*/ 1574621 h 4209945"/>
                <a:gd name="connsiteX610" fmla="*/ 1950477 w 3581489"/>
                <a:gd name="connsiteY610" fmla="*/ 1600523 h 4209945"/>
                <a:gd name="connsiteX611" fmla="*/ 1995964 w 3581489"/>
                <a:gd name="connsiteY611" fmla="*/ 1581781 h 4209945"/>
                <a:gd name="connsiteX612" fmla="*/ 2061878 w 3581489"/>
                <a:gd name="connsiteY612" fmla="*/ 1568303 h 4209945"/>
                <a:gd name="connsiteX613" fmla="*/ 2097889 w 3581489"/>
                <a:gd name="connsiteY613" fmla="*/ 1589362 h 4209945"/>
                <a:gd name="connsiteX614" fmla="*/ 2134953 w 3581489"/>
                <a:gd name="connsiteY614" fmla="*/ 1558616 h 4209945"/>
                <a:gd name="connsiteX615" fmla="*/ 2166752 w 3581489"/>
                <a:gd name="connsiteY615" fmla="*/ 1534188 h 4209945"/>
                <a:gd name="connsiteX616" fmla="*/ 2195603 w 3581489"/>
                <a:gd name="connsiteY616" fmla="*/ 1490596 h 4209945"/>
                <a:gd name="connsiteX617" fmla="*/ 2255620 w 3581489"/>
                <a:gd name="connsiteY617" fmla="*/ 1477118 h 4209945"/>
                <a:gd name="connsiteX618" fmla="*/ 2296053 w 3581489"/>
                <a:gd name="connsiteY618" fmla="*/ 1450163 h 4209945"/>
                <a:gd name="connsiteX619" fmla="*/ 2339856 w 3581489"/>
                <a:gd name="connsiteY619" fmla="*/ 1432894 h 4209945"/>
                <a:gd name="connsiteX620" fmla="*/ 2308268 w 3581489"/>
                <a:gd name="connsiteY620" fmla="*/ 1465115 h 4209945"/>
                <a:gd name="connsiteX621" fmla="*/ 2332275 w 3581489"/>
                <a:gd name="connsiteY621" fmla="*/ 1468063 h 4209945"/>
                <a:gd name="connsiteX622" fmla="*/ 2367443 w 3581489"/>
                <a:gd name="connsiteY622" fmla="*/ 1450373 h 4209945"/>
                <a:gd name="connsiteX623" fmla="*/ 2382395 w 3581489"/>
                <a:gd name="connsiteY623" fmla="*/ 1429314 h 4209945"/>
                <a:gd name="connsiteX624" fmla="*/ 2397347 w 3581489"/>
                <a:gd name="connsiteY624" fmla="*/ 1450373 h 4209945"/>
                <a:gd name="connsiteX625" fmla="*/ 2434200 w 3581489"/>
                <a:gd name="connsiteY625" fmla="*/ 1458586 h 4209945"/>
                <a:gd name="connsiteX626" fmla="*/ 2467894 w 3581489"/>
                <a:gd name="connsiteY626" fmla="*/ 1463430 h 4209945"/>
                <a:gd name="connsiteX627" fmla="*/ 2523490 w 3581489"/>
                <a:gd name="connsiteY627" fmla="*/ 1460482 h 4209945"/>
                <a:gd name="connsiteX628" fmla="*/ 2571925 w 3581489"/>
                <a:gd name="connsiteY628" fmla="*/ 1450373 h 4209945"/>
                <a:gd name="connsiteX629" fmla="*/ 2628574 w 3581489"/>
                <a:gd name="connsiteY629" fmla="*/ 1431631 h 4209945"/>
                <a:gd name="connsiteX630" fmla="*/ 2649633 w 3581489"/>
                <a:gd name="connsiteY630" fmla="*/ 1442792 h 4209945"/>
                <a:gd name="connsiteX631" fmla="*/ 2701016 w 3581489"/>
                <a:gd name="connsiteY631" fmla="*/ 1461113 h 4209945"/>
                <a:gd name="connsiteX632" fmla="*/ 2726498 w 3581489"/>
                <a:gd name="connsiteY632" fmla="*/ 1485120 h 4209945"/>
                <a:gd name="connsiteX633" fmla="*/ 2768826 w 3581489"/>
                <a:gd name="connsiteY633" fmla="*/ 1512497 h 4209945"/>
                <a:gd name="connsiteX634" fmla="*/ 2799572 w 3581489"/>
                <a:gd name="connsiteY634" fmla="*/ 1543664 h 4209945"/>
                <a:gd name="connsiteX635" fmla="*/ 2843796 w 3581489"/>
                <a:gd name="connsiteY635" fmla="*/ 1548508 h 4209945"/>
                <a:gd name="connsiteX636" fmla="*/ 2912869 w 3581489"/>
                <a:gd name="connsiteY636" fmla="*/ 1541348 h 4209945"/>
                <a:gd name="connsiteX637" fmla="*/ 2974782 w 3581489"/>
                <a:gd name="connsiteY637" fmla="*/ 1563038 h 4209945"/>
                <a:gd name="connsiteX638" fmla="*/ 3017953 w 3581489"/>
                <a:gd name="connsiteY638" fmla="*/ 1596101 h 4209945"/>
                <a:gd name="connsiteX639" fmla="*/ 3033747 w 3581489"/>
                <a:gd name="connsiteY639" fmla="*/ 1634007 h 4209945"/>
                <a:gd name="connsiteX640" fmla="*/ 3078813 w 3581489"/>
                <a:gd name="connsiteY640" fmla="*/ 1648959 h 4209945"/>
                <a:gd name="connsiteX641" fmla="*/ 3096082 w 3581489"/>
                <a:gd name="connsiteY641" fmla="*/ 1698026 h 4209945"/>
                <a:gd name="connsiteX642" fmla="*/ 3117140 w 3581489"/>
                <a:gd name="connsiteY642" fmla="*/ 1736564 h 4209945"/>
                <a:gd name="connsiteX643" fmla="*/ 3197375 w 3581489"/>
                <a:gd name="connsiteY643" fmla="*/ 1746251 h 4209945"/>
                <a:gd name="connsiteX644" fmla="*/ 3237808 w 3581489"/>
                <a:gd name="connsiteY644" fmla="*/ 1779735 h 4209945"/>
                <a:gd name="connsiteX645" fmla="*/ 3276135 w 3581489"/>
                <a:gd name="connsiteY645" fmla="*/ 1785421 h 4209945"/>
                <a:gd name="connsiteX646" fmla="*/ 3326677 w 3581489"/>
                <a:gd name="connsiteY646" fmla="*/ 1791738 h 4209945"/>
                <a:gd name="connsiteX647" fmla="*/ 3377639 w 3581489"/>
                <a:gd name="connsiteY647" fmla="*/ 1790264 h 4209945"/>
                <a:gd name="connsiteX648" fmla="*/ 3425654 w 3581489"/>
                <a:gd name="connsiteY648" fmla="*/ 1793212 h 4209945"/>
                <a:gd name="connsiteX649" fmla="*/ 3481460 w 3581489"/>
                <a:gd name="connsiteY649" fmla="*/ 1833014 h 4209945"/>
                <a:gd name="connsiteX650" fmla="*/ 3533897 w 3581489"/>
                <a:gd name="connsiteY650" fmla="*/ 1855547 h 4209945"/>
                <a:gd name="connsiteX651" fmla="*/ 3570960 w 3581489"/>
                <a:gd name="connsiteY651" fmla="*/ 1875763 h 4209945"/>
                <a:gd name="connsiteX652" fmla="*/ 3581490 w 3581489"/>
                <a:gd name="connsiteY652" fmla="*/ 1928200 h 4209945"/>
                <a:gd name="connsiteX653" fmla="*/ 3552218 w 3581489"/>
                <a:gd name="connsiteY653" fmla="*/ 2001274 h 4209945"/>
                <a:gd name="connsiteX654" fmla="*/ 3492200 w 3581489"/>
                <a:gd name="connsiteY654" fmla="*/ 2061713 h 4209945"/>
                <a:gd name="connsiteX655" fmla="*/ 3442290 w 3581489"/>
                <a:gd name="connsiteY655" fmla="*/ 2128891 h 4209945"/>
                <a:gd name="connsiteX656" fmla="*/ 3403331 w 3581489"/>
                <a:gd name="connsiteY656" fmla="*/ 2159006 h 4209945"/>
                <a:gd name="connsiteX657" fmla="*/ 3380798 w 3581489"/>
                <a:gd name="connsiteY657" fmla="*/ 2200281 h 4209945"/>
                <a:gd name="connsiteX658" fmla="*/ 3375112 w 3581489"/>
                <a:gd name="connsiteY658" fmla="*/ 2260299 h 4209945"/>
                <a:gd name="connsiteX659" fmla="*/ 3353000 w 3581489"/>
                <a:gd name="connsiteY659" fmla="*/ 2342429 h 4209945"/>
                <a:gd name="connsiteX660" fmla="*/ 3324150 w 3581489"/>
                <a:gd name="connsiteY660" fmla="*/ 2385178 h 4209945"/>
                <a:gd name="connsiteX661" fmla="*/ 3309198 w 3581489"/>
                <a:gd name="connsiteY661" fmla="*/ 2441406 h 4209945"/>
                <a:gd name="connsiteX662" fmla="*/ 3261184 w 3581489"/>
                <a:gd name="connsiteY662" fmla="*/ 2505846 h 4209945"/>
                <a:gd name="connsiteX663" fmla="*/ 3246863 w 3581489"/>
                <a:gd name="connsiteY663" fmla="*/ 2539961 h 4209945"/>
                <a:gd name="connsiteX664" fmla="*/ 3213380 w 3581489"/>
                <a:gd name="connsiteY664" fmla="*/ 2572182 h 4209945"/>
                <a:gd name="connsiteX665" fmla="*/ 3175474 w 3581489"/>
                <a:gd name="connsiteY665" fmla="*/ 2581237 h 4209945"/>
                <a:gd name="connsiteX666" fmla="*/ 3107664 w 3581489"/>
                <a:gd name="connsiteY666" fmla="*/ 2594083 h 4209945"/>
                <a:gd name="connsiteX667" fmla="*/ 3072496 w 3581489"/>
                <a:gd name="connsiteY667" fmla="*/ 2624829 h 4209945"/>
                <a:gd name="connsiteX668" fmla="*/ 2970781 w 3581489"/>
                <a:gd name="connsiteY668" fmla="*/ 2684004 h 4209945"/>
                <a:gd name="connsiteX669" fmla="*/ 2921925 w 3581489"/>
                <a:gd name="connsiteY669" fmla="*/ 2763817 h 4209945"/>
                <a:gd name="connsiteX670" fmla="*/ 2909500 w 3581489"/>
                <a:gd name="connsiteY670" fmla="*/ 2836260 h 4209945"/>
                <a:gd name="connsiteX671" fmla="*/ 2848008 w 3581489"/>
                <a:gd name="connsiteY671" fmla="*/ 2901122 h 4209945"/>
                <a:gd name="connsiteX672" fmla="*/ 2813892 w 3581489"/>
                <a:gd name="connsiteY672" fmla="*/ 2963456 h 4209945"/>
                <a:gd name="connsiteX673" fmla="*/ 2773038 w 3581489"/>
                <a:gd name="connsiteY673" fmla="*/ 2988937 h 4209945"/>
                <a:gd name="connsiteX674" fmla="*/ 2762930 w 3581489"/>
                <a:gd name="connsiteY674" fmla="*/ 2982620 h 4209945"/>
                <a:gd name="connsiteX675" fmla="*/ 2756191 w 3581489"/>
                <a:gd name="connsiteY675" fmla="*/ 3016314 h 4209945"/>
                <a:gd name="connsiteX676" fmla="*/ 2718706 w 3581489"/>
                <a:gd name="connsiteY676" fmla="*/ 3072962 h 4209945"/>
                <a:gd name="connsiteX677" fmla="*/ 2659741 w 3581489"/>
                <a:gd name="connsiteY677" fmla="*/ 3132559 h 4209945"/>
                <a:gd name="connsiteX678" fmla="*/ 2590457 w 3581489"/>
                <a:gd name="connsiteY678" fmla="*/ 3153618 h 4209945"/>
                <a:gd name="connsiteX679" fmla="*/ 2549603 w 3581489"/>
                <a:gd name="connsiteY679" fmla="*/ 3175309 h 4209945"/>
                <a:gd name="connsiteX680" fmla="*/ 2522226 w 3581489"/>
                <a:gd name="connsiteY680" fmla="*/ 3205423 h 4209945"/>
                <a:gd name="connsiteX681" fmla="*/ 2533809 w 3581489"/>
                <a:gd name="connsiteY681" fmla="*/ 3227535 h 4209945"/>
                <a:gd name="connsiteX682" fmla="*/ 2535283 w 3581489"/>
                <a:gd name="connsiteY682" fmla="*/ 3259755 h 4209945"/>
                <a:gd name="connsiteX683" fmla="*/ 2483057 w 3581489"/>
                <a:gd name="connsiteY683" fmla="*/ 3311139 h 4209945"/>
                <a:gd name="connsiteX684" fmla="*/ 2389344 w 3581489"/>
                <a:gd name="connsiteY684" fmla="*/ 3362943 h 4209945"/>
                <a:gd name="connsiteX685" fmla="*/ 2331222 w 3581489"/>
                <a:gd name="connsiteY685" fmla="*/ 3374526 h 4209945"/>
                <a:gd name="connsiteX686" fmla="*/ 2307636 w 3581489"/>
                <a:gd name="connsiteY686" fmla="*/ 3427805 h 4209945"/>
                <a:gd name="connsiteX687" fmla="*/ 2259200 w 3581489"/>
                <a:gd name="connsiteY687" fmla="*/ 3469501 h 4209945"/>
                <a:gd name="connsiteX688" fmla="*/ 2184862 w 3581489"/>
                <a:gd name="connsiteY688" fmla="*/ 3468027 h 4209945"/>
                <a:gd name="connsiteX689" fmla="*/ 2167594 w 3581489"/>
                <a:gd name="connsiteY689" fmla="*/ 3508882 h 4209945"/>
                <a:gd name="connsiteX690" fmla="*/ 2192023 w 3581489"/>
                <a:gd name="connsiteY690" fmla="*/ 3545314 h 4209945"/>
                <a:gd name="connsiteX691" fmla="*/ 2230981 w 3581489"/>
                <a:gd name="connsiteY691" fmla="*/ 3529941 h 4209945"/>
                <a:gd name="connsiteX692" fmla="*/ 2196445 w 3581489"/>
                <a:gd name="connsiteY692" fmla="*/ 3568268 h 4209945"/>
                <a:gd name="connsiteX693" fmla="*/ 2151379 w 3581489"/>
                <a:gd name="connsiteY693" fmla="*/ 3599014 h 4209945"/>
                <a:gd name="connsiteX694" fmla="*/ 2138322 w 3581489"/>
                <a:gd name="connsiteY694" fmla="*/ 3643659 h 4209945"/>
                <a:gd name="connsiteX695" fmla="*/ 2094520 w 3581489"/>
                <a:gd name="connsiteY695" fmla="*/ 3678827 h 4209945"/>
                <a:gd name="connsiteX696" fmla="*/ 2038292 w 3581489"/>
                <a:gd name="connsiteY696" fmla="*/ 3734002 h 4209945"/>
                <a:gd name="connsiteX697" fmla="*/ 2105470 w 3581489"/>
                <a:gd name="connsiteY697" fmla="*/ 3770012 h 4209945"/>
                <a:gd name="connsiteX698" fmla="*/ 2099153 w 3581489"/>
                <a:gd name="connsiteY698" fmla="*/ 3799284 h 4209945"/>
                <a:gd name="connsiteX699" fmla="*/ 2062721 w 3581489"/>
                <a:gd name="connsiteY699" fmla="*/ 3840981 h 4209945"/>
                <a:gd name="connsiteX700" fmla="*/ 2019971 w 3581489"/>
                <a:gd name="connsiteY700" fmla="*/ 3876570 h 4209945"/>
                <a:gd name="connsiteX701" fmla="*/ 1982697 w 3581489"/>
                <a:gd name="connsiteY701" fmla="*/ 3936378 h 4209945"/>
                <a:gd name="connsiteX702" fmla="*/ 1894249 w 3581489"/>
                <a:gd name="connsiteY702" fmla="*/ 4071786 h 4209945"/>
                <a:gd name="connsiteX703" fmla="*/ 1912571 w 3581489"/>
                <a:gd name="connsiteY703" fmla="*/ 4064416 h 4209945"/>
                <a:gd name="connsiteX704" fmla="*/ 1899514 w 3581489"/>
                <a:gd name="connsiteY704" fmla="*/ 4054729 h 4209945"/>
                <a:gd name="connsiteX705" fmla="*/ 1879297 w 3581489"/>
                <a:gd name="connsiteY705" fmla="*/ 4068206 h 4209945"/>
                <a:gd name="connsiteX706" fmla="*/ 1861608 w 3581489"/>
                <a:gd name="connsiteY706" fmla="*/ 4084632 h 4209945"/>
                <a:gd name="connsiteX707" fmla="*/ 1854027 w 3581489"/>
                <a:gd name="connsiteY707" fmla="*/ 4114325 h 4209945"/>
                <a:gd name="connsiteX708" fmla="*/ 1838654 w 3581489"/>
                <a:gd name="connsiteY708" fmla="*/ 4131594 h 4209945"/>
                <a:gd name="connsiteX709" fmla="*/ 1852553 w 3581489"/>
                <a:gd name="connsiteY709" fmla="*/ 4136437 h 4209945"/>
                <a:gd name="connsiteX710" fmla="*/ 1868979 w 3581489"/>
                <a:gd name="connsiteY710" fmla="*/ 4112851 h 4209945"/>
                <a:gd name="connsiteX711" fmla="*/ 1879508 w 3581489"/>
                <a:gd name="connsiteY711" fmla="*/ 4128224 h 4209945"/>
                <a:gd name="connsiteX712" fmla="*/ 1888142 w 3581489"/>
                <a:gd name="connsiteY712" fmla="*/ 4144019 h 4209945"/>
                <a:gd name="connsiteX713" fmla="*/ 1917414 w 3581489"/>
                <a:gd name="connsiteY713" fmla="*/ 4148019 h 4209945"/>
                <a:gd name="connsiteX714" fmla="*/ 1908359 w 3581489"/>
                <a:gd name="connsiteY714" fmla="*/ 4133489 h 4209945"/>
                <a:gd name="connsiteX715" fmla="*/ 1888142 w 3581489"/>
                <a:gd name="connsiteY715" fmla="*/ 4119590 h 4209945"/>
                <a:gd name="connsiteX716" fmla="*/ 1906885 w 3581489"/>
                <a:gd name="connsiteY716" fmla="*/ 4109903 h 4209945"/>
                <a:gd name="connsiteX717" fmla="*/ 1918467 w 3581489"/>
                <a:gd name="connsiteY717" fmla="*/ 4096004 h 4209945"/>
                <a:gd name="connsiteX718" fmla="*/ 1882878 w 3581489"/>
                <a:gd name="connsiteY718" fmla="*/ 4102743 h 4209945"/>
                <a:gd name="connsiteX719" fmla="*/ 1881825 w 3581489"/>
                <a:gd name="connsiteY719" fmla="*/ 4085054 h 4209945"/>
                <a:gd name="connsiteX720" fmla="*/ 1894249 w 3581489"/>
                <a:gd name="connsiteY720" fmla="*/ 4071786 h 4209945"/>
                <a:gd name="connsiteX721" fmla="*/ 1848762 w 3581489"/>
                <a:gd name="connsiteY721" fmla="*/ 4077472 h 4209945"/>
                <a:gd name="connsiteX722" fmla="*/ 1833389 w 3581489"/>
                <a:gd name="connsiteY722" fmla="*/ 4084211 h 4209945"/>
                <a:gd name="connsiteX723" fmla="*/ 1815068 w 3581489"/>
                <a:gd name="connsiteY723" fmla="*/ 4092845 h 4209945"/>
                <a:gd name="connsiteX724" fmla="*/ 1808961 w 3581489"/>
                <a:gd name="connsiteY724" fmla="*/ 4100637 h 4209945"/>
                <a:gd name="connsiteX725" fmla="*/ 1835284 w 3581489"/>
                <a:gd name="connsiteY725" fmla="*/ 4097268 h 4209945"/>
                <a:gd name="connsiteX726" fmla="*/ 1848341 w 3581489"/>
                <a:gd name="connsiteY726" fmla="*/ 4086738 h 4209945"/>
                <a:gd name="connsiteX727" fmla="*/ 1848762 w 3581489"/>
                <a:gd name="connsiteY727" fmla="*/ 4077472 h 4209945"/>
                <a:gd name="connsiteX728" fmla="*/ 2303424 w 3581489"/>
                <a:gd name="connsiteY728" fmla="*/ 1501757 h 4209945"/>
                <a:gd name="connsiteX729" fmla="*/ 2289104 w 3581489"/>
                <a:gd name="connsiteY729" fmla="*/ 1516709 h 4209945"/>
                <a:gd name="connsiteX730" fmla="*/ 2295843 w 3581489"/>
                <a:gd name="connsiteY730" fmla="*/ 1533977 h 4209945"/>
                <a:gd name="connsiteX731" fmla="*/ 2317955 w 3581489"/>
                <a:gd name="connsiteY731" fmla="*/ 1524922 h 4209945"/>
                <a:gd name="connsiteX732" fmla="*/ 2322798 w 3581489"/>
                <a:gd name="connsiteY732" fmla="*/ 1508075 h 4209945"/>
                <a:gd name="connsiteX733" fmla="*/ 2314585 w 3581489"/>
                <a:gd name="connsiteY733" fmla="*/ 1493123 h 4209945"/>
                <a:gd name="connsiteX734" fmla="*/ 2303424 w 3581489"/>
                <a:gd name="connsiteY734" fmla="*/ 1501757 h 4209945"/>
                <a:gd name="connsiteX735" fmla="*/ 2336065 w 3581489"/>
                <a:gd name="connsiteY735" fmla="*/ 639395 h 4209945"/>
                <a:gd name="connsiteX736" fmla="*/ 2298159 w 3581489"/>
                <a:gd name="connsiteY736" fmla="*/ 648450 h 4209945"/>
                <a:gd name="connsiteX737" fmla="*/ 2266571 w 3581489"/>
                <a:gd name="connsiteY737" fmla="*/ 656663 h 4209945"/>
                <a:gd name="connsiteX738" fmla="*/ 2224243 w 3581489"/>
                <a:gd name="connsiteY738" fmla="*/ 675405 h 4209945"/>
                <a:gd name="connsiteX739" fmla="*/ 2191601 w 3581489"/>
                <a:gd name="connsiteY739" fmla="*/ 688883 h 4209945"/>
                <a:gd name="connsiteX740" fmla="*/ 2241511 w 3581489"/>
                <a:gd name="connsiteY740" fmla="*/ 684040 h 4209945"/>
                <a:gd name="connsiteX741" fmla="*/ 2295211 w 3581489"/>
                <a:gd name="connsiteY741" fmla="*/ 661085 h 4209945"/>
                <a:gd name="connsiteX742" fmla="*/ 2336065 w 3581489"/>
                <a:gd name="connsiteY742" fmla="*/ 639395 h 4209945"/>
                <a:gd name="connsiteX743" fmla="*/ 2365337 w 3581489"/>
                <a:gd name="connsiteY743" fmla="*/ 608649 h 4209945"/>
                <a:gd name="connsiteX744" fmla="*/ 2328274 w 3581489"/>
                <a:gd name="connsiteY744" fmla="*/ 622548 h 4209945"/>
                <a:gd name="connsiteX745" fmla="*/ 2337961 w 3581489"/>
                <a:gd name="connsiteY745" fmla="*/ 627391 h 4209945"/>
                <a:gd name="connsiteX746" fmla="*/ 2378815 w 3581489"/>
                <a:gd name="connsiteY746" fmla="*/ 617283 h 4209945"/>
                <a:gd name="connsiteX747" fmla="*/ 2413773 w 3581489"/>
                <a:gd name="connsiteY747" fmla="*/ 610123 h 4209945"/>
                <a:gd name="connsiteX748" fmla="*/ 2436306 w 3581489"/>
                <a:gd name="connsiteY748" fmla="*/ 593907 h 4209945"/>
                <a:gd name="connsiteX749" fmla="*/ 2415247 w 3581489"/>
                <a:gd name="connsiteY749" fmla="*/ 595803 h 4209945"/>
                <a:gd name="connsiteX750" fmla="*/ 2384080 w 3581489"/>
                <a:gd name="connsiteY750" fmla="*/ 606332 h 4209945"/>
                <a:gd name="connsiteX751" fmla="*/ 2365337 w 3581489"/>
                <a:gd name="connsiteY751" fmla="*/ 608649 h 4209945"/>
                <a:gd name="connsiteX752" fmla="*/ 2159802 w 3581489"/>
                <a:gd name="connsiteY752" fmla="*/ 564425 h 4209945"/>
                <a:gd name="connsiteX753" fmla="*/ 2149694 w 3581489"/>
                <a:gd name="connsiteY753" fmla="*/ 552843 h 4209945"/>
                <a:gd name="connsiteX754" fmla="*/ 2098310 w 3581489"/>
                <a:gd name="connsiteY754" fmla="*/ 565899 h 4209945"/>
                <a:gd name="connsiteX755" fmla="*/ 2053665 w 3581489"/>
                <a:gd name="connsiteY755" fmla="*/ 586958 h 4209945"/>
                <a:gd name="connsiteX756" fmla="*/ 2001860 w 3581489"/>
                <a:gd name="connsiteY756" fmla="*/ 607596 h 4209945"/>
                <a:gd name="connsiteX757" fmla="*/ 1961427 w 3581489"/>
                <a:gd name="connsiteY757" fmla="*/ 631603 h 4209945"/>
                <a:gd name="connsiteX758" fmla="*/ 1978274 w 3581489"/>
                <a:gd name="connsiteY758" fmla="*/ 632024 h 4209945"/>
                <a:gd name="connsiteX759" fmla="*/ 1996596 w 3581489"/>
                <a:gd name="connsiteY759" fmla="*/ 626759 h 4209945"/>
                <a:gd name="connsiteX760" fmla="*/ 2031764 w 3581489"/>
                <a:gd name="connsiteY760" fmla="*/ 616651 h 4209945"/>
                <a:gd name="connsiteX761" fmla="*/ 2086517 w 3581489"/>
                <a:gd name="connsiteY761" fmla="*/ 594539 h 4209945"/>
                <a:gd name="connsiteX762" fmla="*/ 2073040 w 3581489"/>
                <a:gd name="connsiteY762" fmla="*/ 608017 h 4209945"/>
                <a:gd name="connsiteX763" fmla="*/ 2098100 w 3581489"/>
                <a:gd name="connsiteY763" fmla="*/ 607596 h 4209945"/>
                <a:gd name="connsiteX764" fmla="*/ 2136427 w 3581489"/>
                <a:gd name="connsiteY764" fmla="*/ 597909 h 4209945"/>
                <a:gd name="connsiteX765" fmla="*/ 2164857 w 3581489"/>
                <a:gd name="connsiteY765" fmla="*/ 590749 h 4209945"/>
                <a:gd name="connsiteX766" fmla="*/ 2180651 w 3581489"/>
                <a:gd name="connsiteY766" fmla="*/ 589906 h 4209945"/>
                <a:gd name="connsiteX767" fmla="*/ 2194550 w 3581489"/>
                <a:gd name="connsiteY767" fmla="*/ 574954 h 4209945"/>
                <a:gd name="connsiteX768" fmla="*/ 2192654 w 3581489"/>
                <a:gd name="connsiteY768" fmla="*/ 561898 h 4209945"/>
                <a:gd name="connsiteX769" fmla="*/ 2176228 w 3581489"/>
                <a:gd name="connsiteY769" fmla="*/ 563372 h 4209945"/>
                <a:gd name="connsiteX770" fmla="*/ 2159802 w 3581489"/>
                <a:gd name="connsiteY770" fmla="*/ 564425 h 4209945"/>
                <a:gd name="connsiteX771" fmla="*/ 2180019 w 3581489"/>
                <a:gd name="connsiteY771" fmla="*/ 608017 h 4209945"/>
                <a:gd name="connsiteX772" fmla="*/ 2214977 w 3581489"/>
                <a:gd name="connsiteY772" fmla="*/ 608859 h 4209945"/>
                <a:gd name="connsiteX773" fmla="*/ 2202973 w 3581489"/>
                <a:gd name="connsiteY773" fmla="*/ 632866 h 4209945"/>
                <a:gd name="connsiteX774" fmla="*/ 2216451 w 3581489"/>
                <a:gd name="connsiteY774" fmla="*/ 634762 h 4209945"/>
                <a:gd name="connsiteX775" fmla="*/ 2225506 w 3581489"/>
                <a:gd name="connsiteY775" fmla="*/ 654978 h 4209945"/>
                <a:gd name="connsiteX776" fmla="*/ 2251830 w 3581489"/>
                <a:gd name="connsiteY776" fmla="*/ 637710 h 4209945"/>
                <a:gd name="connsiteX777" fmla="*/ 2270572 w 3581489"/>
                <a:gd name="connsiteY777" fmla="*/ 614756 h 4209945"/>
                <a:gd name="connsiteX778" fmla="*/ 2275837 w 3581489"/>
                <a:gd name="connsiteY778" fmla="*/ 598330 h 4209945"/>
                <a:gd name="connsiteX779" fmla="*/ 2306162 w 3581489"/>
                <a:gd name="connsiteY779" fmla="*/ 606964 h 4209945"/>
                <a:gd name="connsiteX780" fmla="*/ 2323009 w 3581489"/>
                <a:gd name="connsiteY780" fmla="*/ 593486 h 4209945"/>
                <a:gd name="connsiteX781" fmla="*/ 2301318 w 3581489"/>
                <a:gd name="connsiteY781" fmla="*/ 577060 h 4209945"/>
                <a:gd name="connsiteX782" fmla="*/ 2275837 w 3581489"/>
                <a:gd name="connsiteY782" fmla="*/ 586747 h 4209945"/>
                <a:gd name="connsiteX783" fmla="*/ 2256041 w 3581489"/>
                <a:gd name="connsiteY783" fmla="*/ 592433 h 4209945"/>
                <a:gd name="connsiteX784" fmla="*/ 2214766 w 3581489"/>
                <a:gd name="connsiteY784" fmla="*/ 595382 h 4209945"/>
                <a:gd name="connsiteX785" fmla="*/ 2173912 w 3581489"/>
                <a:gd name="connsiteY785" fmla="*/ 602963 h 4209945"/>
                <a:gd name="connsiteX786" fmla="*/ 2137269 w 3581489"/>
                <a:gd name="connsiteY786" fmla="*/ 611176 h 4209945"/>
                <a:gd name="connsiteX787" fmla="*/ 2097468 w 3581489"/>
                <a:gd name="connsiteY787" fmla="*/ 628444 h 4209945"/>
                <a:gd name="connsiteX788" fmla="*/ 2069038 w 3581489"/>
                <a:gd name="connsiteY788" fmla="*/ 652872 h 4209945"/>
                <a:gd name="connsiteX789" fmla="*/ 2100206 w 3581489"/>
                <a:gd name="connsiteY789" fmla="*/ 632656 h 4209945"/>
                <a:gd name="connsiteX790" fmla="*/ 2077673 w 3581489"/>
                <a:gd name="connsiteY790" fmla="*/ 658558 h 4209945"/>
                <a:gd name="connsiteX791" fmla="*/ 2046927 w 3581489"/>
                <a:gd name="connsiteY791" fmla="*/ 705730 h 4209945"/>
                <a:gd name="connsiteX792" fmla="*/ 2061246 w 3581489"/>
                <a:gd name="connsiteY792" fmla="*/ 721103 h 4209945"/>
                <a:gd name="connsiteX793" fmla="*/ 2102101 w 3581489"/>
                <a:gd name="connsiteY793" fmla="*/ 688462 h 4209945"/>
                <a:gd name="connsiteX794" fmla="*/ 2105470 w 3581489"/>
                <a:gd name="connsiteY794" fmla="*/ 661507 h 4209945"/>
                <a:gd name="connsiteX795" fmla="*/ 2132426 w 3581489"/>
                <a:gd name="connsiteY795" fmla="*/ 634972 h 4209945"/>
                <a:gd name="connsiteX796" fmla="*/ 2162119 w 3581489"/>
                <a:gd name="connsiteY796" fmla="*/ 615388 h 4209945"/>
                <a:gd name="connsiteX797" fmla="*/ 2180019 w 3581489"/>
                <a:gd name="connsiteY797" fmla="*/ 608017 h 4209945"/>
                <a:gd name="connsiteX798" fmla="*/ 2105049 w 3581489"/>
                <a:gd name="connsiteY798" fmla="*/ 532205 h 4209945"/>
                <a:gd name="connsiteX799" fmla="*/ 2084833 w 3581489"/>
                <a:gd name="connsiteY799" fmla="*/ 544630 h 4209945"/>
                <a:gd name="connsiteX800" fmla="*/ 2097257 w 3581489"/>
                <a:gd name="connsiteY800" fmla="*/ 549473 h 4209945"/>
                <a:gd name="connsiteX801" fmla="*/ 2105049 w 3581489"/>
                <a:gd name="connsiteY801" fmla="*/ 532205 h 4209945"/>
                <a:gd name="connsiteX802" fmla="*/ 1351561 w 3581489"/>
                <a:gd name="connsiteY802" fmla="*/ 451128 h 4209945"/>
                <a:gd name="connsiteX803" fmla="*/ 1327554 w 3581489"/>
                <a:gd name="connsiteY803" fmla="*/ 457867 h 4209945"/>
                <a:gd name="connsiteX804" fmla="*/ 1360195 w 3581489"/>
                <a:gd name="connsiteY804" fmla="*/ 441020 h 4209945"/>
                <a:gd name="connsiteX805" fmla="*/ 1353457 w 3581489"/>
                <a:gd name="connsiteY805" fmla="*/ 440599 h 4209945"/>
                <a:gd name="connsiteX806" fmla="*/ 1311760 w 3581489"/>
                <a:gd name="connsiteY806" fmla="*/ 457446 h 4209945"/>
                <a:gd name="connsiteX807" fmla="*/ 1271327 w 3581489"/>
                <a:gd name="connsiteY807" fmla="*/ 473872 h 4209945"/>
                <a:gd name="connsiteX808" fmla="*/ 1230051 w 3581489"/>
                <a:gd name="connsiteY808" fmla="*/ 487770 h 4209945"/>
                <a:gd name="connsiteX809" fmla="*/ 1197831 w 3581489"/>
                <a:gd name="connsiteY809" fmla="*/ 502722 h 4209945"/>
                <a:gd name="connsiteX810" fmla="*/ 1230894 w 3581489"/>
                <a:gd name="connsiteY810" fmla="*/ 491772 h 4209945"/>
                <a:gd name="connsiteX811" fmla="*/ 1276591 w 3581489"/>
                <a:gd name="connsiteY811" fmla="*/ 474925 h 4209945"/>
                <a:gd name="connsiteX812" fmla="*/ 1289648 w 3581489"/>
                <a:gd name="connsiteY812" fmla="*/ 474503 h 4209945"/>
                <a:gd name="connsiteX813" fmla="*/ 1272380 w 3581489"/>
                <a:gd name="connsiteY813" fmla="*/ 485033 h 4209945"/>
                <a:gd name="connsiteX814" fmla="*/ 1257007 w 3581489"/>
                <a:gd name="connsiteY814" fmla="*/ 491350 h 4209945"/>
                <a:gd name="connsiteX815" fmla="*/ 1233842 w 3581489"/>
                <a:gd name="connsiteY815" fmla="*/ 505671 h 4209945"/>
                <a:gd name="connsiteX816" fmla="*/ 1251110 w 3581489"/>
                <a:gd name="connsiteY816" fmla="*/ 504196 h 4209945"/>
                <a:gd name="connsiteX817" fmla="*/ 1284594 w 3581489"/>
                <a:gd name="connsiteY817" fmla="*/ 486507 h 4209945"/>
                <a:gd name="connsiteX818" fmla="*/ 1312813 w 3581489"/>
                <a:gd name="connsiteY818" fmla="*/ 474503 h 4209945"/>
                <a:gd name="connsiteX819" fmla="*/ 1301230 w 3581489"/>
                <a:gd name="connsiteY819" fmla="*/ 484190 h 4209945"/>
                <a:gd name="connsiteX820" fmla="*/ 1282067 w 3581489"/>
                <a:gd name="connsiteY820" fmla="*/ 495773 h 4209945"/>
                <a:gd name="connsiteX821" fmla="*/ 1318499 w 3581489"/>
                <a:gd name="connsiteY821" fmla="*/ 479347 h 4209945"/>
                <a:gd name="connsiteX822" fmla="*/ 1337662 w 3581489"/>
                <a:gd name="connsiteY822" fmla="*/ 472187 h 4209945"/>
                <a:gd name="connsiteX823" fmla="*/ 1332819 w 3581489"/>
                <a:gd name="connsiteY823" fmla="*/ 467975 h 4209945"/>
                <a:gd name="connsiteX824" fmla="*/ 1354088 w 3581489"/>
                <a:gd name="connsiteY824" fmla="*/ 460183 h 4209945"/>
                <a:gd name="connsiteX825" fmla="*/ 1372199 w 3581489"/>
                <a:gd name="connsiteY825" fmla="*/ 455972 h 4209945"/>
                <a:gd name="connsiteX826" fmla="*/ 1396206 w 3581489"/>
                <a:gd name="connsiteY826" fmla="*/ 440177 h 4209945"/>
                <a:gd name="connsiteX827" fmla="*/ 1404419 w 3581489"/>
                <a:gd name="connsiteY827" fmla="*/ 431543 h 4209945"/>
                <a:gd name="connsiteX828" fmla="*/ 1377464 w 3581489"/>
                <a:gd name="connsiteY828" fmla="*/ 443547 h 4209945"/>
                <a:gd name="connsiteX829" fmla="*/ 1351561 w 3581489"/>
                <a:gd name="connsiteY829" fmla="*/ 451128 h 4209945"/>
                <a:gd name="connsiteX830" fmla="*/ 1436639 w 3581489"/>
                <a:gd name="connsiteY830" fmla="*/ 495141 h 4209945"/>
                <a:gd name="connsiteX831" fmla="*/ 1413053 w 3581489"/>
                <a:gd name="connsiteY831" fmla="*/ 505671 h 4209945"/>
                <a:gd name="connsiteX832" fmla="*/ 1382307 w 3581489"/>
                <a:gd name="connsiteY832" fmla="*/ 524413 h 4209945"/>
                <a:gd name="connsiteX833" fmla="*/ 1439377 w 3581489"/>
                <a:gd name="connsiteY833" fmla="*/ 506092 h 4209945"/>
                <a:gd name="connsiteX834" fmla="*/ 1483179 w 3581489"/>
                <a:gd name="connsiteY834" fmla="*/ 488402 h 4209945"/>
                <a:gd name="connsiteX835" fmla="*/ 1548041 w 3581489"/>
                <a:gd name="connsiteY835" fmla="*/ 456814 h 4209945"/>
                <a:gd name="connsiteX836" fmla="*/ 1591212 w 3581489"/>
                <a:gd name="connsiteY836" fmla="*/ 436176 h 4209945"/>
                <a:gd name="connsiteX837" fmla="*/ 1547409 w 3581489"/>
                <a:gd name="connsiteY837" fmla="*/ 451128 h 4209945"/>
                <a:gd name="connsiteX838" fmla="*/ 1498974 w 3581489"/>
                <a:gd name="connsiteY838" fmla="*/ 475135 h 4209945"/>
                <a:gd name="connsiteX839" fmla="*/ 1459593 w 3581489"/>
                <a:gd name="connsiteY839" fmla="*/ 482927 h 4209945"/>
                <a:gd name="connsiteX840" fmla="*/ 1425899 w 3581489"/>
                <a:gd name="connsiteY840" fmla="*/ 488192 h 4209945"/>
                <a:gd name="connsiteX841" fmla="*/ 1436639 w 3581489"/>
                <a:gd name="connsiteY841" fmla="*/ 495141 h 4209945"/>
                <a:gd name="connsiteX842" fmla="*/ 1606585 w 3581489"/>
                <a:gd name="connsiteY842" fmla="*/ 489034 h 4209945"/>
                <a:gd name="connsiteX843" fmla="*/ 1570574 w 3581489"/>
                <a:gd name="connsiteY843" fmla="*/ 493878 h 4209945"/>
                <a:gd name="connsiteX844" fmla="*/ 1530141 w 3581489"/>
                <a:gd name="connsiteY844" fmla="*/ 513462 h 4209945"/>
                <a:gd name="connsiteX845" fmla="*/ 1570995 w 3581489"/>
                <a:gd name="connsiteY845" fmla="*/ 502933 h 4209945"/>
                <a:gd name="connsiteX846" fmla="*/ 1606585 w 3581489"/>
                <a:gd name="connsiteY846" fmla="*/ 489034 h 4209945"/>
                <a:gd name="connsiteX847" fmla="*/ 1772739 w 3581489"/>
                <a:gd name="connsiteY847" fmla="*/ 471134 h 4209945"/>
                <a:gd name="connsiteX848" fmla="*/ 1739045 w 3581489"/>
                <a:gd name="connsiteY848" fmla="*/ 485454 h 4209945"/>
                <a:gd name="connsiteX849" fmla="*/ 1724093 w 3581489"/>
                <a:gd name="connsiteY849" fmla="*/ 504618 h 4209945"/>
                <a:gd name="connsiteX850" fmla="*/ 1744310 w 3581489"/>
                <a:gd name="connsiteY850" fmla="*/ 497036 h 4209945"/>
                <a:gd name="connsiteX851" fmla="*/ 1755471 w 3581489"/>
                <a:gd name="connsiteY851" fmla="*/ 482085 h 4209945"/>
                <a:gd name="connsiteX852" fmla="*/ 1772739 w 3581489"/>
                <a:gd name="connsiteY852" fmla="*/ 471134 h 4209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Lst>
              <a:rect l="l" t="t" r="r" b="b"/>
              <a:pathLst>
                <a:path w="3581489" h="4209945">
                  <a:moveTo>
                    <a:pt x="1982697" y="3936378"/>
                  </a:moveTo>
                  <a:cubicBezTo>
                    <a:pt x="1965007" y="3936378"/>
                    <a:pt x="1946265" y="3946065"/>
                    <a:pt x="1946265" y="3968177"/>
                  </a:cubicBezTo>
                  <a:cubicBezTo>
                    <a:pt x="1946265" y="3990709"/>
                    <a:pt x="1970693" y="4031353"/>
                    <a:pt x="1962059" y="4031353"/>
                  </a:cubicBezTo>
                  <a:cubicBezTo>
                    <a:pt x="1990910" y="4050517"/>
                    <a:pt x="1932366" y="4045884"/>
                    <a:pt x="1925206" y="4045884"/>
                  </a:cubicBezTo>
                  <a:cubicBezTo>
                    <a:pt x="1932366" y="4045884"/>
                    <a:pt x="1975116" y="4048832"/>
                    <a:pt x="1975116" y="4078946"/>
                  </a:cubicBezTo>
                  <a:cubicBezTo>
                    <a:pt x="1975116" y="4097689"/>
                    <a:pt x="1998280" y="4099163"/>
                    <a:pt x="2008810" y="4119379"/>
                  </a:cubicBezTo>
                  <a:cubicBezTo>
                    <a:pt x="2014075" y="4141913"/>
                    <a:pt x="2058720" y="4139596"/>
                    <a:pt x="2077041" y="4139596"/>
                  </a:cubicBezTo>
                  <a:cubicBezTo>
                    <a:pt x="2094309" y="4139596"/>
                    <a:pt x="2075145" y="4162129"/>
                    <a:pt x="2057877" y="4162129"/>
                  </a:cubicBezTo>
                  <a:cubicBezTo>
                    <a:pt x="2041030" y="4162129"/>
                    <a:pt x="1998280" y="4153495"/>
                    <a:pt x="2006493" y="4169710"/>
                  </a:cubicBezTo>
                  <a:cubicBezTo>
                    <a:pt x="2014706" y="4169710"/>
                    <a:pt x="1982065" y="4185504"/>
                    <a:pt x="1965218" y="4185504"/>
                  </a:cubicBezTo>
                  <a:cubicBezTo>
                    <a:pt x="1956584" y="4194560"/>
                    <a:pt x="1971957" y="4220673"/>
                    <a:pt x="1949003" y="4205089"/>
                  </a:cubicBezTo>
                  <a:cubicBezTo>
                    <a:pt x="1955741" y="4205089"/>
                    <a:pt x="1929839" y="4198350"/>
                    <a:pt x="1914466" y="4198350"/>
                  </a:cubicBezTo>
                  <a:cubicBezTo>
                    <a:pt x="1899093" y="4198350"/>
                    <a:pt x="1884773" y="4188242"/>
                    <a:pt x="1876981" y="4188242"/>
                  </a:cubicBezTo>
                  <a:cubicBezTo>
                    <a:pt x="1884773" y="4188242"/>
                    <a:pt x="1857396" y="4175817"/>
                    <a:pt x="1834653" y="4175817"/>
                  </a:cubicBezTo>
                  <a:cubicBezTo>
                    <a:pt x="1812541" y="4175817"/>
                    <a:pt x="1803907" y="4157075"/>
                    <a:pt x="1795272" y="4157075"/>
                  </a:cubicBezTo>
                  <a:cubicBezTo>
                    <a:pt x="1803907" y="4157075"/>
                    <a:pt x="1776530" y="4136858"/>
                    <a:pt x="1763684" y="4136858"/>
                  </a:cubicBezTo>
                  <a:cubicBezTo>
                    <a:pt x="1750628" y="4136858"/>
                    <a:pt x="1744942" y="4118748"/>
                    <a:pt x="1738203" y="4118748"/>
                  </a:cubicBezTo>
                  <a:cubicBezTo>
                    <a:pt x="1744942" y="4118748"/>
                    <a:pt x="1729569" y="4101058"/>
                    <a:pt x="1718618" y="4101058"/>
                  </a:cubicBezTo>
                  <a:cubicBezTo>
                    <a:pt x="1690820" y="4082316"/>
                    <a:pt x="1732517" y="4090950"/>
                    <a:pt x="1745995" y="4090950"/>
                  </a:cubicBezTo>
                  <a:cubicBezTo>
                    <a:pt x="1758419" y="4090950"/>
                    <a:pt x="1707036" y="4077472"/>
                    <a:pt x="1702192" y="4058309"/>
                  </a:cubicBezTo>
                  <a:cubicBezTo>
                    <a:pt x="1716091" y="4058309"/>
                    <a:pt x="1716512" y="4040408"/>
                    <a:pt x="1733359" y="4040408"/>
                  </a:cubicBezTo>
                  <a:cubicBezTo>
                    <a:pt x="1744942" y="4040408"/>
                    <a:pt x="1759683" y="4024614"/>
                    <a:pt x="1751049" y="4024614"/>
                  </a:cubicBezTo>
                  <a:cubicBezTo>
                    <a:pt x="1740940" y="4003977"/>
                    <a:pt x="1714406" y="4025667"/>
                    <a:pt x="1703877" y="4025667"/>
                  </a:cubicBezTo>
                  <a:cubicBezTo>
                    <a:pt x="1713985" y="4025667"/>
                    <a:pt x="1732727" y="3976179"/>
                    <a:pt x="1727042" y="3976179"/>
                  </a:cubicBezTo>
                  <a:cubicBezTo>
                    <a:pt x="1727042" y="3947960"/>
                    <a:pt x="1717986" y="3989657"/>
                    <a:pt x="1706825" y="3989657"/>
                  </a:cubicBezTo>
                  <a:cubicBezTo>
                    <a:pt x="1693347" y="3989657"/>
                    <a:pt x="1699665" y="3991552"/>
                    <a:pt x="1691452" y="3991552"/>
                  </a:cubicBezTo>
                  <a:cubicBezTo>
                    <a:pt x="1740940" y="3925216"/>
                    <a:pt x="1707878" y="3943959"/>
                    <a:pt x="1694400" y="3943959"/>
                  </a:cubicBezTo>
                  <a:cubicBezTo>
                    <a:pt x="1706825" y="3943959"/>
                    <a:pt x="1689557" y="3887310"/>
                    <a:pt x="1707878" y="3887310"/>
                  </a:cubicBezTo>
                  <a:cubicBezTo>
                    <a:pt x="1720303" y="3874885"/>
                    <a:pt x="1706404" y="3846877"/>
                    <a:pt x="1725568" y="3846877"/>
                  </a:cubicBezTo>
                  <a:cubicBezTo>
                    <a:pt x="1745784" y="3846877"/>
                    <a:pt x="1767685" y="3837190"/>
                    <a:pt x="1767685" y="3811288"/>
                  </a:cubicBezTo>
                  <a:cubicBezTo>
                    <a:pt x="1767685" y="3795072"/>
                    <a:pt x="1742625" y="3808971"/>
                    <a:pt x="1725989" y="3808971"/>
                  </a:cubicBezTo>
                  <a:cubicBezTo>
                    <a:pt x="1709563" y="3808971"/>
                    <a:pt x="1710616" y="3802653"/>
                    <a:pt x="1736518" y="3776751"/>
                  </a:cubicBezTo>
                  <a:cubicBezTo>
                    <a:pt x="1757156" y="3776751"/>
                    <a:pt x="1776319" y="3737371"/>
                    <a:pt x="1776319" y="3711890"/>
                  </a:cubicBezTo>
                  <a:cubicBezTo>
                    <a:pt x="1786849" y="3690199"/>
                    <a:pt x="1774424" y="3662401"/>
                    <a:pt x="1794009" y="3662401"/>
                  </a:cubicBezTo>
                  <a:cubicBezTo>
                    <a:pt x="1819911" y="3627864"/>
                    <a:pt x="1801169" y="3719050"/>
                    <a:pt x="1801169" y="3738845"/>
                  </a:cubicBezTo>
                  <a:cubicBezTo>
                    <a:pt x="1813173" y="3738845"/>
                    <a:pt x="1845814" y="3662822"/>
                    <a:pt x="1832336" y="3662822"/>
                  </a:cubicBezTo>
                  <a:cubicBezTo>
                    <a:pt x="1845393" y="3662822"/>
                    <a:pt x="1851500" y="3609543"/>
                    <a:pt x="1851500" y="3590380"/>
                  </a:cubicBezTo>
                  <a:cubicBezTo>
                    <a:pt x="1860134" y="3573112"/>
                    <a:pt x="1874033" y="3544261"/>
                    <a:pt x="1865399" y="3544261"/>
                  </a:cubicBezTo>
                  <a:cubicBezTo>
                    <a:pt x="1823702" y="3561108"/>
                    <a:pt x="1832336" y="3600909"/>
                    <a:pt x="1824123" y="3616703"/>
                  </a:cubicBezTo>
                  <a:cubicBezTo>
                    <a:pt x="1824123" y="3635446"/>
                    <a:pt x="1787691" y="3653135"/>
                    <a:pt x="1787691" y="3630602"/>
                  </a:cubicBezTo>
                  <a:cubicBezTo>
                    <a:pt x="1808329" y="3609965"/>
                    <a:pt x="1834231" y="3556264"/>
                    <a:pt x="1822860" y="3556264"/>
                  </a:cubicBezTo>
                  <a:cubicBezTo>
                    <a:pt x="1835284" y="3556264"/>
                    <a:pt x="1818016" y="3506776"/>
                    <a:pt x="1835284" y="3489508"/>
                  </a:cubicBezTo>
                  <a:cubicBezTo>
                    <a:pt x="1846446" y="3467817"/>
                    <a:pt x="1860345" y="3453075"/>
                    <a:pt x="1860345" y="3425067"/>
                  </a:cubicBezTo>
                  <a:cubicBezTo>
                    <a:pt x="1873401" y="3399586"/>
                    <a:pt x="1860766" y="3382739"/>
                    <a:pt x="1860766" y="3362101"/>
                  </a:cubicBezTo>
                  <a:cubicBezTo>
                    <a:pt x="1869821" y="3343359"/>
                    <a:pt x="1861608" y="3346307"/>
                    <a:pt x="1887721" y="3320405"/>
                  </a:cubicBezTo>
                  <a:cubicBezTo>
                    <a:pt x="1903515" y="3289237"/>
                    <a:pt x="1916151" y="3271969"/>
                    <a:pt x="1928575" y="3246488"/>
                  </a:cubicBezTo>
                  <a:cubicBezTo>
                    <a:pt x="1949213" y="3226271"/>
                    <a:pt x="1952583" y="3196578"/>
                    <a:pt x="1965639" y="3171097"/>
                  </a:cubicBezTo>
                  <a:cubicBezTo>
                    <a:pt x="1965639" y="3141825"/>
                    <a:pt x="1997649" y="3034214"/>
                    <a:pt x="1986277" y="3034214"/>
                  </a:cubicBezTo>
                  <a:cubicBezTo>
                    <a:pt x="1997438" y="3034214"/>
                    <a:pt x="2007336" y="3022210"/>
                    <a:pt x="2000176" y="3022210"/>
                  </a:cubicBezTo>
                  <a:cubicBezTo>
                    <a:pt x="2007967" y="3022210"/>
                    <a:pt x="2021235" y="2976091"/>
                    <a:pt x="2009863" y="2976091"/>
                  </a:cubicBezTo>
                  <a:cubicBezTo>
                    <a:pt x="2021024" y="2976091"/>
                    <a:pt x="2025236" y="2929551"/>
                    <a:pt x="2033449" y="2912704"/>
                  </a:cubicBezTo>
                  <a:cubicBezTo>
                    <a:pt x="2033449" y="2893540"/>
                    <a:pt x="2058509" y="2863216"/>
                    <a:pt x="2058509" y="2847000"/>
                  </a:cubicBezTo>
                  <a:cubicBezTo>
                    <a:pt x="2065669" y="2832680"/>
                    <a:pt x="2072829" y="2828258"/>
                    <a:pt x="2072829" y="2798986"/>
                  </a:cubicBezTo>
                  <a:cubicBezTo>
                    <a:pt x="2085886" y="2772662"/>
                    <a:pt x="2081042" y="2744233"/>
                    <a:pt x="2081042" y="2731176"/>
                  </a:cubicBezTo>
                  <a:cubicBezTo>
                    <a:pt x="2092624" y="2731176"/>
                    <a:pt x="2088202" y="2729281"/>
                    <a:pt x="2096836" y="2711591"/>
                  </a:cubicBezTo>
                  <a:cubicBezTo>
                    <a:pt x="2096836" y="2692428"/>
                    <a:pt x="2124634" y="2647151"/>
                    <a:pt x="2114526" y="2647151"/>
                  </a:cubicBezTo>
                  <a:cubicBezTo>
                    <a:pt x="2124634" y="2647151"/>
                    <a:pt x="2132215" y="2550701"/>
                    <a:pt x="2125055" y="2536171"/>
                  </a:cubicBezTo>
                  <a:cubicBezTo>
                    <a:pt x="2120843" y="2519745"/>
                    <a:pt x="2101048" y="2496369"/>
                    <a:pt x="2090097" y="2496369"/>
                  </a:cubicBezTo>
                  <a:cubicBezTo>
                    <a:pt x="2100627" y="2496369"/>
                    <a:pt x="2061246" y="2456989"/>
                    <a:pt x="2051770" y="2466466"/>
                  </a:cubicBezTo>
                  <a:cubicBezTo>
                    <a:pt x="2037239" y="2466466"/>
                    <a:pt x="1992173" y="2437615"/>
                    <a:pt x="1982065" y="2437615"/>
                  </a:cubicBezTo>
                  <a:cubicBezTo>
                    <a:pt x="1971957" y="2437615"/>
                    <a:pt x="1958479" y="2427507"/>
                    <a:pt x="1949845" y="2410239"/>
                  </a:cubicBezTo>
                  <a:cubicBezTo>
                    <a:pt x="1941211" y="2393391"/>
                    <a:pt x="1939737" y="2384336"/>
                    <a:pt x="1943527" y="2369384"/>
                  </a:cubicBezTo>
                  <a:cubicBezTo>
                    <a:pt x="1943527" y="2352958"/>
                    <a:pt x="1938262" y="2308945"/>
                    <a:pt x="1927733" y="2308945"/>
                  </a:cubicBezTo>
                  <a:cubicBezTo>
                    <a:pt x="1938262" y="2308945"/>
                    <a:pt x="1907938" y="2198596"/>
                    <a:pt x="1888774" y="2198596"/>
                  </a:cubicBezTo>
                  <a:cubicBezTo>
                    <a:pt x="1879719" y="2180275"/>
                    <a:pt x="1878666" y="2148687"/>
                    <a:pt x="1859502" y="2135209"/>
                  </a:cubicBezTo>
                  <a:cubicBezTo>
                    <a:pt x="1834442" y="2135209"/>
                    <a:pt x="1811909" y="2114571"/>
                    <a:pt x="1828335" y="2114571"/>
                  </a:cubicBezTo>
                  <a:cubicBezTo>
                    <a:pt x="1844129" y="2114571"/>
                    <a:pt x="1846025" y="2082351"/>
                    <a:pt x="1836127" y="2082351"/>
                  </a:cubicBezTo>
                  <a:cubicBezTo>
                    <a:pt x="1846235" y="2082351"/>
                    <a:pt x="1826440" y="2062135"/>
                    <a:pt x="1841392" y="2046762"/>
                  </a:cubicBezTo>
                  <a:cubicBezTo>
                    <a:pt x="1855712" y="2032442"/>
                    <a:pt x="1888563" y="2026545"/>
                    <a:pt x="1888563" y="2007803"/>
                  </a:cubicBezTo>
                  <a:cubicBezTo>
                    <a:pt x="1896776" y="1990955"/>
                    <a:pt x="1872348" y="1986744"/>
                    <a:pt x="1872348" y="1975582"/>
                  </a:cubicBezTo>
                  <a:cubicBezTo>
                    <a:pt x="1877192" y="1965474"/>
                    <a:pt x="1883930" y="1944836"/>
                    <a:pt x="1883930" y="1931359"/>
                  </a:cubicBezTo>
                  <a:cubicBezTo>
                    <a:pt x="1890248" y="1918934"/>
                    <a:pt x="1894460" y="1900613"/>
                    <a:pt x="1908991" y="1900613"/>
                  </a:cubicBezTo>
                  <a:cubicBezTo>
                    <a:pt x="1924364" y="1900613"/>
                    <a:pt x="1910044" y="1882923"/>
                    <a:pt x="1922468" y="1869867"/>
                  </a:cubicBezTo>
                  <a:cubicBezTo>
                    <a:pt x="1935525" y="1857442"/>
                    <a:pt x="1946475" y="1863128"/>
                    <a:pt x="1961849" y="1847755"/>
                  </a:cubicBezTo>
                  <a:cubicBezTo>
                    <a:pt x="1976800" y="1832803"/>
                    <a:pt x="1982065" y="1798266"/>
                    <a:pt x="1997438" y="1798266"/>
                  </a:cubicBezTo>
                  <a:cubicBezTo>
                    <a:pt x="2012811" y="1798266"/>
                    <a:pt x="2021866" y="1786684"/>
                    <a:pt x="2035344" y="1773206"/>
                  </a:cubicBezTo>
                  <a:cubicBezTo>
                    <a:pt x="2048822" y="1759307"/>
                    <a:pt x="2057877" y="1728140"/>
                    <a:pt x="2047348" y="1728140"/>
                  </a:cubicBezTo>
                  <a:cubicBezTo>
                    <a:pt x="2058509" y="1728140"/>
                    <a:pt x="2061668" y="1708977"/>
                    <a:pt x="2061668" y="1692551"/>
                  </a:cubicBezTo>
                  <a:cubicBezTo>
                    <a:pt x="2068828" y="1677599"/>
                    <a:pt x="2080410" y="1655908"/>
                    <a:pt x="2067354" y="1655908"/>
                  </a:cubicBezTo>
                  <a:cubicBezTo>
                    <a:pt x="2061668" y="1644326"/>
                    <a:pt x="2051981" y="1631480"/>
                    <a:pt x="2051981" y="1620950"/>
                  </a:cubicBezTo>
                  <a:cubicBezTo>
                    <a:pt x="2056824" y="1611895"/>
                    <a:pt x="2057245" y="1605156"/>
                    <a:pt x="2050928" y="1593153"/>
                  </a:cubicBezTo>
                  <a:cubicBezTo>
                    <a:pt x="2045242" y="1580728"/>
                    <a:pt x="2035555" y="1588941"/>
                    <a:pt x="2020182" y="1588941"/>
                  </a:cubicBezTo>
                  <a:cubicBezTo>
                    <a:pt x="2004809" y="1588941"/>
                    <a:pt x="1989015" y="1624530"/>
                    <a:pt x="1977853" y="1624530"/>
                  </a:cubicBezTo>
                  <a:cubicBezTo>
                    <a:pt x="1982697" y="1634639"/>
                    <a:pt x="2011548" y="1646221"/>
                    <a:pt x="1990910" y="1646221"/>
                  </a:cubicBezTo>
                  <a:cubicBezTo>
                    <a:pt x="1970272" y="1646221"/>
                    <a:pt x="1946265" y="1660752"/>
                    <a:pt x="1951108" y="1651065"/>
                  </a:cubicBezTo>
                  <a:cubicBezTo>
                    <a:pt x="1951108" y="1639904"/>
                    <a:pt x="1949634" y="1639904"/>
                    <a:pt x="1935735" y="1639904"/>
                  </a:cubicBezTo>
                  <a:cubicBezTo>
                    <a:pt x="1922679" y="1639904"/>
                    <a:pt x="1922679" y="1633586"/>
                    <a:pt x="1914045" y="1633586"/>
                  </a:cubicBezTo>
                  <a:cubicBezTo>
                    <a:pt x="1905832" y="1633586"/>
                    <a:pt x="1903094" y="1632743"/>
                    <a:pt x="1890459" y="1632743"/>
                  </a:cubicBezTo>
                  <a:cubicBezTo>
                    <a:pt x="1878455" y="1632743"/>
                    <a:pt x="1867505" y="1640535"/>
                    <a:pt x="1871716" y="1631691"/>
                  </a:cubicBezTo>
                  <a:cubicBezTo>
                    <a:pt x="1871716" y="1623056"/>
                    <a:pt x="1873612" y="1602840"/>
                    <a:pt x="1867505" y="1608736"/>
                  </a:cubicBezTo>
                  <a:cubicBezTo>
                    <a:pt x="1858870" y="1608736"/>
                    <a:pt x="1852553" y="1597154"/>
                    <a:pt x="1845393" y="1597154"/>
                  </a:cubicBezTo>
                  <a:cubicBezTo>
                    <a:pt x="1852132" y="1597154"/>
                    <a:pt x="1826229" y="1595680"/>
                    <a:pt x="1820333" y="1607262"/>
                  </a:cubicBezTo>
                  <a:cubicBezTo>
                    <a:pt x="1806855" y="1607262"/>
                    <a:pt x="1802643" y="1597154"/>
                    <a:pt x="1807908" y="1586203"/>
                  </a:cubicBezTo>
                  <a:cubicBezTo>
                    <a:pt x="1807908" y="1574621"/>
                    <a:pt x="1809803" y="1562617"/>
                    <a:pt x="1809803" y="1549561"/>
                  </a:cubicBezTo>
                  <a:cubicBezTo>
                    <a:pt x="1804117" y="1537557"/>
                    <a:pt x="1783269" y="1514603"/>
                    <a:pt x="1772739" y="1514603"/>
                  </a:cubicBezTo>
                  <a:cubicBezTo>
                    <a:pt x="1783269" y="1514603"/>
                    <a:pt x="1759262" y="1512708"/>
                    <a:pt x="1741151" y="1512708"/>
                  </a:cubicBezTo>
                  <a:cubicBezTo>
                    <a:pt x="1722409" y="1512708"/>
                    <a:pt x="1700718" y="1505548"/>
                    <a:pt x="1691663" y="1505548"/>
                  </a:cubicBezTo>
                  <a:cubicBezTo>
                    <a:pt x="1681976" y="1505548"/>
                    <a:pt x="1653757" y="1508496"/>
                    <a:pt x="1644069" y="1508496"/>
                  </a:cubicBezTo>
                  <a:cubicBezTo>
                    <a:pt x="1635435" y="1508496"/>
                    <a:pt x="1620905" y="1491649"/>
                    <a:pt x="1613323" y="1476276"/>
                  </a:cubicBezTo>
                  <a:cubicBezTo>
                    <a:pt x="1613323" y="1459007"/>
                    <a:pt x="1567626" y="1458586"/>
                    <a:pt x="1562361" y="1468694"/>
                  </a:cubicBezTo>
                  <a:cubicBezTo>
                    <a:pt x="1551410" y="1468694"/>
                    <a:pt x="1504660" y="1514814"/>
                    <a:pt x="1486549" y="1496914"/>
                  </a:cubicBezTo>
                  <a:cubicBezTo>
                    <a:pt x="1461489" y="1496914"/>
                    <a:pt x="1436639" y="1502178"/>
                    <a:pt x="1419792" y="1485752"/>
                  </a:cubicBezTo>
                  <a:cubicBezTo>
                    <a:pt x="1396206" y="1485752"/>
                    <a:pt x="1375568" y="1483436"/>
                    <a:pt x="1366513" y="1483436"/>
                  </a:cubicBezTo>
                  <a:cubicBezTo>
                    <a:pt x="1357879" y="1483436"/>
                    <a:pt x="1350719" y="1468063"/>
                    <a:pt x="1344822" y="1468063"/>
                  </a:cubicBezTo>
                  <a:cubicBezTo>
                    <a:pt x="1350508" y="1468063"/>
                    <a:pt x="1323763" y="1460482"/>
                    <a:pt x="1313655" y="1470379"/>
                  </a:cubicBezTo>
                  <a:cubicBezTo>
                    <a:pt x="1299756" y="1470379"/>
                    <a:pt x="1294913" y="1452690"/>
                    <a:pt x="1289648" y="1457955"/>
                  </a:cubicBezTo>
                  <a:cubicBezTo>
                    <a:pt x="1281856" y="1457955"/>
                    <a:pt x="1260797" y="1456480"/>
                    <a:pt x="1255954" y="1447425"/>
                  </a:cubicBezTo>
                  <a:cubicBezTo>
                    <a:pt x="1251742" y="1438370"/>
                    <a:pt x="1230894" y="1425734"/>
                    <a:pt x="1242055" y="1425734"/>
                  </a:cubicBezTo>
                  <a:cubicBezTo>
                    <a:pt x="1247741" y="1415205"/>
                    <a:pt x="1263114" y="1409940"/>
                    <a:pt x="1268379" y="1399411"/>
                  </a:cubicBezTo>
                  <a:cubicBezTo>
                    <a:pt x="1268379" y="1387828"/>
                    <a:pt x="1263535" y="1376878"/>
                    <a:pt x="1268800" y="1365716"/>
                  </a:cubicBezTo>
                  <a:cubicBezTo>
                    <a:pt x="1268800" y="1353713"/>
                    <a:pt x="1263114" y="1350765"/>
                    <a:pt x="1257217" y="1339814"/>
                  </a:cubicBezTo>
                  <a:cubicBezTo>
                    <a:pt x="1251953" y="1329285"/>
                    <a:pt x="1231315" y="1319597"/>
                    <a:pt x="1224576" y="1319597"/>
                  </a:cubicBezTo>
                  <a:cubicBezTo>
                    <a:pt x="1217837" y="1319597"/>
                    <a:pt x="1224576" y="1322967"/>
                    <a:pt x="1209624" y="1308015"/>
                  </a:cubicBezTo>
                  <a:cubicBezTo>
                    <a:pt x="1189408" y="1308015"/>
                    <a:pt x="1176562" y="1294958"/>
                    <a:pt x="1191303" y="1294958"/>
                  </a:cubicBezTo>
                  <a:cubicBezTo>
                    <a:pt x="1201832" y="1284008"/>
                    <a:pt x="1204359" y="1273268"/>
                    <a:pt x="1198042" y="1273268"/>
                  </a:cubicBezTo>
                  <a:cubicBezTo>
                    <a:pt x="1191724" y="1273268"/>
                    <a:pt x="1175930" y="1277690"/>
                    <a:pt x="1179720" y="1269477"/>
                  </a:cubicBezTo>
                  <a:cubicBezTo>
                    <a:pt x="1188776" y="1269477"/>
                    <a:pt x="1183090" y="1255157"/>
                    <a:pt x="1170033" y="1255157"/>
                  </a:cubicBezTo>
                  <a:cubicBezTo>
                    <a:pt x="1164347" y="1243154"/>
                    <a:pt x="1147921" y="1242732"/>
                    <a:pt x="1142235" y="1242732"/>
                  </a:cubicBezTo>
                  <a:cubicBezTo>
                    <a:pt x="1135918" y="1242732"/>
                    <a:pt x="1130653" y="1223990"/>
                    <a:pt x="1130653" y="1209038"/>
                  </a:cubicBezTo>
                  <a:cubicBezTo>
                    <a:pt x="1116122" y="1209038"/>
                    <a:pt x="1126231" y="1197456"/>
                    <a:pt x="1126231" y="1186084"/>
                  </a:cubicBezTo>
                  <a:cubicBezTo>
                    <a:pt x="1120966" y="1175555"/>
                    <a:pt x="1107910" y="1174923"/>
                    <a:pt x="1101802" y="1181240"/>
                  </a:cubicBezTo>
                  <a:cubicBezTo>
                    <a:pt x="1092747" y="1181240"/>
                    <a:pt x="1085376" y="1183557"/>
                    <a:pt x="1080112" y="1194297"/>
                  </a:cubicBezTo>
                  <a:cubicBezTo>
                    <a:pt x="1075268" y="1204405"/>
                    <a:pt x="1087693" y="1222095"/>
                    <a:pt x="1076742" y="1222095"/>
                  </a:cubicBezTo>
                  <a:cubicBezTo>
                    <a:pt x="1076742" y="1239363"/>
                    <a:pt x="1087693" y="1230308"/>
                    <a:pt x="1094432" y="1244207"/>
                  </a:cubicBezTo>
                  <a:cubicBezTo>
                    <a:pt x="1110226" y="1244207"/>
                    <a:pt x="1096748" y="1266318"/>
                    <a:pt x="1108752" y="1266318"/>
                  </a:cubicBezTo>
                  <a:cubicBezTo>
                    <a:pt x="1108752" y="1278322"/>
                    <a:pt x="1118228" y="1286535"/>
                    <a:pt x="1124125" y="1297907"/>
                  </a:cubicBezTo>
                  <a:cubicBezTo>
                    <a:pt x="1129390" y="1309068"/>
                    <a:pt x="1144342" y="1334970"/>
                    <a:pt x="1132338" y="1334970"/>
                  </a:cubicBezTo>
                  <a:cubicBezTo>
                    <a:pt x="1132338" y="1346553"/>
                    <a:pt x="1130021" y="1355187"/>
                    <a:pt x="1139498" y="1355187"/>
                  </a:cubicBezTo>
                  <a:cubicBezTo>
                    <a:pt x="1143710" y="1346553"/>
                    <a:pt x="1166875" y="1354134"/>
                    <a:pt x="1161610" y="1364874"/>
                  </a:cubicBezTo>
                  <a:cubicBezTo>
                    <a:pt x="1149606" y="1364874"/>
                    <a:pt x="1143920" y="1396041"/>
                    <a:pt x="1139498" y="1387407"/>
                  </a:cubicBezTo>
                  <a:cubicBezTo>
                    <a:pt x="1148553" y="1387407"/>
                    <a:pt x="1134654" y="1362979"/>
                    <a:pt x="1122230" y="1362979"/>
                  </a:cubicBezTo>
                  <a:cubicBezTo>
                    <a:pt x="1116544" y="1351396"/>
                    <a:pt x="1097380" y="1349922"/>
                    <a:pt x="1088114" y="1349922"/>
                  </a:cubicBezTo>
                  <a:cubicBezTo>
                    <a:pt x="1097169" y="1349922"/>
                    <a:pt x="1114438" y="1314754"/>
                    <a:pt x="1101592" y="1314754"/>
                  </a:cubicBezTo>
                  <a:cubicBezTo>
                    <a:pt x="1095695" y="1303171"/>
                    <a:pt x="1092958" y="1302750"/>
                    <a:pt x="1076532" y="1302750"/>
                  </a:cubicBezTo>
                  <a:cubicBezTo>
                    <a:pt x="1059263" y="1302750"/>
                    <a:pt x="1034835" y="1303171"/>
                    <a:pt x="1039047" y="1294537"/>
                  </a:cubicBezTo>
                  <a:cubicBezTo>
                    <a:pt x="1039047" y="1284850"/>
                    <a:pt x="1046207" y="1278322"/>
                    <a:pt x="1062633" y="1278322"/>
                  </a:cubicBezTo>
                  <a:cubicBezTo>
                    <a:pt x="1069372" y="1264423"/>
                    <a:pt x="1067476" y="1263791"/>
                    <a:pt x="1067476" y="1255368"/>
                  </a:cubicBezTo>
                  <a:cubicBezTo>
                    <a:pt x="1058421" y="1255368"/>
                    <a:pt x="1047260" y="1238099"/>
                    <a:pt x="1041153" y="1238099"/>
                  </a:cubicBezTo>
                  <a:cubicBezTo>
                    <a:pt x="1038205" y="1243364"/>
                    <a:pt x="1029570" y="1228412"/>
                    <a:pt x="1035888" y="1215145"/>
                  </a:cubicBezTo>
                  <a:cubicBezTo>
                    <a:pt x="1035888" y="1199351"/>
                    <a:pt x="1028307" y="1189243"/>
                    <a:pt x="1024937" y="1182504"/>
                  </a:cubicBezTo>
                  <a:cubicBezTo>
                    <a:pt x="1032729" y="1182504"/>
                    <a:pt x="1035888" y="1162287"/>
                    <a:pt x="1021568" y="1162287"/>
                  </a:cubicBezTo>
                  <a:cubicBezTo>
                    <a:pt x="1012513" y="1162287"/>
                    <a:pt x="1007248" y="1159339"/>
                    <a:pt x="999877" y="1159339"/>
                  </a:cubicBezTo>
                  <a:cubicBezTo>
                    <a:pt x="1007037" y="1159339"/>
                    <a:pt x="981135" y="1146283"/>
                    <a:pt x="975870" y="1157023"/>
                  </a:cubicBezTo>
                  <a:cubicBezTo>
                    <a:pt x="963867" y="1157023"/>
                    <a:pt x="951863" y="1157444"/>
                    <a:pt x="947019" y="1157444"/>
                  </a:cubicBezTo>
                  <a:cubicBezTo>
                    <a:pt x="951863" y="1157444"/>
                    <a:pt x="945545" y="1155970"/>
                    <a:pt x="945545" y="1142492"/>
                  </a:cubicBezTo>
                  <a:cubicBezTo>
                    <a:pt x="931646" y="1142492"/>
                    <a:pt x="940702" y="1120380"/>
                    <a:pt x="928698" y="1120380"/>
                  </a:cubicBezTo>
                  <a:cubicBezTo>
                    <a:pt x="940281" y="1120380"/>
                    <a:pt x="936490" y="1107955"/>
                    <a:pt x="928277" y="1107955"/>
                  </a:cubicBezTo>
                  <a:cubicBezTo>
                    <a:pt x="920064" y="1107955"/>
                    <a:pt x="926803" y="1100164"/>
                    <a:pt x="926803" y="1092161"/>
                  </a:cubicBezTo>
                  <a:cubicBezTo>
                    <a:pt x="919011" y="1092161"/>
                    <a:pt x="914378" y="1080579"/>
                    <a:pt x="910377" y="1080579"/>
                  </a:cubicBezTo>
                  <a:cubicBezTo>
                    <a:pt x="914167" y="1080579"/>
                    <a:pt x="914589" y="1067522"/>
                    <a:pt x="907429" y="1067522"/>
                  </a:cubicBezTo>
                  <a:cubicBezTo>
                    <a:pt x="914589" y="1067522"/>
                    <a:pt x="909324" y="1051728"/>
                    <a:pt x="904059" y="1051728"/>
                  </a:cubicBezTo>
                  <a:cubicBezTo>
                    <a:pt x="899216" y="1051728"/>
                    <a:pt x="892477" y="1051728"/>
                    <a:pt x="908271" y="1035934"/>
                  </a:cubicBezTo>
                  <a:cubicBezTo>
                    <a:pt x="924065" y="1020140"/>
                    <a:pt x="930804" y="1009610"/>
                    <a:pt x="925118" y="1009610"/>
                  </a:cubicBezTo>
                  <a:cubicBezTo>
                    <a:pt x="927435" y="1004767"/>
                    <a:pt x="928066" y="994237"/>
                    <a:pt x="934384" y="981181"/>
                  </a:cubicBezTo>
                  <a:cubicBezTo>
                    <a:pt x="948704" y="981181"/>
                    <a:pt x="953127" y="947065"/>
                    <a:pt x="962603" y="947065"/>
                  </a:cubicBezTo>
                  <a:cubicBezTo>
                    <a:pt x="962603" y="937378"/>
                    <a:pt x="988084" y="904316"/>
                    <a:pt x="988084" y="897156"/>
                  </a:cubicBezTo>
                  <a:cubicBezTo>
                    <a:pt x="980503" y="897156"/>
                    <a:pt x="993770" y="868726"/>
                    <a:pt x="988505" y="868726"/>
                  </a:cubicBezTo>
                  <a:cubicBezTo>
                    <a:pt x="993770" y="868726"/>
                    <a:pt x="1007669" y="873570"/>
                    <a:pt x="1013987" y="861145"/>
                  </a:cubicBezTo>
                  <a:cubicBezTo>
                    <a:pt x="1028307" y="861145"/>
                    <a:pt x="1057579" y="848720"/>
                    <a:pt x="1052525" y="848720"/>
                  </a:cubicBezTo>
                  <a:cubicBezTo>
                    <a:pt x="1057789" y="848720"/>
                    <a:pt x="1057368" y="831452"/>
                    <a:pt x="1050208" y="831452"/>
                  </a:cubicBezTo>
                  <a:cubicBezTo>
                    <a:pt x="1042416" y="831452"/>
                    <a:pt x="1020936" y="840086"/>
                    <a:pt x="1015672" y="829557"/>
                  </a:cubicBezTo>
                  <a:cubicBezTo>
                    <a:pt x="1026622" y="829557"/>
                    <a:pt x="1005563" y="829557"/>
                    <a:pt x="997350" y="829557"/>
                  </a:cubicBezTo>
                  <a:cubicBezTo>
                    <a:pt x="992928" y="837138"/>
                    <a:pt x="1019041" y="847878"/>
                    <a:pt x="1022410" y="841139"/>
                  </a:cubicBezTo>
                  <a:cubicBezTo>
                    <a:pt x="1031044" y="841139"/>
                    <a:pt x="1033572" y="839244"/>
                    <a:pt x="1028728" y="848931"/>
                  </a:cubicBezTo>
                  <a:cubicBezTo>
                    <a:pt x="1018198" y="848931"/>
                    <a:pt x="980714" y="850826"/>
                    <a:pt x="977765" y="856512"/>
                  </a:cubicBezTo>
                  <a:cubicBezTo>
                    <a:pt x="971027" y="856512"/>
                    <a:pt x="924486" y="845983"/>
                    <a:pt x="918169" y="845983"/>
                  </a:cubicBezTo>
                  <a:cubicBezTo>
                    <a:pt x="924486" y="845983"/>
                    <a:pt x="929119" y="833979"/>
                    <a:pt x="938385" y="833979"/>
                  </a:cubicBezTo>
                  <a:cubicBezTo>
                    <a:pt x="948072" y="833979"/>
                    <a:pt x="966815" y="829557"/>
                    <a:pt x="962814" y="829557"/>
                  </a:cubicBezTo>
                  <a:cubicBezTo>
                    <a:pt x="966604" y="829557"/>
                    <a:pt x="943650" y="825134"/>
                    <a:pt x="940702" y="819448"/>
                  </a:cubicBezTo>
                  <a:cubicBezTo>
                    <a:pt x="947019" y="819448"/>
                    <a:pt x="916273" y="810814"/>
                    <a:pt x="907218" y="810814"/>
                  </a:cubicBezTo>
                  <a:cubicBezTo>
                    <a:pt x="903427" y="803233"/>
                    <a:pt x="882790" y="809972"/>
                    <a:pt x="889529" y="796915"/>
                  </a:cubicBezTo>
                  <a:cubicBezTo>
                    <a:pt x="895214" y="784912"/>
                    <a:pt x="899637" y="769960"/>
                    <a:pt x="887633" y="781964"/>
                  </a:cubicBezTo>
                  <a:cubicBezTo>
                    <a:pt x="871418" y="781964"/>
                    <a:pt x="841514" y="790176"/>
                    <a:pt x="838145" y="797336"/>
                  </a:cubicBezTo>
                  <a:cubicBezTo>
                    <a:pt x="829932" y="797336"/>
                    <a:pt x="841093" y="784912"/>
                    <a:pt x="827615" y="784912"/>
                  </a:cubicBezTo>
                  <a:cubicBezTo>
                    <a:pt x="833722" y="772908"/>
                    <a:pt x="831406" y="778805"/>
                    <a:pt x="820876" y="778805"/>
                  </a:cubicBezTo>
                  <a:cubicBezTo>
                    <a:pt x="810347" y="778805"/>
                    <a:pt x="801292" y="782174"/>
                    <a:pt x="797922" y="782174"/>
                  </a:cubicBezTo>
                  <a:cubicBezTo>
                    <a:pt x="801292" y="782174"/>
                    <a:pt x="795606" y="772908"/>
                    <a:pt x="788235" y="772908"/>
                  </a:cubicBezTo>
                  <a:cubicBezTo>
                    <a:pt x="784866" y="779647"/>
                    <a:pt x="781918" y="765748"/>
                    <a:pt x="774336" y="765748"/>
                  </a:cubicBezTo>
                  <a:cubicBezTo>
                    <a:pt x="777706" y="758588"/>
                    <a:pt x="778127" y="764274"/>
                    <a:pt x="753067" y="764274"/>
                  </a:cubicBezTo>
                  <a:cubicBezTo>
                    <a:pt x="727585" y="764274"/>
                    <a:pt x="718951" y="766169"/>
                    <a:pt x="715161" y="766169"/>
                  </a:cubicBezTo>
                  <a:cubicBezTo>
                    <a:pt x="718951" y="766169"/>
                    <a:pt x="724637" y="744057"/>
                    <a:pt x="717898" y="757114"/>
                  </a:cubicBezTo>
                  <a:cubicBezTo>
                    <a:pt x="696839" y="757114"/>
                    <a:pt x="695787" y="770170"/>
                    <a:pt x="685257" y="770170"/>
                  </a:cubicBezTo>
                  <a:cubicBezTo>
                    <a:pt x="673675" y="781121"/>
                    <a:pt x="659355" y="778383"/>
                    <a:pt x="651142" y="778383"/>
                  </a:cubicBezTo>
                  <a:cubicBezTo>
                    <a:pt x="643560" y="778383"/>
                    <a:pt x="627556" y="790808"/>
                    <a:pt x="618921" y="790808"/>
                  </a:cubicBezTo>
                  <a:cubicBezTo>
                    <a:pt x="609866" y="790808"/>
                    <a:pt x="598705" y="798389"/>
                    <a:pt x="593440" y="798389"/>
                  </a:cubicBezTo>
                  <a:cubicBezTo>
                    <a:pt x="588175" y="798389"/>
                    <a:pt x="578067" y="805971"/>
                    <a:pt x="571328" y="805971"/>
                  </a:cubicBezTo>
                  <a:cubicBezTo>
                    <a:pt x="564168" y="805971"/>
                    <a:pt x="549217" y="815658"/>
                    <a:pt x="543952" y="815658"/>
                  </a:cubicBezTo>
                  <a:cubicBezTo>
                    <a:pt x="548374" y="815658"/>
                    <a:pt x="550691" y="813341"/>
                    <a:pt x="542478" y="813341"/>
                  </a:cubicBezTo>
                  <a:cubicBezTo>
                    <a:pt x="550059" y="813341"/>
                    <a:pt x="554060" y="806181"/>
                    <a:pt x="544373" y="806181"/>
                  </a:cubicBezTo>
                  <a:cubicBezTo>
                    <a:pt x="540161" y="814815"/>
                    <a:pt x="520787" y="817764"/>
                    <a:pt x="514048" y="817764"/>
                  </a:cubicBezTo>
                  <a:cubicBezTo>
                    <a:pt x="520787" y="817764"/>
                    <a:pt x="517839" y="830820"/>
                    <a:pt x="507309" y="830820"/>
                  </a:cubicBezTo>
                  <a:cubicBezTo>
                    <a:pt x="517839" y="830820"/>
                    <a:pt x="494253" y="845772"/>
                    <a:pt x="479933" y="845772"/>
                  </a:cubicBezTo>
                  <a:cubicBezTo>
                    <a:pt x="466455" y="845772"/>
                    <a:pt x="453609" y="866410"/>
                    <a:pt x="440553" y="866410"/>
                  </a:cubicBezTo>
                  <a:cubicBezTo>
                    <a:pt x="427707" y="866410"/>
                    <a:pt x="409385" y="885573"/>
                    <a:pt x="401593" y="885573"/>
                  </a:cubicBezTo>
                  <a:cubicBezTo>
                    <a:pt x="393381" y="885573"/>
                    <a:pt x="379903" y="888522"/>
                    <a:pt x="389590" y="888522"/>
                  </a:cubicBezTo>
                  <a:cubicBezTo>
                    <a:pt x="399066" y="888522"/>
                    <a:pt x="406016" y="876097"/>
                    <a:pt x="401172" y="876097"/>
                  </a:cubicBezTo>
                  <a:cubicBezTo>
                    <a:pt x="396329" y="876097"/>
                    <a:pt x="401593" y="863672"/>
                    <a:pt x="389169" y="875676"/>
                  </a:cubicBezTo>
                  <a:cubicBezTo>
                    <a:pt x="372322" y="875676"/>
                    <a:pt x="365162" y="897366"/>
                    <a:pt x="356527" y="897366"/>
                  </a:cubicBezTo>
                  <a:cubicBezTo>
                    <a:pt x="348736" y="897366"/>
                    <a:pt x="335890" y="912318"/>
                    <a:pt x="333994" y="912318"/>
                  </a:cubicBezTo>
                  <a:cubicBezTo>
                    <a:pt x="335890" y="912318"/>
                    <a:pt x="354211" y="911265"/>
                    <a:pt x="348314" y="911265"/>
                  </a:cubicBezTo>
                  <a:cubicBezTo>
                    <a:pt x="354632" y="911265"/>
                    <a:pt x="327256" y="931061"/>
                    <a:pt x="320517" y="931061"/>
                  </a:cubicBezTo>
                  <a:cubicBezTo>
                    <a:pt x="326834" y="931061"/>
                    <a:pt x="297984" y="948750"/>
                    <a:pt x="290824" y="948750"/>
                  </a:cubicBezTo>
                  <a:cubicBezTo>
                    <a:pt x="283032" y="948750"/>
                    <a:pt x="252918" y="973178"/>
                    <a:pt x="250391" y="973178"/>
                  </a:cubicBezTo>
                  <a:cubicBezTo>
                    <a:pt x="255655" y="973178"/>
                    <a:pt x="243652" y="986656"/>
                    <a:pt x="232069" y="986656"/>
                  </a:cubicBezTo>
                  <a:cubicBezTo>
                    <a:pt x="226805" y="997185"/>
                    <a:pt x="205746" y="1006241"/>
                    <a:pt x="196480" y="1006241"/>
                  </a:cubicBezTo>
                  <a:cubicBezTo>
                    <a:pt x="205114" y="1006241"/>
                    <a:pt x="179211" y="1026457"/>
                    <a:pt x="170577" y="1026457"/>
                  </a:cubicBezTo>
                  <a:cubicBezTo>
                    <a:pt x="162364" y="1026457"/>
                    <a:pt x="152888" y="1041830"/>
                    <a:pt x="143201" y="1041830"/>
                  </a:cubicBezTo>
                  <a:cubicBezTo>
                    <a:pt x="132671" y="1041830"/>
                    <a:pt x="144043" y="1038461"/>
                    <a:pt x="142779" y="1038461"/>
                  </a:cubicBezTo>
                  <a:cubicBezTo>
                    <a:pt x="144254" y="1038461"/>
                    <a:pt x="122984" y="1053413"/>
                    <a:pt x="116456" y="1053413"/>
                  </a:cubicBezTo>
                  <a:cubicBezTo>
                    <a:pt x="124248" y="1053413"/>
                    <a:pt x="100240" y="1053834"/>
                    <a:pt x="95818" y="1063100"/>
                  </a:cubicBezTo>
                  <a:cubicBezTo>
                    <a:pt x="84867" y="1063100"/>
                    <a:pt x="83815" y="1078894"/>
                    <a:pt x="72232" y="1078894"/>
                  </a:cubicBezTo>
                  <a:cubicBezTo>
                    <a:pt x="72232" y="1091319"/>
                    <a:pt x="58754" y="1090898"/>
                    <a:pt x="50541" y="1090898"/>
                  </a:cubicBezTo>
                  <a:cubicBezTo>
                    <a:pt x="42328" y="1090898"/>
                    <a:pt x="21270" y="1102901"/>
                    <a:pt x="18321" y="1108587"/>
                  </a:cubicBezTo>
                  <a:cubicBezTo>
                    <a:pt x="12004" y="1108587"/>
                    <a:pt x="2527" y="1118696"/>
                    <a:pt x="0" y="1118696"/>
                  </a:cubicBezTo>
                  <a:cubicBezTo>
                    <a:pt x="1895" y="1118696"/>
                    <a:pt x="-1053" y="1108587"/>
                    <a:pt x="11582" y="1108587"/>
                  </a:cubicBezTo>
                  <a:cubicBezTo>
                    <a:pt x="24007" y="1108587"/>
                    <a:pt x="32641" y="1089424"/>
                    <a:pt x="46751" y="1089424"/>
                  </a:cubicBezTo>
                  <a:cubicBezTo>
                    <a:pt x="61071" y="1089424"/>
                    <a:pt x="65493" y="1069839"/>
                    <a:pt x="75180" y="1069839"/>
                  </a:cubicBezTo>
                  <a:cubicBezTo>
                    <a:pt x="85289" y="1069839"/>
                    <a:pt x="97292" y="1063521"/>
                    <a:pt x="102557" y="1053413"/>
                  </a:cubicBezTo>
                  <a:cubicBezTo>
                    <a:pt x="113508" y="1053413"/>
                    <a:pt x="125511" y="1043305"/>
                    <a:pt x="120878" y="1043305"/>
                  </a:cubicBezTo>
                  <a:cubicBezTo>
                    <a:pt x="125722" y="1043305"/>
                    <a:pt x="127617" y="1049622"/>
                    <a:pt x="133303" y="1037619"/>
                  </a:cubicBezTo>
                  <a:cubicBezTo>
                    <a:pt x="146359" y="1037619"/>
                    <a:pt x="141937" y="1021824"/>
                    <a:pt x="155836" y="1021824"/>
                  </a:cubicBezTo>
                  <a:cubicBezTo>
                    <a:pt x="162575" y="1009400"/>
                    <a:pt x="175000" y="1004977"/>
                    <a:pt x="185108" y="1004977"/>
                  </a:cubicBezTo>
                  <a:cubicBezTo>
                    <a:pt x="195637" y="1004977"/>
                    <a:pt x="188477" y="991921"/>
                    <a:pt x="202376" y="991921"/>
                  </a:cubicBezTo>
                  <a:cubicBezTo>
                    <a:pt x="208694" y="979496"/>
                    <a:pt x="232069" y="974652"/>
                    <a:pt x="225962" y="974652"/>
                  </a:cubicBezTo>
                  <a:cubicBezTo>
                    <a:pt x="232701" y="974652"/>
                    <a:pt x="248916" y="959280"/>
                    <a:pt x="241756" y="959280"/>
                  </a:cubicBezTo>
                  <a:cubicBezTo>
                    <a:pt x="249548" y="959280"/>
                    <a:pt x="261552" y="948750"/>
                    <a:pt x="252918" y="948750"/>
                  </a:cubicBezTo>
                  <a:cubicBezTo>
                    <a:pt x="243862" y="948750"/>
                    <a:pt x="239019" y="963070"/>
                    <a:pt x="227436" y="963070"/>
                  </a:cubicBezTo>
                  <a:cubicBezTo>
                    <a:pt x="215854" y="963070"/>
                    <a:pt x="218802" y="969388"/>
                    <a:pt x="211642" y="969388"/>
                  </a:cubicBezTo>
                  <a:cubicBezTo>
                    <a:pt x="218381" y="969388"/>
                    <a:pt x="200060" y="979917"/>
                    <a:pt x="196269" y="979917"/>
                  </a:cubicBezTo>
                  <a:cubicBezTo>
                    <a:pt x="193321" y="982865"/>
                    <a:pt x="192479" y="978022"/>
                    <a:pt x="183844" y="978022"/>
                  </a:cubicBezTo>
                  <a:cubicBezTo>
                    <a:pt x="174157" y="978022"/>
                    <a:pt x="172894" y="981391"/>
                    <a:pt x="169524" y="981391"/>
                  </a:cubicBezTo>
                  <a:cubicBezTo>
                    <a:pt x="173315" y="981391"/>
                    <a:pt x="158995" y="994869"/>
                    <a:pt x="143622" y="994869"/>
                  </a:cubicBezTo>
                  <a:cubicBezTo>
                    <a:pt x="128670" y="994869"/>
                    <a:pt x="139410" y="994869"/>
                    <a:pt x="135409" y="994869"/>
                  </a:cubicBezTo>
                  <a:cubicBezTo>
                    <a:pt x="139831" y="994869"/>
                    <a:pt x="141727" y="991921"/>
                    <a:pt x="133092" y="991921"/>
                  </a:cubicBezTo>
                  <a:cubicBezTo>
                    <a:pt x="142358" y="991921"/>
                    <a:pt x="152256" y="982234"/>
                    <a:pt x="144675" y="982234"/>
                  </a:cubicBezTo>
                  <a:cubicBezTo>
                    <a:pt x="137936" y="982234"/>
                    <a:pt x="136041" y="988551"/>
                    <a:pt x="123616" y="988551"/>
                  </a:cubicBezTo>
                  <a:cubicBezTo>
                    <a:pt x="117930" y="999502"/>
                    <a:pt x="96239" y="1002029"/>
                    <a:pt x="93291" y="1002029"/>
                  </a:cubicBezTo>
                  <a:cubicBezTo>
                    <a:pt x="96660" y="1002029"/>
                    <a:pt x="80234" y="1000134"/>
                    <a:pt x="77918" y="1000134"/>
                  </a:cubicBezTo>
                  <a:cubicBezTo>
                    <a:pt x="80234" y="1000134"/>
                    <a:pt x="63598" y="995290"/>
                    <a:pt x="73074" y="995290"/>
                  </a:cubicBezTo>
                  <a:cubicBezTo>
                    <a:pt x="82762" y="995290"/>
                    <a:pt x="79813" y="988551"/>
                    <a:pt x="77286" y="988551"/>
                  </a:cubicBezTo>
                  <a:cubicBezTo>
                    <a:pt x="73496" y="996343"/>
                    <a:pt x="62334" y="992763"/>
                    <a:pt x="60439" y="992763"/>
                  </a:cubicBezTo>
                  <a:cubicBezTo>
                    <a:pt x="62334" y="992763"/>
                    <a:pt x="57070" y="981813"/>
                    <a:pt x="70547" y="981813"/>
                  </a:cubicBezTo>
                  <a:cubicBezTo>
                    <a:pt x="82972" y="981813"/>
                    <a:pt x="106137" y="960122"/>
                    <a:pt x="96871" y="960122"/>
                  </a:cubicBezTo>
                  <a:cubicBezTo>
                    <a:pt x="106979" y="960122"/>
                    <a:pt x="116035" y="938010"/>
                    <a:pt x="124248" y="938010"/>
                  </a:cubicBezTo>
                  <a:cubicBezTo>
                    <a:pt x="132461" y="938010"/>
                    <a:pt x="155415" y="927481"/>
                    <a:pt x="147834" y="927481"/>
                  </a:cubicBezTo>
                  <a:cubicBezTo>
                    <a:pt x="153520" y="922216"/>
                    <a:pt x="158784" y="921795"/>
                    <a:pt x="169314" y="921795"/>
                  </a:cubicBezTo>
                  <a:cubicBezTo>
                    <a:pt x="174157" y="912739"/>
                    <a:pt x="174157" y="907896"/>
                    <a:pt x="187003" y="907896"/>
                  </a:cubicBezTo>
                  <a:cubicBezTo>
                    <a:pt x="192900" y="896313"/>
                    <a:pt x="199428" y="902210"/>
                    <a:pt x="209536" y="902210"/>
                  </a:cubicBezTo>
                  <a:cubicBezTo>
                    <a:pt x="219644" y="902210"/>
                    <a:pt x="233122" y="886416"/>
                    <a:pt x="230174" y="886416"/>
                  </a:cubicBezTo>
                  <a:cubicBezTo>
                    <a:pt x="233122" y="886416"/>
                    <a:pt x="212906" y="883467"/>
                    <a:pt x="220487" y="883467"/>
                  </a:cubicBezTo>
                  <a:cubicBezTo>
                    <a:pt x="224277" y="875676"/>
                    <a:pt x="244494" y="874201"/>
                    <a:pt x="239229" y="874201"/>
                  </a:cubicBezTo>
                  <a:cubicBezTo>
                    <a:pt x="245126" y="874201"/>
                    <a:pt x="243652" y="873780"/>
                    <a:pt x="230595" y="873780"/>
                  </a:cubicBezTo>
                  <a:cubicBezTo>
                    <a:pt x="218170" y="873780"/>
                    <a:pt x="212274" y="892523"/>
                    <a:pt x="197533" y="892523"/>
                  </a:cubicBezTo>
                  <a:cubicBezTo>
                    <a:pt x="183002" y="892523"/>
                    <a:pt x="180686" y="891680"/>
                    <a:pt x="175000" y="902631"/>
                  </a:cubicBezTo>
                  <a:cubicBezTo>
                    <a:pt x="162996" y="902631"/>
                    <a:pt x="140463" y="909791"/>
                    <a:pt x="135619" y="918846"/>
                  </a:cubicBezTo>
                  <a:cubicBezTo>
                    <a:pt x="125090" y="918846"/>
                    <a:pt x="107190" y="931903"/>
                    <a:pt x="104452" y="931903"/>
                  </a:cubicBezTo>
                  <a:cubicBezTo>
                    <a:pt x="106769" y="931903"/>
                    <a:pt x="106769" y="924111"/>
                    <a:pt x="104031" y="924111"/>
                  </a:cubicBezTo>
                  <a:cubicBezTo>
                    <a:pt x="102557" y="927481"/>
                    <a:pt x="89711" y="927481"/>
                    <a:pt x="85289" y="927481"/>
                  </a:cubicBezTo>
                  <a:cubicBezTo>
                    <a:pt x="80445" y="927481"/>
                    <a:pt x="81498" y="919899"/>
                    <a:pt x="93080" y="919899"/>
                  </a:cubicBezTo>
                  <a:cubicBezTo>
                    <a:pt x="104663" y="919899"/>
                    <a:pt x="128670" y="912108"/>
                    <a:pt x="136672" y="896313"/>
                  </a:cubicBezTo>
                  <a:cubicBezTo>
                    <a:pt x="153941" y="896313"/>
                    <a:pt x="165523" y="875254"/>
                    <a:pt x="177948" y="875254"/>
                  </a:cubicBezTo>
                  <a:cubicBezTo>
                    <a:pt x="183634" y="864304"/>
                    <a:pt x="199639" y="868094"/>
                    <a:pt x="194795" y="868094"/>
                  </a:cubicBezTo>
                  <a:cubicBezTo>
                    <a:pt x="199639" y="868094"/>
                    <a:pt x="186161" y="875254"/>
                    <a:pt x="195848" y="875254"/>
                  </a:cubicBezTo>
                  <a:cubicBezTo>
                    <a:pt x="205956" y="875254"/>
                    <a:pt x="234175" y="859881"/>
                    <a:pt x="229542" y="859881"/>
                  </a:cubicBezTo>
                  <a:cubicBezTo>
                    <a:pt x="234386" y="859881"/>
                    <a:pt x="255445" y="846825"/>
                    <a:pt x="242599" y="846825"/>
                  </a:cubicBezTo>
                  <a:cubicBezTo>
                    <a:pt x="229121" y="846825"/>
                    <a:pt x="228700" y="852090"/>
                    <a:pt x="216696" y="852090"/>
                  </a:cubicBezTo>
                  <a:cubicBezTo>
                    <a:pt x="205114" y="852090"/>
                    <a:pt x="208904" y="851037"/>
                    <a:pt x="205535" y="851037"/>
                  </a:cubicBezTo>
                  <a:cubicBezTo>
                    <a:pt x="202166" y="851037"/>
                    <a:pt x="193953" y="853985"/>
                    <a:pt x="185318" y="853985"/>
                  </a:cubicBezTo>
                  <a:cubicBezTo>
                    <a:pt x="176684" y="853985"/>
                    <a:pt x="159416" y="857354"/>
                    <a:pt x="156889" y="862198"/>
                  </a:cubicBezTo>
                  <a:cubicBezTo>
                    <a:pt x="151203" y="862198"/>
                    <a:pt x="153098" y="855880"/>
                    <a:pt x="162154" y="855880"/>
                  </a:cubicBezTo>
                  <a:cubicBezTo>
                    <a:pt x="169945" y="855880"/>
                    <a:pt x="165523" y="846614"/>
                    <a:pt x="175210" y="846614"/>
                  </a:cubicBezTo>
                  <a:cubicBezTo>
                    <a:pt x="183844" y="846614"/>
                    <a:pt x="192900" y="843245"/>
                    <a:pt x="196690" y="836085"/>
                  </a:cubicBezTo>
                  <a:cubicBezTo>
                    <a:pt x="205324" y="836085"/>
                    <a:pt x="225120" y="818817"/>
                    <a:pt x="233333" y="818817"/>
                  </a:cubicBezTo>
                  <a:cubicBezTo>
                    <a:pt x="240914" y="818817"/>
                    <a:pt x="256919" y="810604"/>
                    <a:pt x="264079" y="796705"/>
                  </a:cubicBezTo>
                  <a:cubicBezTo>
                    <a:pt x="279452" y="796705"/>
                    <a:pt x="298194" y="767854"/>
                    <a:pt x="318411" y="767854"/>
                  </a:cubicBezTo>
                  <a:cubicBezTo>
                    <a:pt x="332310" y="753955"/>
                    <a:pt x="348736" y="746163"/>
                    <a:pt x="358212" y="746163"/>
                  </a:cubicBezTo>
                  <a:cubicBezTo>
                    <a:pt x="367899" y="746163"/>
                    <a:pt x="371690" y="733739"/>
                    <a:pt x="386642" y="733739"/>
                  </a:cubicBezTo>
                  <a:cubicBezTo>
                    <a:pt x="392959" y="721314"/>
                    <a:pt x="417809" y="723209"/>
                    <a:pt x="430444" y="710574"/>
                  </a:cubicBezTo>
                  <a:cubicBezTo>
                    <a:pt x="444764" y="710574"/>
                    <a:pt x="452556" y="698991"/>
                    <a:pt x="460559" y="698991"/>
                  </a:cubicBezTo>
                  <a:cubicBezTo>
                    <a:pt x="465402" y="689304"/>
                    <a:pt x="475089" y="689725"/>
                    <a:pt x="489830" y="689725"/>
                  </a:cubicBezTo>
                  <a:cubicBezTo>
                    <a:pt x="496569" y="676248"/>
                    <a:pt x="522472" y="673931"/>
                    <a:pt x="530685" y="673931"/>
                  </a:cubicBezTo>
                  <a:cubicBezTo>
                    <a:pt x="538266" y="673931"/>
                    <a:pt x="545005" y="668245"/>
                    <a:pt x="557640" y="668245"/>
                  </a:cubicBezTo>
                  <a:cubicBezTo>
                    <a:pt x="563326" y="656663"/>
                    <a:pt x="605654" y="645081"/>
                    <a:pt x="621449" y="645081"/>
                  </a:cubicBezTo>
                  <a:cubicBezTo>
                    <a:pt x="637875" y="645081"/>
                    <a:pt x="652195" y="642764"/>
                    <a:pt x="655985" y="634972"/>
                  </a:cubicBezTo>
                  <a:cubicBezTo>
                    <a:pt x="664619" y="634972"/>
                    <a:pt x="673675" y="624443"/>
                    <a:pt x="687784" y="624443"/>
                  </a:cubicBezTo>
                  <a:cubicBezTo>
                    <a:pt x="693470" y="612439"/>
                    <a:pt x="700209" y="615809"/>
                    <a:pt x="712212" y="615809"/>
                  </a:cubicBezTo>
                  <a:cubicBezTo>
                    <a:pt x="724216" y="615809"/>
                    <a:pt x="735167" y="601910"/>
                    <a:pt x="748644" y="601910"/>
                  </a:cubicBezTo>
                  <a:cubicBezTo>
                    <a:pt x="761069" y="601910"/>
                    <a:pt x="785708" y="600014"/>
                    <a:pt x="797080" y="588432"/>
                  </a:cubicBezTo>
                  <a:cubicBezTo>
                    <a:pt x="813927" y="588432"/>
                    <a:pt x="828879" y="573480"/>
                    <a:pt x="845515" y="573480"/>
                  </a:cubicBezTo>
                  <a:cubicBezTo>
                    <a:pt x="862363" y="573480"/>
                    <a:pt x="867627" y="566741"/>
                    <a:pt x="876683" y="566741"/>
                  </a:cubicBezTo>
                  <a:cubicBezTo>
                    <a:pt x="886370" y="566741"/>
                    <a:pt x="885738" y="561056"/>
                    <a:pt x="899216" y="561056"/>
                  </a:cubicBezTo>
                  <a:cubicBezTo>
                    <a:pt x="914167" y="561056"/>
                    <a:pt x="921749" y="554738"/>
                    <a:pt x="927013" y="544840"/>
                  </a:cubicBezTo>
                  <a:cubicBezTo>
                    <a:pt x="937964" y="544840"/>
                    <a:pt x="973132" y="530520"/>
                    <a:pt x="981767" y="521254"/>
                  </a:cubicBezTo>
                  <a:cubicBezTo>
                    <a:pt x="994191" y="521254"/>
                    <a:pt x="998614" y="510725"/>
                    <a:pt x="1012934" y="510725"/>
                  </a:cubicBezTo>
                  <a:cubicBezTo>
                    <a:pt x="1027886" y="510725"/>
                    <a:pt x="1051472" y="494299"/>
                    <a:pt x="1062001" y="494299"/>
                  </a:cubicBezTo>
                  <a:cubicBezTo>
                    <a:pt x="1072531" y="494299"/>
                    <a:pt x="1076953" y="479979"/>
                    <a:pt x="1092747" y="479979"/>
                  </a:cubicBezTo>
                  <a:cubicBezTo>
                    <a:pt x="1108120" y="479979"/>
                    <a:pt x="1125388" y="464185"/>
                    <a:pt x="1130232" y="464185"/>
                  </a:cubicBezTo>
                  <a:cubicBezTo>
                    <a:pt x="1134654" y="464185"/>
                    <a:pt x="1118228" y="474714"/>
                    <a:pt x="1115701" y="474714"/>
                  </a:cubicBezTo>
                  <a:cubicBezTo>
                    <a:pt x="1118018" y="474714"/>
                    <a:pt x="1135918" y="478505"/>
                    <a:pt x="1141604" y="466501"/>
                  </a:cubicBezTo>
                  <a:cubicBezTo>
                    <a:pt x="1154660" y="466501"/>
                    <a:pt x="1168559" y="451970"/>
                    <a:pt x="1163084" y="451970"/>
                  </a:cubicBezTo>
                  <a:cubicBezTo>
                    <a:pt x="1157819" y="451970"/>
                    <a:pt x="1171297" y="452392"/>
                    <a:pt x="1175088" y="444810"/>
                  </a:cubicBezTo>
                  <a:cubicBezTo>
                    <a:pt x="1183722" y="444810"/>
                    <a:pt x="1185196" y="448601"/>
                    <a:pt x="1198673" y="448601"/>
                  </a:cubicBezTo>
                  <a:cubicBezTo>
                    <a:pt x="1204991" y="461657"/>
                    <a:pt x="1208360" y="447548"/>
                    <a:pt x="1219943" y="447548"/>
                  </a:cubicBezTo>
                  <a:cubicBezTo>
                    <a:pt x="1232368" y="447548"/>
                    <a:pt x="1238685" y="427963"/>
                    <a:pt x="1249636" y="427963"/>
                  </a:cubicBezTo>
                  <a:cubicBezTo>
                    <a:pt x="1261640" y="427963"/>
                    <a:pt x="1266062" y="429858"/>
                    <a:pt x="1260587" y="429858"/>
                  </a:cubicBezTo>
                  <a:cubicBezTo>
                    <a:pt x="1266272" y="429858"/>
                    <a:pt x="1243739" y="437019"/>
                    <a:pt x="1258270" y="437019"/>
                  </a:cubicBezTo>
                  <a:cubicBezTo>
                    <a:pt x="1273222" y="437019"/>
                    <a:pt x="1281435" y="417434"/>
                    <a:pt x="1296597" y="417434"/>
                  </a:cubicBezTo>
                  <a:cubicBezTo>
                    <a:pt x="1312392" y="417434"/>
                    <a:pt x="1331134" y="403535"/>
                    <a:pt x="1346928" y="403535"/>
                  </a:cubicBezTo>
                  <a:cubicBezTo>
                    <a:pt x="1363354" y="403535"/>
                    <a:pt x="1373462" y="396375"/>
                    <a:pt x="1386308" y="396375"/>
                  </a:cubicBezTo>
                  <a:cubicBezTo>
                    <a:pt x="1399365" y="396375"/>
                    <a:pt x="1398733" y="390057"/>
                    <a:pt x="1414738" y="390057"/>
                  </a:cubicBezTo>
                  <a:cubicBezTo>
                    <a:pt x="1425899" y="378475"/>
                    <a:pt x="1450328" y="390478"/>
                    <a:pt x="1455171" y="381423"/>
                  </a:cubicBezTo>
                  <a:cubicBezTo>
                    <a:pt x="1464858" y="381423"/>
                    <a:pt x="1481074" y="370472"/>
                    <a:pt x="1488865" y="370472"/>
                  </a:cubicBezTo>
                  <a:cubicBezTo>
                    <a:pt x="1497078" y="370472"/>
                    <a:pt x="1521928" y="370894"/>
                    <a:pt x="1524876" y="365629"/>
                  </a:cubicBezTo>
                  <a:cubicBezTo>
                    <a:pt x="1530562" y="365629"/>
                    <a:pt x="1533931" y="373210"/>
                    <a:pt x="1517084" y="373210"/>
                  </a:cubicBezTo>
                  <a:cubicBezTo>
                    <a:pt x="1501290" y="373210"/>
                    <a:pt x="1470123" y="388162"/>
                    <a:pt x="1483390" y="388162"/>
                  </a:cubicBezTo>
                  <a:cubicBezTo>
                    <a:pt x="1496868" y="388162"/>
                    <a:pt x="1519401" y="373842"/>
                    <a:pt x="1542565" y="373842"/>
                  </a:cubicBezTo>
                  <a:cubicBezTo>
                    <a:pt x="1558991" y="357416"/>
                    <a:pt x="1592054" y="353204"/>
                    <a:pt x="1608901" y="353204"/>
                  </a:cubicBezTo>
                  <a:cubicBezTo>
                    <a:pt x="1626591" y="353204"/>
                    <a:pt x="1638173" y="338884"/>
                    <a:pt x="1650177" y="338884"/>
                  </a:cubicBezTo>
                  <a:cubicBezTo>
                    <a:pt x="1662601" y="338884"/>
                    <a:pt x="1678606" y="334672"/>
                    <a:pt x="1678606" y="341201"/>
                  </a:cubicBezTo>
                  <a:cubicBezTo>
                    <a:pt x="1685345" y="341201"/>
                    <a:pt x="1681976" y="352783"/>
                    <a:pt x="1689557" y="344991"/>
                  </a:cubicBezTo>
                  <a:cubicBezTo>
                    <a:pt x="1699244" y="344991"/>
                    <a:pt x="1702613" y="331092"/>
                    <a:pt x="1694822" y="331092"/>
                  </a:cubicBezTo>
                  <a:cubicBezTo>
                    <a:pt x="1687661" y="331092"/>
                    <a:pt x="1672288" y="324775"/>
                    <a:pt x="1683239" y="324775"/>
                  </a:cubicBezTo>
                  <a:cubicBezTo>
                    <a:pt x="1694822" y="324775"/>
                    <a:pt x="1695243" y="330039"/>
                    <a:pt x="1714827" y="310244"/>
                  </a:cubicBezTo>
                  <a:cubicBezTo>
                    <a:pt x="1742625" y="310244"/>
                    <a:pt x="1755260" y="294871"/>
                    <a:pt x="1764737" y="294871"/>
                  </a:cubicBezTo>
                  <a:cubicBezTo>
                    <a:pt x="1773792" y="294871"/>
                    <a:pt x="1788323" y="294871"/>
                    <a:pt x="1799695" y="294871"/>
                  </a:cubicBezTo>
                  <a:cubicBezTo>
                    <a:pt x="1811698" y="294871"/>
                    <a:pt x="1815489" y="288764"/>
                    <a:pt x="1835284" y="288764"/>
                  </a:cubicBezTo>
                  <a:cubicBezTo>
                    <a:pt x="1852132" y="277603"/>
                    <a:pt x="1880350" y="273812"/>
                    <a:pt x="1899725" y="273812"/>
                  </a:cubicBezTo>
                  <a:cubicBezTo>
                    <a:pt x="1919520" y="273812"/>
                    <a:pt x="1915519" y="276128"/>
                    <a:pt x="1928575" y="263704"/>
                  </a:cubicBezTo>
                  <a:cubicBezTo>
                    <a:pt x="1946897" y="263704"/>
                    <a:pt x="1971325" y="255070"/>
                    <a:pt x="1964586" y="255070"/>
                  </a:cubicBezTo>
                  <a:cubicBezTo>
                    <a:pt x="1971746" y="255070"/>
                    <a:pt x="1964165" y="243066"/>
                    <a:pt x="1981433" y="243066"/>
                  </a:cubicBezTo>
                  <a:cubicBezTo>
                    <a:pt x="1998280" y="243066"/>
                    <a:pt x="1993858" y="228746"/>
                    <a:pt x="1989646" y="236748"/>
                  </a:cubicBezTo>
                  <a:cubicBezTo>
                    <a:pt x="1980591" y="236748"/>
                    <a:pt x="1958900" y="243487"/>
                    <a:pt x="1952161" y="243487"/>
                  </a:cubicBezTo>
                  <a:cubicBezTo>
                    <a:pt x="1945422" y="243487"/>
                    <a:pt x="1957426" y="232536"/>
                    <a:pt x="1969008" y="232536"/>
                  </a:cubicBezTo>
                  <a:cubicBezTo>
                    <a:pt x="1973852" y="222428"/>
                    <a:pt x="1969430" y="236748"/>
                    <a:pt x="1991963" y="221375"/>
                  </a:cubicBezTo>
                  <a:cubicBezTo>
                    <a:pt x="2015128" y="206423"/>
                    <a:pt x="2019761" y="207898"/>
                    <a:pt x="2026499" y="207898"/>
                  </a:cubicBezTo>
                  <a:cubicBezTo>
                    <a:pt x="2033238" y="207898"/>
                    <a:pt x="2043768" y="207476"/>
                    <a:pt x="2052823" y="207476"/>
                  </a:cubicBezTo>
                  <a:cubicBezTo>
                    <a:pt x="2061457" y="207476"/>
                    <a:pt x="2069038" y="198842"/>
                    <a:pt x="2061457" y="198842"/>
                  </a:cubicBezTo>
                  <a:cubicBezTo>
                    <a:pt x="2061457" y="191261"/>
                    <a:pt x="2062931" y="187892"/>
                    <a:pt x="2058088" y="187892"/>
                  </a:cubicBezTo>
                  <a:cubicBezTo>
                    <a:pt x="2063352" y="187892"/>
                    <a:pt x="2061457" y="174414"/>
                    <a:pt x="2074303" y="174414"/>
                  </a:cubicBezTo>
                  <a:cubicBezTo>
                    <a:pt x="2086728" y="174414"/>
                    <a:pt x="2110735" y="159462"/>
                    <a:pt x="2103996" y="159462"/>
                  </a:cubicBezTo>
                  <a:cubicBezTo>
                    <a:pt x="2110735" y="159462"/>
                    <a:pt x="2108840" y="145142"/>
                    <a:pt x="2105049" y="145142"/>
                  </a:cubicBezTo>
                  <a:cubicBezTo>
                    <a:pt x="2108840" y="145142"/>
                    <a:pt x="2106102" y="131664"/>
                    <a:pt x="2114736" y="131664"/>
                  </a:cubicBezTo>
                  <a:cubicBezTo>
                    <a:pt x="2122949" y="131664"/>
                    <a:pt x="2122949" y="119661"/>
                    <a:pt x="2141060" y="119661"/>
                  </a:cubicBezTo>
                  <a:cubicBezTo>
                    <a:pt x="2158749" y="119661"/>
                    <a:pt x="2176018" y="107236"/>
                    <a:pt x="2190970" y="107236"/>
                  </a:cubicBezTo>
                  <a:cubicBezTo>
                    <a:pt x="2205290" y="107236"/>
                    <a:pt x="2233719" y="106815"/>
                    <a:pt x="2239405" y="96075"/>
                  </a:cubicBezTo>
                  <a:cubicBezTo>
                    <a:pt x="2250987" y="96075"/>
                    <a:pt x="2280259" y="89336"/>
                    <a:pt x="2273520" y="89336"/>
                  </a:cubicBezTo>
                  <a:cubicBezTo>
                    <a:pt x="2280259" y="89336"/>
                    <a:pt x="2261096" y="106604"/>
                    <a:pt x="2239826" y="106604"/>
                  </a:cubicBezTo>
                  <a:cubicBezTo>
                    <a:pt x="2224874" y="121556"/>
                    <a:pt x="2208238" y="125768"/>
                    <a:pt x="2196655" y="125768"/>
                  </a:cubicBezTo>
                  <a:cubicBezTo>
                    <a:pt x="2185073" y="125768"/>
                    <a:pt x="2168226" y="132086"/>
                    <a:pt x="2164014" y="132086"/>
                  </a:cubicBezTo>
                  <a:cubicBezTo>
                    <a:pt x="2168436" y="132086"/>
                    <a:pt x="2185705" y="137771"/>
                    <a:pt x="2165488" y="137771"/>
                  </a:cubicBezTo>
                  <a:cubicBezTo>
                    <a:pt x="2145272" y="137771"/>
                    <a:pt x="2129899" y="150828"/>
                    <a:pt x="2138533" y="150828"/>
                  </a:cubicBezTo>
                  <a:cubicBezTo>
                    <a:pt x="2147167" y="150828"/>
                    <a:pt x="2152853" y="150828"/>
                    <a:pt x="2160013" y="150828"/>
                  </a:cubicBezTo>
                  <a:cubicBezTo>
                    <a:pt x="2167173" y="150828"/>
                    <a:pt x="2176860" y="156093"/>
                    <a:pt x="2174333" y="156093"/>
                  </a:cubicBezTo>
                  <a:cubicBezTo>
                    <a:pt x="2177281" y="156093"/>
                    <a:pt x="2173491" y="159883"/>
                    <a:pt x="2185915" y="159883"/>
                  </a:cubicBezTo>
                  <a:cubicBezTo>
                    <a:pt x="2198340" y="159883"/>
                    <a:pt x="2218978" y="162200"/>
                    <a:pt x="2203605" y="162200"/>
                  </a:cubicBezTo>
                  <a:cubicBezTo>
                    <a:pt x="2188232" y="162200"/>
                    <a:pt x="2193918" y="179889"/>
                    <a:pt x="2199182" y="169781"/>
                  </a:cubicBezTo>
                  <a:cubicBezTo>
                    <a:pt x="2210344" y="169781"/>
                    <a:pt x="2224243" y="164516"/>
                    <a:pt x="2229086" y="164516"/>
                  </a:cubicBezTo>
                  <a:cubicBezTo>
                    <a:pt x="2231403" y="160304"/>
                    <a:pt x="2230560" y="168307"/>
                    <a:pt x="2244038" y="168307"/>
                  </a:cubicBezTo>
                  <a:cubicBezTo>
                    <a:pt x="2257095" y="168307"/>
                    <a:pt x="2282365" y="159252"/>
                    <a:pt x="2271836" y="159252"/>
                  </a:cubicBezTo>
                  <a:cubicBezTo>
                    <a:pt x="2276679" y="168728"/>
                    <a:pt x="2301108" y="161147"/>
                    <a:pt x="2296896" y="161147"/>
                  </a:cubicBezTo>
                  <a:cubicBezTo>
                    <a:pt x="2301108" y="161147"/>
                    <a:pt x="2272889" y="175467"/>
                    <a:pt x="2281102" y="175467"/>
                  </a:cubicBezTo>
                  <a:cubicBezTo>
                    <a:pt x="2289315" y="175467"/>
                    <a:pt x="2305741" y="176941"/>
                    <a:pt x="2314796" y="176941"/>
                  </a:cubicBezTo>
                  <a:cubicBezTo>
                    <a:pt x="2324483" y="176941"/>
                    <a:pt x="2304266" y="164516"/>
                    <a:pt x="2321956" y="164516"/>
                  </a:cubicBezTo>
                  <a:cubicBezTo>
                    <a:pt x="2339645" y="164516"/>
                    <a:pt x="2353123" y="159252"/>
                    <a:pt x="2347016" y="159252"/>
                  </a:cubicBezTo>
                  <a:cubicBezTo>
                    <a:pt x="2353334" y="159252"/>
                    <a:pt x="2381553" y="140930"/>
                    <a:pt x="2371023" y="140930"/>
                  </a:cubicBezTo>
                  <a:cubicBezTo>
                    <a:pt x="2375867" y="132296"/>
                    <a:pt x="2377130" y="127031"/>
                    <a:pt x="2370181" y="127031"/>
                  </a:cubicBezTo>
                  <a:cubicBezTo>
                    <a:pt x="2363021" y="127031"/>
                    <a:pt x="2352913" y="129769"/>
                    <a:pt x="2337961" y="129769"/>
                  </a:cubicBezTo>
                  <a:cubicBezTo>
                    <a:pt x="2323009" y="129769"/>
                    <a:pt x="2297528" y="136087"/>
                    <a:pt x="2285524" y="136087"/>
                  </a:cubicBezTo>
                  <a:cubicBezTo>
                    <a:pt x="2273099" y="136087"/>
                    <a:pt x="2261517" y="136929"/>
                    <a:pt x="2261517" y="130822"/>
                  </a:cubicBezTo>
                  <a:cubicBezTo>
                    <a:pt x="2268256" y="130822"/>
                    <a:pt x="2272678" y="100497"/>
                    <a:pt x="2284682" y="100497"/>
                  </a:cubicBezTo>
                  <a:cubicBezTo>
                    <a:pt x="2296685" y="100497"/>
                    <a:pt x="2321114" y="89336"/>
                    <a:pt x="2332696" y="78385"/>
                  </a:cubicBezTo>
                  <a:cubicBezTo>
                    <a:pt x="2348911" y="78385"/>
                    <a:pt x="2357124" y="66382"/>
                    <a:pt x="2373972" y="66382"/>
                  </a:cubicBezTo>
                  <a:cubicBezTo>
                    <a:pt x="2390819" y="66382"/>
                    <a:pt x="2410403" y="56273"/>
                    <a:pt x="2417563" y="56273"/>
                  </a:cubicBezTo>
                  <a:cubicBezTo>
                    <a:pt x="2423460" y="50588"/>
                    <a:pt x="2444519" y="52483"/>
                    <a:pt x="2434411" y="52483"/>
                  </a:cubicBezTo>
                  <a:cubicBezTo>
                    <a:pt x="2424302" y="52483"/>
                    <a:pt x="2397347" y="71646"/>
                    <a:pt x="2386817" y="71646"/>
                  </a:cubicBezTo>
                  <a:cubicBezTo>
                    <a:pt x="2396926" y="71646"/>
                    <a:pt x="2373761" y="93337"/>
                    <a:pt x="2377130" y="87019"/>
                  </a:cubicBezTo>
                  <a:cubicBezTo>
                    <a:pt x="2383869" y="87019"/>
                    <a:pt x="2388713" y="107236"/>
                    <a:pt x="2394399" y="95654"/>
                  </a:cubicBezTo>
                  <a:cubicBezTo>
                    <a:pt x="2407876" y="95654"/>
                    <a:pt x="2420722" y="89968"/>
                    <a:pt x="2418406" y="89968"/>
                  </a:cubicBezTo>
                  <a:cubicBezTo>
                    <a:pt x="2420722" y="89968"/>
                    <a:pt x="2399663" y="88072"/>
                    <a:pt x="2396294" y="88072"/>
                  </a:cubicBezTo>
                  <a:cubicBezTo>
                    <a:pt x="2399663" y="88072"/>
                    <a:pt x="2389976" y="74595"/>
                    <a:pt x="2402612" y="74595"/>
                  </a:cubicBezTo>
                  <a:cubicBezTo>
                    <a:pt x="2411246" y="65961"/>
                    <a:pt x="2407455" y="58169"/>
                    <a:pt x="2434832" y="58169"/>
                  </a:cubicBezTo>
                  <a:cubicBezTo>
                    <a:pt x="2457786" y="42796"/>
                    <a:pt x="2475686" y="41953"/>
                    <a:pt x="2490427" y="41953"/>
                  </a:cubicBezTo>
                  <a:cubicBezTo>
                    <a:pt x="2505800" y="41953"/>
                    <a:pt x="2521173" y="32898"/>
                    <a:pt x="2531282" y="32898"/>
                  </a:cubicBezTo>
                  <a:cubicBezTo>
                    <a:pt x="2540969" y="32898"/>
                    <a:pt x="2554868" y="36689"/>
                    <a:pt x="2547076" y="36689"/>
                  </a:cubicBezTo>
                  <a:cubicBezTo>
                    <a:pt x="2550866" y="43849"/>
                    <a:pt x="2539916" y="51009"/>
                    <a:pt x="2547076" y="51009"/>
                  </a:cubicBezTo>
                  <a:cubicBezTo>
                    <a:pt x="2550445" y="57116"/>
                    <a:pt x="2555710" y="44691"/>
                    <a:pt x="2564344" y="44691"/>
                  </a:cubicBezTo>
                  <a:cubicBezTo>
                    <a:pt x="2572978" y="44691"/>
                    <a:pt x="2582665" y="37952"/>
                    <a:pt x="2592774" y="37952"/>
                  </a:cubicBezTo>
                  <a:cubicBezTo>
                    <a:pt x="2603303" y="37952"/>
                    <a:pt x="2630258" y="30160"/>
                    <a:pt x="2622046" y="30160"/>
                  </a:cubicBezTo>
                  <a:cubicBezTo>
                    <a:pt x="2630258" y="30160"/>
                    <a:pt x="2634049" y="27844"/>
                    <a:pt x="2615307" y="27844"/>
                  </a:cubicBezTo>
                  <a:cubicBezTo>
                    <a:pt x="2602250" y="40900"/>
                    <a:pt x="2575505" y="34162"/>
                    <a:pt x="2572978" y="34162"/>
                  </a:cubicBezTo>
                  <a:cubicBezTo>
                    <a:pt x="2575295" y="34162"/>
                    <a:pt x="2563923" y="34162"/>
                    <a:pt x="2557184" y="34162"/>
                  </a:cubicBezTo>
                  <a:cubicBezTo>
                    <a:pt x="2550866" y="34162"/>
                    <a:pt x="2545181" y="24896"/>
                    <a:pt x="2563502" y="24896"/>
                  </a:cubicBezTo>
                  <a:cubicBezTo>
                    <a:pt x="2582244" y="24896"/>
                    <a:pt x="2610042" y="13945"/>
                    <a:pt x="2622046" y="13945"/>
                  </a:cubicBezTo>
                  <a:cubicBezTo>
                    <a:pt x="2630680" y="5311"/>
                    <a:pt x="2657003" y="8259"/>
                    <a:pt x="2667743" y="8259"/>
                  </a:cubicBezTo>
                  <a:cubicBezTo>
                    <a:pt x="2672587" y="-1007"/>
                    <a:pt x="2701438" y="-2902"/>
                    <a:pt x="2695120" y="10154"/>
                  </a:cubicBezTo>
                  <a:cubicBezTo>
                    <a:pt x="2680589" y="10154"/>
                    <a:pt x="2673640" y="15840"/>
                    <a:pt x="2693225" y="15840"/>
                  </a:cubicBezTo>
                  <a:cubicBezTo>
                    <a:pt x="2707123" y="1941"/>
                    <a:pt x="2717232" y="13524"/>
                    <a:pt x="2725445" y="13524"/>
                  </a:cubicBezTo>
                  <a:cubicBezTo>
                    <a:pt x="2731762" y="7206"/>
                    <a:pt x="2737027" y="16472"/>
                    <a:pt x="2754717" y="16472"/>
                  </a:cubicBezTo>
                  <a:cubicBezTo>
                    <a:pt x="2771985" y="16472"/>
                    <a:pt x="2779777" y="9733"/>
                    <a:pt x="2793255" y="9733"/>
                  </a:cubicBezTo>
                  <a:cubicBezTo>
                    <a:pt x="2807153" y="9733"/>
                    <a:pt x="2822947" y="7838"/>
                    <a:pt x="2830318" y="7838"/>
                  </a:cubicBezTo>
                  <a:cubicBezTo>
                    <a:pt x="2838531" y="7838"/>
                    <a:pt x="2833266" y="10154"/>
                    <a:pt x="2851377" y="10154"/>
                  </a:cubicBezTo>
                  <a:cubicBezTo>
                    <a:pt x="2869066" y="10154"/>
                    <a:pt x="2873910" y="5311"/>
                    <a:pt x="2892231" y="5311"/>
                  </a:cubicBezTo>
                  <a:cubicBezTo>
                    <a:pt x="2905288" y="-8167"/>
                    <a:pt x="2910974" y="8259"/>
                    <a:pt x="2922977" y="8259"/>
                  </a:cubicBezTo>
                  <a:cubicBezTo>
                    <a:pt x="2934560" y="8259"/>
                    <a:pt x="2965727" y="17736"/>
                    <a:pt x="2947827" y="17736"/>
                  </a:cubicBezTo>
                  <a:cubicBezTo>
                    <a:pt x="2940667" y="32687"/>
                    <a:pt x="2906973" y="18157"/>
                    <a:pt x="2912237" y="29318"/>
                  </a:cubicBezTo>
                  <a:cubicBezTo>
                    <a:pt x="2925294" y="29318"/>
                    <a:pt x="2942983" y="31635"/>
                    <a:pt x="2956461" y="31635"/>
                  </a:cubicBezTo>
                  <a:cubicBezTo>
                    <a:pt x="2970360" y="31635"/>
                    <a:pt x="2974782" y="31213"/>
                    <a:pt x="2989523" y="31213"/>
                  </a:cubicBezTo>
                  <a:cubicBezTo>
                    <a:pt x="3004054" y="31213"/>
                    <a:pt x="3017953" y="33530"/>
                    <a:pt x="3032273" y="33530"/>
                  </a:cubicBezTo>
                  <a:cubicBezTo>
                    <a:pt x="3039012" y="20052"/>
                    <a:pt x="3049962" y="32056"/>
                    <a:pt x="3067441" y="32056"/>
                  </a:cubicBezTo>
                  <a:cubicBezTo>
                    <a:pt x="3084078" y="32056"/>
                    <a:pt x="3107243" y="33951"/>
                    <a:pt x="3100083" y="33951"/>
                  </a:cubicBezTo>
                  <a:cubicBezTo>
                    <a:pt x="3100083" y="41111"/>
                    <a:pt x="3069337" y="50166"/>
                    <a:pt x="3062598" y="50166"/>
                  </a:cubicBezTo>
                  <a:cubicBezTo>
                    <a:pt x="3059228" y="56484"/>
                    <a:pt x="3061545" y="59222"/>
                    <a:pt x="3048278" y="59222"/>
                  </a:cubicBezTo>
                  <a:cubicBezTo>
                    <a:pt x="3034800" y="59222"/>
                    <a:pt x="3030588" y="63644"/>
                    <a:pt x="3026587" y="70804"/>
                  </a:cubicBezTo>
                  <a:cubicBezTo>
                    <a:pt x="3026587" y="78596"/>
                    <a:pt x="3012267" y="78596"/>
                    <a:pt x="2996894" y="78596"/>
                  </a:cubicBezTo>
                  <a:cubicBezTo>
                    <a:pt x="2989734" y="64065"/>
                    <a:pt x="2968043" y="72278"/>
                    <a:pt x="2955619" y="72278"/>
                  </a:cubicBezTo>
                  <a:cubicBezTo>
                    <a:pt x="2943194" y="72278"/>
                    <a:pt x="2930558" y="70804"/>
                    <a:pt x="2921082" y="70804"/>
                  </a:cubicBezTo>
                  <a:cubicBezTo>
                    <a:pt x="2912448" y="70804"/>
                    <a:pt x="2894548" y="87651"/>
                    <a:pt x="2909500" y="87651"/>
                  </a:cubicBezTo>
                  <a:cubicBezTo>
                    <a:pt x="2916239" y="101129"/>
                    <a:pt x="2933507" y="92916"/>
                    <a:pt x="2951196" y="92916"/>
                  </a:cubicBezTo>
                  <a:cubicBezTo>
                    <a:pt x="2969518" y="92916"/>
                    <a:pt x="2982785" y="104498"/>
                    <a:pt x="2986154" y="98181"/>
                  </a:cubicBezTo>
                  <a:cubicBezTo>
                    <a:pt x="2992893" y="98181"/>
                    <a:pt x="3003001" y="106815"/>
                    <a:pt x="2992472" y="106815"/>
                  </a:cubicBezTo>
                  <a:cubicBezTo>
                    <a:pt x="2981521" y="106815"/>
                    <a:pt x="2977099" y="115449"/>
                    <a:pt x="2968886" y="115449"/>
                  </a:cubicBezTo>
                  <a:cubicBezTo>
                    <a:pt x="2977941" y="115449"/>
                    <a:pt x="2954987" y="127031"/>
                    <a:pt x="2964042" y="127031"/>
                  </a:cubicBezTo>
                  <a:cubicBezTo>
                    <a:pt x="2972676" y="127031"/>
                    <a:pt x="2967412" y="134191"/>
                    <a:pt x="2959620" y="134191"/>
                  </a:cubicBezTo>
                  <a:cubicBezTo>
                    <a:pt x="2952039" y="134191"/>
                    <a:pt x="2942773" y="127874"/>
                    <a:pt x="2938140" y="127874"/>
                  </a:cubicBezTo>
                  <a:cubicBezTo>
                    <a:pt x="2942351" y="127874"/>
                    <a:pt x="2920450" y="129348"/>
                    <a:pt x="2910763" y="129348"/>
                  </a:cubicBezTo>
                  <a:cubicBezTo>
                    <a:pt x="2902550" y="129348"/>
                    <a:pt x="2878122" y="127874"/>
                    <a:pt x="2870962" y="127874"/>
                  </a:cubicBezTo>
                  <a:cubicBezTo>
                    <a:pt x="2863802" y="127874"/>
                    <a:pt x="2850745" y="128716"/>
                    <a:pt x="2846534" y="128716"/>
                  </a:cubicBezTo>
                  <a:cubicBezTo>
                    <a:pt x="2851798" y="128716"/>
                    <a:pt x="2843164" y="135455"/>
                    <a:pt x="2857063" y="135455"/>
                  </a:cubicBezTo>
                  <a:cubicBezTo>
                    <a:pt x="2871383" y="135455"/>
                    <a:pt x="2880649" y="139667"/>
                    <a:pt x="2894548" y="139667"/>
                  </a:cubicBezTo>
                  <a:cubicBezTo>
                    <a:pt x="2909079" y="139667"/>
                    <a:pt x="2935823" y="144931"/>
                    <a:pt x="2920029" y="144931"/>
                  </a:cubicBezTo>
                  <a:cubicBezTo>
                    <a:pt x="2904656" y="144931"/>
                    <a:pt x="2870962" y="152091"/>
                    <a:pt x="2858116" y="152091"/>
                  </a:cubicBezTo>
                  <a:cubicBezTo>
                    <a:pt x="2845691" y="152091"/>
                    <a:pt x="2827370" y="152513"/>
                    <a:pt x="2818736" y="152513"/>
                  </a:cubicBezTo>
                  <a:cubicBezTo>
                    <a:pt x="2810101" y="152513"/>
                    <a:pt x="2775986" y="158409"/>
                    <a:pt x="2759139" y="158409"/>
                  </a:cubicBezTo>
                  <a:cubicBezTo>
                    <a:pt x="2742292" y="158409"/>
                    <a:pt x="2725024" y="152091"/>
                    <a:pt x="2737870" y="152091"/>
                  </a:cubicBezTo>
                  <a:cubicBezTo>
                    <a:pt x="2751347" y="152091"/>
                    <a:pt x="2737027" y="145774"/>
                    <a:pt x="2725445" y="145774"/>
                  </a:cubicBezTo>
                  <a:cubicBezTo>
                    <a:pt x="2713862" y="145774"/>
                    <a:pt x="2707123" y="150196"/>
                    <a:pt x="2682695" y="150196"/>
                  </a:cubicBezTo>
                  <a:cubicBezTo>
                    <a:pt x="2657635" y="150196"/>
                    <a:pt x="2647106" y="155040"/>
                    <a:pt x="2633207" y="155040"/>
                  </a:cubicBezTo>
                  <a:cubicBezTo>
                    <a:pt x="2618887" y="155040"/>
                    <a:pt x="2590457" y="170834"/>
                    <a:pt x="2583297" y="170834"/>
                  </a:cubicBezTo>
                  <a:cubicBezTo>
                    <a:pt x="2575505" y="170834"/>
                    <a:pt x="2567082" y="167886"/>
                    <a:pt x="2556974" y="167886"/>
                  </a:cubicBezTo>
                  <a:cubicBezTo>
                    <a:pt x="2567082" y="167886"/>
                    <a:pt x="2594037" y="152513"/>
                    <a:pt x="2586666" y="152513"/>
                  </a:cubicBezTo>
                  <a:cubicBezTo>
                    <a:pt x="2593827" y="152513"/>
                    <a:pt x="2598249" y="161147"/>
                    <a:pt x="2615938" y="143879"/>
                  </a:cubicBezTo>
                  <a:cubicBezTo>
                    <a:pt x="2639946" y="143879"/>
                    <a:pt x="2653844" y="134613"/>
                    <a:pt x="2669639" y="134613"/>
                  </a:cubicBezTo>
                  <a:cubicBezTo>
                    <a:pt x="2685433" y="134613"/>
                    <a:pt x="2695120" y="132296"/>
                    <a:pt x="2698489" y="125978"/>
                  </a:cubicBezTo>
                  <a:cubicBezTo>
                    <a:pt x="2705649" y="125978"/>
                    <a:pt x="2699963" y="118187"/>
                    <a:pt x="2694067" y="118187"/>
                  </a:cubicBezTo>
                  <a:cubicBezTo>
                    <a:pt x="2688170" y="118187"/>
                    <a:pt x="2678694" y="129137"/>
                    <a:pt x="2697015" y="111027"/>
                  </a:cubicBezTo>
                  <a:cubicBezTo>
                    <a:pt x="2722497" y="111027"/>
                    <a:pt x="2734079" y="92284"/>
                    <a:pt x="2746925" y="92284"/>
                  </a:cubicBezTo>
                  <a:cubicBezTo>
                    <a:pt x="2759981" y="92284"/>
                    <a:pt x="2759350" y="79859"/>
                    <a:pt x="2755138" y="79859"/>
                  </a:cubicBezTo>
                  <a:cubicBezTo>
                    <a:pt x="2759350" y="79859"/>
                    <a:pt x="2745872" y="73121"/>
                    <a:pt x="2735343" y="73121"/>
                  </a:cubicBezTo>
                  <a:cubicBezTo>
                    <a:pt x="2731131" y="82176"/>
                    <a:pt x="2706492" y="75437"/>
                    <a:pt x="2716179" y="75437"/>
                  </a:cubicBezTo>
                  <a:cubicBezTo>
                    <a:pt x="2726287" y="75437"/>
                    <a:pt x="2731973" y="72068"/>
                    <a:pt x="2727130" y="81755"/>
                  </a:cubicBezTo>
                  <a:cubicBezTo>
                    <a:pt x="2716600" y="81755"/>
                    <a:pt x="2694067" y="88494"/>
                    <a:pt x="2690697" y="88494"/>
                  </a:cubicBezTo>
                  <a:cubicBezTo>
                    <a:pt x="2693646" y="88494"/>
                    <a:pt x="2693014" y="82808"/>
                    <a:pt x="2689224" y="82808"/>
                  </a:cubicBezTo>
                  <a:cubicBezTo>
                    <a:pt x="2693014" y="82808"/>
                    <a:pt x="2683538" y="79017"/>
                    <a:pt x="2674903" y="79017"/>
                  </a:cubicBezTo>
                  <a:cubicBezTo>
                    <a:pt x="2665848" y="79017"/>
                    <a:pt x="2653423" y="83439"/>
                    <a:pt x="2642683" y="83439"/>
                  </a:cubicBezTo>
                  <a:cubicBezTo>
                    <a:pt x="2635944" y="90178"/>
                    <a:pt x="2620571" y="82386"/>
                    <a:pt x="2616781" y="82386"/>
                  </a:cubicBezTo>
                  <a:cubicBezTo>
                    <a:pt x="2620571" y="82386"/>
                    <a:pt x="2645631" y="72278"/>
                    <a:pt x="2627310" y="72278"/>
                  </a:cubicBezTo>
                  <a:cubicBezTo>
                    <a:pt x="2608989" y="72278"/>
                    <a:pt x="2620571" y="71225"/>
                    <a:pt x="2607725" y="71225"/>
                  </a:cubicBezTo>
                  <a:cubicBezTo>
                    <a:pt x="2600144" y="71225"/>
                    <a:pt x="2599512" y="70172"/>
                    <a:pt x="2596775" y="70172"/>
                  </a:cubicBezTo>
                  <a:cubicBezTo>
                    <a:pt x="2590036" y="70172"/>
                    <a:pt x="2576558" y="73121"/>
                    <a:pt x="2586245" y="73121"/>
                  </a:cubicBezTo>
                  <a:cubicBezTo>
                    <a:pt x="2601197" y="73121"/>
                    <a:pt x="2555499" y="86598"/>
                    <a:pt x="2547286" y="86598"/>
                  </a:cubicBezTo>
                  <a:cubicBezTo>
                    <a:pt x="2539073" y="86598"/>
                    <a:pt x="2536757" y="87441"/>
                    <a:pt x="2526227" y="87441"/>
                  </a:cubicBezTo>
                  <a:cubicBezTo>
                    <a:pt x="2515698" y="87441"/>
                    <a:pt x="2513171" y="97970"/>
                    <a:pt x="2495060" y="97970"/>
                  </a:cubicBezTo>
                  <a:cubicBezTo>
                    <a:pt x="2486426" y="114817"/>
                    <a:pt x="2475475" y="109974"/>
                    <a:pt x="2484531" y="109974"/>
                  </a:cubicBezTo>
                  <a:cubicBezTo>
                    <a:pt x="2493165" y="109974"/>
                    <a:pt x="2511065" y="119661"/>
                    <a:pt x="2491691" y="119661"/>
                  </a:cubicBezTo>
                  <a:cubicBezTo>
                    <a:pt x="2472106" y="119661"/>
                    <a:pt x="2472106" y="131243"/>
                    <a:pt x="2462840" y="131243"/>
                  </a:cubicBezTo>
                  <a:cubicBezTo>
                    <a:pt x="2467262" y="139456"/>
                    <a:pt x="2501799" y="125557"/>
                    <a:pt x="2484531" y="142826"/>
                  </a:cubicBezTo>
                  <a:cubicBezTo>
                    <a:pt x="2460102" y="142826"/>
                    <a:pt x="2437990" y="168728"/>
                    <a:pt x="2423039" y="168728"/>
                  </a:cubicBezTo>
                  <a:cubicBezTo>
                    <a:pt x="2408087" y="168728"/>
                    <a:pt x="2412930" y="184522"/>
                    <a:pt x="2403875" y="184522"/>
                  </a:cubicBezTo>
                  <a:cubicBezTo>
                    <a:pt x="2400084" y="192314"/>
                    <a:pt x="2384711" y="181153"/>
                    <a:pt x="2378815" y="181153"/>
                  </a:cubicBezTo>
                  <a:cubicBezTo>
                    <a:pt x="2373129" y="181153"/>
                    <a:pt x="2375025" y="180310"/>
                    <a:pt x="2359651" y="180310"/>
                  </a:cubicBezTo>
                  <a:cubicBezTo>
                    <a:pt x="2352491" y="194209"/>
                    <a:pt x="2333749" y="190840"/>
                    <a:pt x="2320271" y="190840"/>
                  </a:cubicBezTo>
                  <a:cubicBezTo>
                    <a:pt x="2306794" y="190840"/>
                    <a:pt x="2336065" y="188523"/>
                    <a:pt x="2313532" y="203896"/>
                  </a:cubicBezTo>
                  <a:cubicBezTo>
                    <a:pt x="2289946" y="219269"/>
                    <a:pt x="2294369" y="228956"/>
                    <a:pt x="2271836" y="228956"/>
                  </a:cubicBezTo>
                  <a:cubicBezTo>
                    <a:pt x="2254989" y="245172"/>
                    <a:pt x="2208027" y="250647"/>
                    <a:pt x="2203605" y="258650"/>
                  </a:cubicBezTo>
                  <a:cubicBezTo>
                    <a:pt x="2194971" y="258650"/>
                    <a:pt x="2185915" y="272970"/>
                    <a:pt x="2173912" y="272970"/>
                  </a:cubicBezTo>
                  <a:cubicBezTo>
                    <a:pt x="2162329" y="272970"/>
                    <a:pt x="2155591" y="293607"/>
                    <a:pt x="2138322" y="293607"/>
                  </a:cubicBezTo>
                  <a:cubicBezTo>
                    <a:pt x="2120633" y="293607"/>
                    <a:pt x="2085043" y="306664"/>
                    <a:pt x="2078304" y="319510"/>
                  </a:cubicBezTo>
                  <a:cubicBezTo>
                    <a:pt x="2063352" y="319510"/>
                    <a:pt x="2022077" y="364576"/>
                    <a:pt x="2011126" y="364576"/>
                  </a:cubicBezTo>
                  <a:cubicBezTo>
                    <a:pt x="2011126" y="375105"/>
                    <a:pt x="1998702" y="381002"/>
                    <a:pt x="1998702" y="390057"/>
                  </a:cubicBezTo>
                  <a:cubicBezTo>
                    <a:pt x="2008389" y="390057"/>
                    <a:pt x="2029448" y="388162"/>
                    <a:pt x="2037661" y="388162"/>
                  </a:cubicBezTo>
                  <a:cubicBezTo>
                    <a:pt x="2046295" y="388162"/>
                    <a:pt x="2037239" y="406483"/>
                    <a:pt x="2044821" y="406483"/>
                  </a:cubicBezTo>
                  <a:cubicBezTo>
                    <a:pt x="2044821" y="414696"/>
                    <a:pt x="2062089" y="419540"/>
                    <a:pt x="2081253" y="406483"/>
                  </a:cubicBezTo>
                  <a:cubicBezTo>
                    <a:pt x="2103786" y="406483"/>
                    <a:pt x="2127793" y="396796"/>
                    <a:pt x="2144640" y="396796"/>
                  </a:cubicBezTo>
                  <a:cubicBezTo>
                    <a:pt x="2161487" y="396796"/>
                    <a:pt x="2229086" y="397217"/>
                    <a:pt x="2215187" y="397217"/>
                  </a:cubicBezTo>
                  <a:cubicBezTo>
                    <a:pt x="2221505" y="409642"/>
                    <a:pt x="2254567" y="396375"/>
                    <a:pt x="2273731" y="396375"/>
                  </a:cubicBezTo>
                  <a:cubicBezTo>
                    <a:pt x="2292473" y="396375"/>
                    <a:pt x="2315638" y="383950"/>
                    <a:pt x="2329537" y="383950"/>
                  </a:cubicBezTo>
                  <a:cubicBezTo>
                    <a:pt x="2342594" y="383950"/>
                    <a:pt x="2341541" y="380159"/>
                    <a:pt x="2341541" y="393005"/>
                  </a:cubicBezTo>
                  <a:cubicBezTo>
                    <a:pt x="2328484" y="393005"/>
                    <a:pt x="2331011" y="404588"/>
                    <a:pt x="2334381" y="410695"/>
                  </a:cubicBezTo>
                  <a:cubicBezTo>
                    <a:pt x="2341962" y="410695"/>
                    <a:pt x="2340067" y="420382"/>
                    <a:pt x="2351649" y="420382"/>
                  </a:cubicBezTo>
                  <a:cubicBezTo>
                    <a:pt x="2363231" y="420382"/>
                    <a:pt x="2384290" y="419329"/>
                    <a:pt x="2380921" y="426278"/>
                  </a:cubicBezTo>
                  <a:cubicBezTo>
                    <a:pt x="2377130" y="433438"/>
                    <a:pt x="2367864" y="457025"/>
                    <a:pt x="2382395" y="442494"/>
                  </a:cubicBezTo>
                  <a:cubicBezTo>
                    <a:pt x="2403454" y="442494"/>
                    <a:pt x="2437990" y="425647"/>
                    <a:pt x="2426619" y="425647"/>
                  </a:cubicBezTo>
                  <a:cubicBezTo>
                    <a:pt x="2431884" y="414696"/>
                    <a:pt x="2427461" y="408378"/>
                    <a:pt x="2430831" y="400587"/>
                  </a:cubicBezTo>
                  <a:cubicBezTo>
                    <a:pt x="2439465" y="400587"/>
                    <a:pt x="2430409" y="387530"/>
                    <a:pt x="2426619" y="380370"/>
                  </a:cubicBezTo>
                  <a:cubicBezTo>
                    <a:pt x="2434832" y="380370"/>
                    <a:pt x="2425145" y="366471"/>
                    <a:pt x="2444308" y="366471"/>
                  </a:cubicBezTo>
                  <a:cubicBezTo>
                    <a:pt x="2464525" y="366471"/>
                    <a:pt x="2503905" y="348782"/>
                    <a:pt x="2517804" y="334672"/>
                  </a:cubicBezTo>
                  <a:cubicBezTo>
                    <a:pt x="2531282" y="321616"/>
                    <a:pt x="2534651" y="313192"/>
                    <a:pt x="2537599" y="307717"/>
                  </a:cubicBezTo>
                  <a:cubicBezTo>
                    <a:pt x="2543917" y="307717"/>
                    <a:pt x="2521173" y="291923"/>
                    <a:pt x="2508328" y="291923"/>
                  </a:cubicBezTo>
                  <a:cubicBezTo>
                    <a:pt x="2496324" y="291923"/>
                    <a:pt x="2472738" y="287500"/>
                    <a:pt x="2482846" y="287500"/>
                  </a:cubicBezTo>
                  <a:cubicBezTo>
                    <a:pt x="2490427" y="279919"/>
                    <a:pt x="2520331" y="268337"/>
                    <a:pt x="2528333" y="259702"/>
                  </a:cubicBezTo>
                  <a:cubicBezTo>
                    <a:pt x="2538863" y="259702"/>
                    <a:pt x="2535493" y="245382"/>
                    <a:pt x="2528333" y="245382"/>
                  </a:cubicBezTo>
                  <a:cubicBezTo>
                    <a:pt x="2522226" y="245382"/>
                    <a:pt x="2546655" y="230009"/>
                    <a:pt x="2538020" y="230009"/>
                  </a:cubicBezTo>
                  <a:cubicBezTo>
                    <a:pt x="2546655" y="230009"/>
                    <a:pt x="2537178" y="218427"/>
                    <a:pt x="2533177" y="218427"/>
                  </a:cubicBezTo>
                  <a:cubicBezTo>
                    <a:pt x="2536967" y="218427"/>
                    <a:pt x="2545181" y="202212"/>
                    <a:pt x="2562027" y="202212"/>
                  </a:cubicBezTo>
                  <a:cubicBezTo>
                    <a:pt x="2578875" y="202212"/>
                    <a:pt x="2617202" y="198421"/>
                    <a:pt x="2611937" y="198421"/>
                  </a:cubicBezTo>
                  <a:cubicBezTo>
                    <a:pt x="2616781" y="198421"/>
                    <a:pt x="2636365" y="190629"/>
                    <a:pt x="2649001" y="190629"/>
                  </a:cubicBezTo>
                  <a:cubicBezTo>
                    <a:pt x="2662057" y="190629"/>
                    <a:pt x="2668165" y="183890"/>
                    <a:pt x="2682695" y="183890"/>
                  </a:cubicBezTo>
                  <a:cubicBezTo>
                    <a:pt x="2697015" y="183890"/>
                    <a:pt x="2720180" y="189576"/>
                    <a:pt x="2729235" y="189576"/>
                  </a:cubicBezTo>
                  <a:cubicBezTo>
                    <a:pt x="2738291" y="189576"/>
                    <a:pt x="2745029" y="191893"/>
                    <a:pt x="2761877" y="191893"/>
                  </a:cubicBezTo>
                  <a:cubicBezTo>
                    <a:pt x="2773459" y="180310"/>
                    <a:pt x="2776407" y="189998"/>
                    <a:pt x="2786516" y="189998"/>
                  </a:cubicBezTo>
                  <a:cubicBezTo>
                    <a:pt x="2796624" y="189998"/>
                    <a:pt x="2813471" y="174624"/>
                    <a:pt x="2808628" y="184733"/>
                  </a:cubicBezTo>
                  <a:cubicBezTo>
                    <a:pt x="2818736" y="184733"/>
                    <a:pt x="2777039" y="196315"/>
                    <a:pt x="2782304" y="207266"/>
                  </a:cubicBezTo>
                  <a:cubicBezTo>
                    <a:pt x="2794729" y="207266"/>
                    <a:pt x="2792412" y="221796"/>
                    <a:pt x="2805258" y="221796"/>
                  </a:cubicBezTo>
                  <a:cubicBezTo>
                    <a:pt x="2813892" y="212531"/>
                    <a:pt x="2821684" y="221796"/>
                    <a:pt x="2846955" y="221796"/>
                  </a:cubicBezTo>
                  <a:cubicBezTo>
                    <a:pt x="2872015" y="221796"/>
                    <a:pt x="2886335" y="212531"/>
                    <a:pt x="2896864" y="202001"/>
                  </a:cubicBezTo>
                  <a:cubicBezTo>
                    <a:pt x="2906973" y="191472"/>
                    <a:pt x="2916449" y="189998"/>
                    <a:pt x="2927610" y="179047"/>
                  </a:cubicBezTo>
                  <a:cubicBezTo>
                    <a:pt x="2938140" y="168517"/>
                    <a:pt x="2951617" y="152723"/>
                    <a:pt x="2955408" y="160304"/>
                  </a:cubicBezTo>
                  <a:cubicBezTo>
                    <a:pt x="2963621" y="160304"/>
                    <a:pt x="2974151" y="172729"/>
                    <a:pt x="2980889" y="186207"/>
                  </a:cubicBezTo>
                  <a:cubicBezTo>
                    <a:pt x="2996683" y="186207"/>
                    <a:pt x="3028904" y="201580"/>
                    <a:pt x="3024692" y="209793"/>
                  </a:cubicBezTo>
                  <a:cubicBezTo>
                    <a:pt x="3033326" y="209793"/>
                    <a:pt x="3020480" y="220744"/>
                    <a:pt x="3033747" y="234221"/>
                  </a:cubicBezTo>
                  <a:cubicBezTo>
                    <a:pt x="3052068" y="234221"/>
                    <a:pt x="3095239" y="247067"/>
                    <a:pt x="3112087" y="247067"/>
                  </a:cubicBezTo>
                  <a:cubicBezTo>
                    <a:pt x="3119878" y="232115"/>
                    <a:pt x="3158627" y="248962"/>
                    <a:pt x="3145149" y="248962"/>
                  </a:cubicBezTo>
                  <a:cubicBezTo>
                    <a:pt x="3132092" y="248962"/>
                    <a:pt x="3131250" y="259492"/>
                    <a:pt x="3148518" y="259492"/>
                  </a:cubicBezTo>
                  <a:cubicBezTo>
                    <a:pt x="3165787" y="259492"/>
                    <a:pt x="3195480" y="261387"/>
                    <a:pt x="3183476" y="261387"/>
                  </a:cubicBezTo>
                  <a:cubicBezTo>
                    <a:pt x="3183476" y="273391"/>
                    <a:pt x="3206009" y="292133"/>
                    <a:pt x="3179264" y="292133"/>
                  </a:cubicBezTo>
                  <a:cubicBezTo>
                    <a:pt x="3157153" y="307085"/>
                    <a:pt x="3111455" y="326670"/>
                    <a:pt x="3077550" y="326670"/>
                  </a:cubicBezTo>
                  <a:cubicBezTo>
                    <a:pt x="3043856" y="326670"/>
                    <a:pt x="3003001" y="348782"/>
                    <a:pt x="2982785" y="362259"/>
                  </a:cubicBezTo>
                  <a:cubicBezTo>
                    <a:pt x="2958356" y="362259"/>
                    <a:pt x="2890547" y="361206"/>
                    <a:pt x="2854115" y="379528"/>
                  </a:cubicBezTo>
                  <a:cubicBezTo>
                    <a:pt x="2814314" y="379528"/>
                    <a:pt x="2785884" y="399744"/>
                    <a:pt x="2775776" y="410274"/>
                  </a:cubicBezTo>
                  <a:cubicBezTo>
                    <a:pt x="2760402" y="410274"/>
                    <a:pt x="2748399" y="427121"/>
                    <a:pt x="2731552" y="427121"/>
                  </a:cubicBezTo>
                  <a:cubicBezTo>
                    <a:pt x="2714284" y="427121"/>
                    <a:pt x="2674903" y="452181"/>
                    <a:pt x="2674903" y="463553"/>
                  </a:cubicBezTo>
                  <a:cubicBezTo>
                    <a:pt x="2674903" y="475556"/>
                    <a:pt x="2715758" y="456393"/>
                    <a:pt x="2732605" y="439546"/>
                  </a:cubicBezTo>
                  <a:cubicBezTo>
                    <a:pt x="2755770" y="439546"/>
                    <a:pt x="2775354" y="414486"/>
                    <a:pt x="2806521" y="414486"/>
                  </a:cubicBezTo>
                  <a:cubicBezTo>
                    <a:pt x="2837689" y="414486"/>
                    <a:pt x="2857905" y="405430"/>
                    <a:pt x="2865487" y="405430"/>
                  </a:cubicBezTo>
                  <a:cubicBezTo>
                    <a:pt x="2868856" y="412169"/>
                    <a:pt x="2871804" y="421856"/>
                    <a:pt x="2853483" y="421856"/>
                  </a:cubicBezTo>
                  <a:cubicBezTo>
                    <a:pt x="2835793" y="421856"/>
                    <a:pt x="2820842" y="433860"/>
                    <a:pt x="2810312" y="433860"/>
                  </a:cubicBezTo>
                  <a:cubicBezTo>
                    <a:pt x="2799151" y="433860"/>
                    <a:pt x="2785673" y="442073"/>
                    <a:pt x="2797256" y="442073"/>
                  </a:cubicBezTo>
                  <a:cubicBezTo>
                    <a:pt x="2808838" y="442073"/>
                    <a:pt x="2807785" y="442494"/>
                    <a:pt x="2816840" y="442494"/>
                  </a:cubicBezTo>
                  <a:cubicBezTo>
                    <a:pt x="2825896" y="442494"/>
                    <a:pt x="2842322" y="429437"/>
                    <a:pt x="2853272" y="429437"/>
                  </a:cubicBezTo>
                  <a:cubicBezTo>
                    <a:pt x="2864855" y="429437"/>
                    <a:pt x="2849482" y="447759"/>
                    <a:pt x="2842743" y="447759"/>
                  </a:cubicBezTo>
                  <a:cubicBezTo>
                    <a:pt x="2850535" y="447759"/>
                    <a:pt x="2852851" y="460183"/>
                    <a:pt x="2846112" y="460183"/>
                  </a:cubicBezTo>
                  <a:cubicBezTo>
                    <a:pt x="2852851" y="460183"/>
                    <a:pt x="2856221" y="468817"/>
                    <a:pt x="2867803" y="468817"/>
                  </a:cubicBezTo>
                  <a:cubicBezTo>
                    <a:pt x="2878964" y="468817"/>
                    <a:pt x="2905288" y="484190"/>
                    <a:pt x="2914343" y="466501"/>
                  </a:cubicBezTo>
                  <a:cubicBezTo>
                    <a:pt x="2933928" y="466501"/>
                    <a:pt x="2949301" y="464185"/>
                    <a:pt x="2958988" y="444810"/>
                  </a:cubicBezTo>
                  <a:cubicBezTo>
                    <a:pt x="2979626" y="444810"/>
                    <a:pt x="3000685" y="427542"/>
                    <a:pt x="2994578" y="427542"/>
                  </a:cubicBezTo>
                  <a:cubicBezTo>
                    <a:pt x="3000895" y="427542"/>
                    <a:pt x="3016690" y="433860"/>
                    <a:pt x="2993103" y="449654"/>
                  </a:cubicBezTo>
                  <a:cubicBezTo>
                    <a:pt x="2967622" y="462079"/>
                    <a:pt x="2933507" y="481453"/>
                    <a:pt x="2909500" y="481453"/>
                  </a:cubicBezTo>
                  <a:cubicBezTo>
                    <a:pt x="2885071" y="481453"/>
                    <a:pt x="2857063" y="495773"/>
                    <a:pt x="2832635" y="512199"/>
                  </a:cubicBezTo>
                  <a:cubicBezTo>
                    <a:pt x="2807153" y="529046"/>
                    <a:pt x="2783146" y="549684"/>
                    <a:pt x="2777460" y="538522"/>
                  </a:cubicBezTo>
                  <a:cubicBezTo>
                    <a:pt x="2765457" y="538522"/>
                    <a:pt x="2758297" y="516411"/>
                    <a:pt x="2781251" y="516411"/>
                  </a:cubicBezTo>
                  <a:cubicBezTo>
                    <a:pt x="2803784" y="516411"/>
                    <a:pt x="2853694" y="486718"/>
                    <a:pt x="2841690" y="486718"/>
                  </a:cubicBezTo>
                  <a:cubicBezTo>
                    <a:pt x="2836004" y="498300"/>
                    <a:pt x="2812839" y="502933"/>
                    <a:pt x="2789253" y="502933"/>
                  </a:cubicBezTo>
                  <a:cubicBezTo>
                    <a:pt x="2770090" y="515989"/>
                    <a:pt x="2736817" y="507355"/>
                    <a:pt x="2719548" y="524624"/>
                  </a:cubicBezTo>
                  <a:cubicBezTo>
                    <a:pt x="2701859" y="542313"/>
                    <a:pt x="2631101" y="549684"/>
                    <a:pt x="2622467" y="566952"/>
                  </a:cubicBezTo>
                  <a:cubicBezTo>
                    <a:pt x="2622467" y="586116"/>
                    <a:pt x="2610042" y="596224"/>
                    <a:pt x="2605620" y="605911"/>
                  </a:cubicBezTo>
                  <a:cubicBezTo>
                    <a:pt x="2605620" y="616019"/>
                    <a:pt x="2590247" y="625496"/>
                    <a:pt x="2560975" y="625496"/>
                  </a:cubicBezTo>
                  <a:cubicBezTo>
                    <a:pt x="2531282" y="625496"/>
                    <a:pt x="2493797" y="633709"/>
                    <a:pt x="2493797" y="644659"/>
                  </a:cubicBezTo>
                  <a:cubicBezTo>
                    <a:pt x="2488953" y="654346"/>
                    <a:pt x="2476528" y="662981"/>
                    <a:pt x="2463051" y="676880"/>
                  </a:cubicBezTo>
                  <a:cubicBezTo>
                    <a:pt x="2442834" y="676880"/>
                    <a:pt x="2444730" y="681091"/>
                    <a:pt x="2429357" y="711837"/>
                  </a:cubicBezTo>
                  <a:cubicBezTo>
                    <a:pt x="2408298" y="739635"/>
                    <a:pt x="2387028" y="758799"/>
                    <a:pt x="2390397" y="752270"/>
                  </a:cubicBezTo>
                  <a:cubicBezTo>
                    <a:pt x="2390397" y="744689"/>
                    <a:pt x="2391240" y="726368"/>
                    <a:pt x="2384711" y="726368"/>
                  </a:cubicBezTo>
                  <a:cubicBezTo>
                    <a:pt x="2391871" y="726368"/>
                    <a:pt x="2376920" y="737950"/>
                    <a:pt x="2372708" y="745953"/>
                  </a:cubicBezTo>
                  <a:cubicBezTo>
                    <a:pt x="2372708" y="756061"/>
                    <a:pt x="2385133" y="756061"/>
                    <a:pt x="2380500" y="765116"/>
                  </a:cubicBezTo>
                  <a:cubicBezTo>
                    <a:pt x="2380500" y="775646"/>
                    <a:pt x="2399663" y="794388"/>
                    <a:pt x="2383238" y="794388"/>
                  </a:cubicBezTo>
                  <a:cubicBezTo>
                    <a:pt x="2367443" y="794388"/>
                    <a:pt x="2322167" y="820712"/>
                    <a:pt x="2307425" y="835243"/>
                  </a:cubicBezTo>
                  <a:cubicBezTo>
                    <a:pt x="2298370" y="853985"/>
                    <a:pt x="2302582" y="856301"/>
                    <a:pt x="2282365" y="856301"/>
                  </a:cubicBezTo>
                  <a:cubicBezTo>
                    <a:pt x="2261306" y="856301"/>
                    <a:pt x="2246776" y="864936"/>
                    <a:pt x="2233930" y="877992"/>
                  </a:cubicBezTo>
                  <a:cubicBezTo>
                    <a:pt x="2221505" y="890417"/>
                    <a:pt x="2191180" y="903052"/>
                    <a:pt x="2178755" y="915477"/>
                  </a:cubicBezTo>
                  <a:cubicBezTo>
                    <a:pt x="2165909" y="927902"/>
                    <a:pt x="2142323" y="951488"/>
                    <a:pt x="2142323" y="966861"/>
                  </a:cubicBezTo>
                  <a:cubicBezTo>
                    <a:pt x="2127372" y="966861"/>
                    <a:pt x="2165909" y="1012980"/>
                    <a:pt x="2150958" y="1012980"/>
                  </a:cubicBezTo>
                  <a:cubicBezTo>
                    <a:pt x="2150958" y="1037619"/>
                    <a:pt x="2164014" y="1056151"/>
                    <a:pt x="2150958" y="1069207"/>
                  </a:cubicBezTo>
                  <a:cubicBezTo>
                    <a:pt x="2142745" y="1085633"/>
                    <a:pt x="2137480" y="1111535"/>
                    <a:pt x="2117263" y="1111535"/>
                  </a:cubicBezTo>
                  <a:cubicBezTo>
                    <a:pt x="2097047" y="1111535"/>
                    <a:pt x="2102943" y="1103322"/>
                    <a:pt x="2095783" y="1089002"/>
                  </a:cubicBezTo>
                  <a:cubicBezTo>
                    <a:pt x="2079357" y="1089002"/>
                    <a:pt x="2072197" y="1061626"/>
                    <a:pt x="2072197" y="1051096"/>
                  </a:cubicBezTo>
                  <a:cubicBezTo>
                    <a:pt x="2076620" y="1042462"/>
                    <a:pt x="2094309" y="1017613"/>
                    <a:pt x="2087570" y="1017613"/>
                  </a:cubicBezTo>
                  <a:cubicBezTo>
                    <a:pt x="2094309" y="1017613"/>
                    <a:pt x="2065879" y="994448"/>
                    <a:pt x="2057877" y="994448"/>
                  </a:cubicBezTo>
                  <a:cubicBezTo>
                    <a:pt x="2050085" y="994448"/>
                    <a:pt x="2038713" y="1006030"/>
                    <a:pt x="2025236" y="1006030"/>
                  </a:cubicBezTo>
                  <a:cubicBezTo>
                    <a:pt x="2011337" y="1006030"/>
                    <a:pt x="1999754" y="996343"/>
                    <a:pt x="1991120" y="996343"/>
                  </a:cubicBezTo>
                  <a:cubicBezTo>
                    <a:pt x="1982907" y="996343"/>
                    <a:pt x="1963323" y="1010663"/>
                    <a:pt x="1934051" y="1010663"/>
                  </a:cubicBezTo>
                  <a:cubicBezTo>
                    <a:pt x="1910044" y="1027089"/>
                    <a:pt x="1903305" y="1009821"/>
                    <a:pt x="1881614" y="1031933"/>
                  </a:cubicBezTo>
                  <a:cubicBezTo>
                    <a:pt x="1892143" y="1031933"/>
                    <a:pt x="1886458" y="1055940"/>
                    <a:pt x="1878245" y="1055940"/>
                  </a:cubicBezTo>
                  <a:cubicBezTo>
                    <a:pt x="1886036" y="1055940"/>
                    <a:pt x="1854237" y="1068996"/>
                    <a:pt x="1862029" y="1054045"/>
                  </a:cubicBezTo>
                  <a:cubicBezTo>
                    <a:pt x="1862029" y="1043936"/>
                    <a:pt x="1833179" y="1066469"/>
                    <a:pt x="1827493" y="1066469"/>
                  </a:cubicBezTo>
                  <a:cubicBezTo>
                    <a:pt x="1810224" y="1066469"/>
                    <a:pt x="1778004" y="1068786"/>
                    <a:pt x="1767054" y="1068786"/>
                  </a:cubicBezTo>
                  <a:cubicBezTo>
                    <a:pt x="1755471" y="1068786"/>
                    <a:pt x="1751681" y="1072155"/>
                    <a:pt x="1732096" y="1072155"/>
                  </a:cubicBezTo>
                  <a:cubicBezTo>
                    <a:pt x="1723462" y="1089424"/>
                    <a:pt x="1675447" y="1098058"/>
                    <a:pt x="1642174" y="1120591"/>
                  </a:cubicBezTo>
                  <a:cubicBezTo>
                    <a:pt x="1609112" y="1142281"/>
                    <a:pt x="1582577" y="1150284"/>
                    <a:pt x="1582577" y="1166710"/>
                  </a:cubicBezTo>
                  <a:cubicBezTo>
                    <a:pt x="1575417" y="1181030"/>
                    <a:pt x="1588685" y="1194508"/>
                    <a:pt x="1574364" y="1208406"/>
                  </a:cubicBezTo>
                  <a:cubicBezTo>
                    <a:pt x="1559413" y="1223358"/>
                    <a:pt x="1542144" y="1257263"/>
                    <a:pt x="1535406" y="1270741"/>
                  </a:cubicBezTo>
                  <a:cubicBezTo>
                    <a:pt x="1529088" y="1283797"/>
                    <a:pt x="1513715" y="1308647"/>
                    <a:pt x="1524455" y="1308647"/>
                  </a:cubicBezTo>
                  <a:cubicBezTo>
                    <a:pt x="1528667" y="1317702"/>
                    <a:pt x="1533510" y="1316860"/>
                    <a:pt x="1525508" y="1334128"/>
                  </a:cubicBezTo>
                  <a:cubicBezTo>
                    <a:pt x="1525508" y="1353292"/>
                    <a:pt x="1538986" y="1368665"/>
                    <a:pt x="1546567" y="1368665"/>
                  </a:cubicBezTo>
                  <a:cubicBezTo>
                    <a:pt x="1551831" y="1363400"/>
                    <a:pt x="1533089" y="1392672"/>
                    <a:pt x="1548462" y="1392672"/>
                  </a:cubicBezTo>
                  <a:cubicBezTo>
                    <a:pt x="1555201" y="1379194"/>
                    <a:pt x="1590159" y="1386354"/>
                    <a:pt x="1585947" y="1394567"/>
                  </a:cubicBezTo>
                  <a:cubicBezTo>
                    <a:pt x="1582156" y="1402359"/>
                    <a:pt x="1593107" y="1394567"/>
                    <a:pt x="1619009" y="1394567"/>
                  </a:cubicBezTo>
                  <a:cubicBezTo>
                    <a:pt x="1645333" y="1394567"/>
                    <a:pt x="1660285" y="1382142"/>
                    <a:pt x="1680501" y="1368665"/>
                  </a:cubicBezTo>
                  <a:cubicBezTo>
                    <a:pt x="1704509" y="1368665"/>
                    <a:pt x="1710826" y="1358135"/>
                    <a:pt x="1726620" y="1342762"/>
                  </a:cubicBezTo>
                  <a:cubicBezTo>
                    <a:pt x="1743468" y="1325494"/>
                    <a:pt x="1741572" y="1285061"/>
                    <a:pt x="1761157" y="1285061"/>
                  </a:cubicBezTo>
                  <a:cubicBezTo>
                    <a:pt x="1775477" y="1270741"/>
                    <a:pt x="1794851" y="1264002"/>
                    <a:pt x="1813594" y="1264002"/>
                  </a:cubicBezTo>
                  <a:cubicBezTo>
                    <a:pt x="1831704" y="1264002"/>
                    <a:pt x="1853395" y="1262949"/>
                    <a:pt x="1863503" y="1252420"/>
                  </a:cubicBezTo>
                  <a:cubicBezTo>
                    <a:pt x="1881193" y="1252420"/>
                    <a:pt x="1886458" y="1256842"/>
                    <a:pt x="1861187" y="1282113"/>
                  </a:cubicBezTo>
                  <a:cubicBezTo>
                    <a:pt x="1835706" y="1308015"/>
                    <a:pt x="1829388" y="1325915"/>
                    <a:pt x="1819490" y="1345500"/>
                  </a:cubicBezTo>
                  <a:cubicBezTo>
                    <a:pt x="1804117" y="1360873"/>
                    <a:pt x="1799274" y="1389724"/>
                    <a:pt x="1790639" y="1389724"/>
                  </a:cubicBezTo>
                  <a:cubicBezTo>
                    <a:pt x="1798852" y="1389724"/>
                    <a:pt x="1772950" y="1424260"/>
                    <a:pt x="1766211" y="1424260"/>
                  </a:cubicBezTo>
                  <a:cubicBezTo>
                    <a:pt x="1772950" y="1424260"/>
                    <a:pt x="1788744" y="1444477"/>
                    <a:pt x="1812330" y="1420891"/>
                  </a:cubicBezTo>
                  <a:cubicBezTo>
                    <a:pt x="1845393" y="1420891"/>
                    <a:pt x="1867083" y="1418995"/>
                    <a:pt x="1885405" y="1406992"/>
                  </a:cubicBezTo>
                  <a:cubicBezTo>
                    <a:pt x="1907095" y="1406992"/>
                    <a:pt x="1943527" y="1422786"/>
                    <a:pt x="1936788" y="1422786"/>
                  </a:cubicBezTo>
                  <a:cubicBezTo>
                    <a:pt x="1943527" y="1422786"/>
                    <a:pt x="1943948" y="1445319"/>
                    <a:pt x="1920994" y="1468484"/>
                  </a:cubicBezTo>
                  <a:cubicBezTo>
                    <a:pt x="1898040" y="1491649"/>
                    <a:pt x="1906042" y="1507022"/>
                    <a:pt x="1896566" y="1526185"/>
                  </a:cubicBezTo>
                  <a:cubicBezTo>
                    <a:pt x="1896566" y="1547244"/>
                    <a:pt x="1895092" y="1558405"/>
                    <a:pt x="1903305" y="1574621"/>
                  </a:cubicBezTo>
                  <a:cubicBezTo>
                    <a:pt x="1903305" y="1592942"/>
                    <a:pt x="1942685" y="1600523"/>
                    <a:pt x="1950477" y="1600523"/>
                  </a:cubicBezTo>
                  <a:cubicBezTo>
                    <a:pt x="1958690" y="1600523"/>
                    <a:pt x="1977853" y="1600102"/>
                    <a:pt x="1995964" y="1581781"/>
                  </a:cubicBezTo>
                  <a:cubicBezTo>
                    <a:pt x="2022919" y="1581781"/>
                    <a:pt x="2047348" y="1553351"/>
                    <a:pt x="2061878" y="1568303"/>
                  </a:cubicBezTo>
                  <a:cubicBezTo>
                    <a:pt x="2082516" y="1568303"/>
                    <a:pt x="2079147" y="1589362"/>
                    <a:pt x="2097889" y="1589362"/>
                  </a:cubicBezTo>
                  <a:cubicBezTo>
                    <a:pt x="2115579" y="1589362"/>
                    <a:pt x="2119159" y="1558616"/>
                    <a:pt x="2134953" y="1558616"/>
                  </a:cubicBezTo>
                  <a:cubicBezTo>
                    <a:pt x="2150747" y="1558616"/>
                    <a:pt x="2166752" y="1554826"/>
                    <a:pt x="2166752" y="1534188"/>
                  </a:cubicBezTo>
                  <a:cubicBezTo>
                    <a:pt x="2175807" y="1515445"/>
                    <a:pt x="2170121" y="1490596"/>
                    <a:pt x="2195603" y="1490596"/>
                  </a:cubicBezTo>
                  <a:cubicBezTo>
                    <a:pt x="2221084" y="1490596"/>
                    <a:pt x="2244038" y="1489122"/>
                    <a:pt x="2255620" y="1477118"/>
                  </a:cubicBezTo>
                  <a:cubicBezTo>
                    <a:pt x="2272046" y="1477118"/>
                    <a:pt x="2282576" y="1463640"/>
                    <a:pt x="2296053" y="1450163"/>
                  </a:cubicBezTo>
                  <a:cubicBezTo>
                    <a:pt x="2309531" y="1436685"/>
                    <a:pt x="2329116" y="1411204"/>
                    <a:pt x="2339856" y="1432894"/>
                  </a:cubicBezTo>
                  <a:cubicBezTo>
                    <a:pt x="2339856" y="1447846"/>
                    <a:pt x="2308268" y="1455006"/>
                    <a:pt x="2308268" y="1465115"/>
                  </a:cubicBezTo>
                  <a:cubicBezTo>
                    <a:pt x="2303845" y="1473749"/>
                    <a:pt x="2313954" y="1468063"/>
                    <a:pt x="2332275" y="1468063"/>
                  </a:cubicBezTo>
                  <a:cubicBezTo>
                    <a:pt x="2350596" y="1468063"/>
                    <a:pt x="2367443" y="1464272"/>
                    <a:pt x="2367443" y="1450373"/>
                  </a:cubicBezTo>
                  <a:cubicBezTo>
                    <a:pt x="2373550" y="1438370"/>
                    <a:pt x="2369339" y="1429314"/>
                    <a:pt x="2382395" y="1429314"/>
                  </a:cubicBezTo>
                  <a:cubicBezTo>
                    <a:pt x="2388713" y="1441739"/>
                    <a:pt x="2378605" y="1450373"/>
                    <a:pt x="2397347" y="1450373"/>
                  </a:cubicBezTo>
                  <a:cubicBezTo>
                    <a:pt x="2415668" y="1450373"/>
                    <a:pt x="2434200" y="1444477"/>
                    <a:pt x="2434200" y="1458586"/>
                  </a:cubicBezTo>
                  <a:cubicBezTo>
                    <a:pt x="2427461" y="1471011"/>
                    <a:pt x="2443255" y="1463430"/>
                    <a:pt x="2467894" y="1463430"/>
                  </a:cubicBezTo>
                  <a:cubicBezTo>
                    <a:pt x="2493376" y="1463430"/>
                    <a:pt x="2510644" y="1460482"/>
                    <a:pt x="2523490" y="1460482"/>
                  </a:cubicBezTo>
                  <a:cubicBezTo>
                    <a:pt x="2536546" y="1460482"/>
                    <a:pt x="2551288" y="1450373"/>
                    <a:pt x="2571925" y="1450373"/>
                  </a:cubicBezTo>
                  <a:cubicBezTo>
                    <a:pt x="2592984" y="1450373"/>
                    <a:pt x="2622467" y="1443634"/>
                    <a:pt x="2628574" y="1431631"/>
                  </a:cubicBezTo>
                  <a:cubicBezTo>
                    <a:pt x="2642473" y="1431631"/>
                    <a:pt x="2642051" y="1427419"/>
                    <a:pt x="2649633" y="1442792"/>
                  </a:cubicBezTo>
                  <a:cubicBezTo>
                    <a:pt x="2657846" y="1458165"/>
                    <a:pt x="2688592" y="1461113"/>
                    <a:pt x="2701016" y="1461113"/>
                  </a:cubicBezTo>
                  <a:cubicBezTo>
                    <a:pt x="2714073" y="1461113"/>
                    <a:pt x="2717442" y="1466799"/>
                    <a:pt x="2726498" y="1485120"/>
                  </a:cubicBezTo>
                  <a:cubicBezTo>
                    <a:pt x="2735553" y="1503442"/>
                    <a:pt x="2759139" y="1493755"/>
                    <a:pt x="2768826" y="1512497"/>
                  </a:cubicBezTo>
                  <a:cubicBezTo>
                    <a:pt x="2777881" y="1530818"/>
                    <a:pt x="2780830" y="1524922"/>
                    <a:pt x="2799572" y="1543664"/>
                  </a:cubicBezTo>
                  <a:cubicBezTo>
                    <a:pt x="2813471" y="1543664"/>
                    <a:pt x="2821263" y="1548508"/>
                    <a:pt x="2843796" y="1548508"/>
                  </a:cubicBezTo>
                  <a:cubicBezTo>
                    <a:pt x="2859590" y="1532714"/>
                    <a:pt x="2877911" y="1541348"/>
                    <a:pt x="2912869" y="1541348"/>
                  </a:cubicBezTo>
                  <a:cubicBezTo>
                    <a:pt x="2942141" y="1560933"/>
                    <a:pt x="2965306" y="1543664"/>
                    <a:pt x="2974782" y="1563038"/>
                  </a:cubicBezTo>
                  <a:cubicBezTo>
                    <a:pt x="2999211" y="1579254"/>
                    <a:pt x="3023639" y="1584729"/>
                    <a:pt x="3017953" y="1596101"/>
                  </a:cubicBezTo>
                  <a:cubicBezTo>
                    <a:pt x="3017953" y="1609157"/>
                    <a:pt x="3014584" y="1634007"/>
                    <a:pt x="3033747" y="1634007"/>
                  </a:cubicBezTo>
                  <a:cubicBezTo>
                    <a:pt x="3052911" y="1634007"/>
                    <a:pt x="3071653" y="1635060"/>
                    <a:pt x="3078813" y="1648959"/>
                  </a:cubicBezTo>
                  <a:cubicBezTo>
                    <a:pt x="3089343" y="1660120"/>
                    <a:pt x="3096082" y="1686444"/>
                    <a:pt x="3096082" y="1698026"/>
                  </a:cubicBezTo>
                  <a:cubicBezTo>
                    <a:pt x="3090817" y="1708555"/>
                    <a:pt x="3087026" y="1736564"/>
                    <a:pt x="3117140" y="1736564"/>
                  </a:cubicBezTo>
                  <a:cubicBezTo>
                    <a:pt x="3146834" y="1736564"/>
                    <a:pt x="3187688" y="1726456"/>
                    <a:pt x="3197375" y="1746251"/>
                  </a:cubicBezTo>
                  <a:cubicBezTo>
                    <a:pt x="3213590" y="1762466"/>
                    <a:pt x="3225805" y="1779735"/>
                    <a:pt x="3237808" y="1779735"/>
                  </a:cubicBezTo>
                  <a:cubicBezTo>
                    <a:pt x="3250865" y="1779735"/>
                    <a:pt x="3260762" y="1785421"/>
                    <a:pt x="3276135" y="1785421"/>
                  </a:cubicBezTo>
                  <a:cubicBezTo>
                    <a:pt x="3291508" y="1785421"/>
                    <a:pt x="3307934" y="1791738"/>
                    <a:pt x="3326677" y="1791738"/>
                  </a:cubicBezTo>
                  <a:cubicBezTo>
                    <a:pt x="3345419" y="1791738"/>
                    <a:pt x="3359318" y="1790264"/>
                    <a:pt x="3377639" y="1790264"/>
                  </a:cubicBezTo>
                  <a:cubicBezTo>
                    <a:pt x="3394908" y="1790264"/>
                    <a:pt x="3415966" y="1773417"/>
                    <a:pt x="3425654" y="1793212"/>
                  </a:cubicBezTo>
                  <a:cubicBezTo>
                    <a:pt x="3435341" y="1812376"/>
                    <a:pt x="3470299" y="1833014"/>
                    <a:pt x="3481460" y="1833014"/>
                  </a:cubicBezTo>
                  <a:cubicBezTo>
                    <a:pt x="3492621" y="1833014"/>
                    <a:pt x="3518945" y="1855547"/>
                    <a:pt x="3533897" y="1855547"/>
                  </a:cubicBezTo>
                  <a:cubicBezTo>
                    <a:pt x="3548216" y="1855547"/>
                    <a:pt x="3562326" y="1857863"/>
                    <a:pt x="3570960" y="1875763"/>
                  </a:cubicBezTo>
                  <a:cubicBezTo>
                    <a:pt x="3580647" y="1875763"/>
                    <a:pt x="3581490" y="1904614"/>
                    <a:pt x="3581490" y="1928200"/>
                  </a:cubicBezTo>
                  <a:cubicBezTo>
                    <a:pt x="3569065" y="1953260"/>
                    <a:pt x="3564642" y="1988639"/>
                    <a:pt x="3552218" y="2001274"/>
                  </a:cubicBezTo>
                  <a:cubicBezTo>
                    <a:pt x="3537266" y="2031599"/>
                    <a:pt x="3514312" y="2039602"/>
                    <a:pt x="3492200" y="2061713"/>
                  </a:cubicBezTo>
                  <a:cubicBezTo>
                    <a:pt x="3478301" y="2089511"/>
                    <a:pt x="3453241" y="2106780"/>
                    <a:pt x="3442290" y="2128891"/>
                  </a:cubicBezTo>
                  <a:cubicBezTo>
                    <a:pt x="3431761" y="2151003"/>
                    <a:pt x="3414913" y="2159006"/>
                    <a:pt x="3403331" y="2159006"/>
                  </a:cubicBezTo>
                  <a:cubicBezTo>
                    <a:pt x="3399119" y="2142159"/>
                    <a:pt x="3380798" y="2180696"/>
                    <a:pt x="3380798" y="2200281"/>
                  </a:cubicBezTo>
                  <a:cubicBezTo>
                    <a:pt x="3380798" y="2216075"/>
                    <a:pt x="3375112" y="2242609"/>
                    <a:pt x="3375112" y="2260299"/>
                  </a:cubicBezTo>
                  <a:cubicBezTo>
                    <a:pt x="3375112" y="2278620"/>
                    <a:pt x="3362687" y="2323265"/>
                    <a:pt x="3353000" y="2342429"/>
                  </a:cubicBezTo>
                  <a:cubicBezTo>
                    <a:pt x="3353000" y="2364119"/>
                    <a:pt x="3324150" y="2365383"/>
                    <a:pt x="3324150" y="2385178"/>
                  </a:cubicBezTo>
                  <a:cubicBezTo>
                    <a:pt x="3324150" y="2405816"/>
                    <a:pt x="3321201" y="2416767"/>
                    <a:pt x="3309198" y="2441406"/>
                  </a:cubicBezTo>
                  <a:cubicBezTo>
                    <a:pt x="3290034" y="2460569"/>
                    <a:pt x="3261184" y="2489420"/>
                    <a:pt x="3261184" y="2505846"/>
                  </a:cubicBezTo>
                  <a:cubicBezTo>
                    <a:pt x="3257393" y="2521640"/>
                    <a:pt x="3278031" y="2539961"/>
                    <a:pt x="3246863" y="2539961"/>
                  </a:cubicBezTo>
                  <a:cubicBezTo>
                    <a:pt x="3220540" y="2557230"/>
                    <a:pt x="3226647" y="2572182"/>
                    <a:pt x="3213380" y="2572182"/>
                  </a:cubicBezTo>
                  <a:cubicBezTo>
                    <a:pt x="3213380" y="2591977"/>
                    <a:pt x="3189794" y="2581237"/>
                    <a:pt x="3175474" y="2581237"/>
                  </a:cubicBezTo>
                  <a:cubicBezTo>
                    <a:pt x="3160943" y="2581237"/>
                    <a:pt x="3123458" y="2594083"/>
                    <a:pt x="3107664" y="2594083"/>
                  </a:cubicBezTo>
                  <a:cubicBezTo>
                    <a:pt x="3090817" y="2594083"/>
                    <a:pt x="3085131" y="2624829"/>
                    <a:pt x="3072496" y="2624829"/>
                  </a:cubicBezTo>
                  <a:cubicBezTo>
                    <a:pt x="3060492" y="2624829"/>
                    <a:pt x="3011004" y="2663788"/>
                    <a:pt x="2970781" y="2684004"/>
                  </a:cubicBezTo>
                  <a:cubicBezTo>
                    <a:pt x="2938561" y="2716224"/>
                    <a:pt x="2937087" y="2733493"/>
                    <a:pt x="2921925" y="2763817"/>
                  </a:cubicBezTo>
                  <a:cubicBezTo>
                    <a:pt x="2921925" y="2797933"/>
                    <a:pt x="2923399" y="2808462"/>
                    <a:pt x="2909500" y="2836260"/>
                  </a:cubicBezTo>
                  <a:cubicBezTo>
                    <a:pt x="2886967" y="2858793"/>
                    <a:pt x="2848008" y="2880484"/>
                    <a:pt x="2848008" y="2901122"/>
                  </a:cubicBezTo>
                  <a:cubicBezTo>
                    <a:pt x="2848008" y="2920285"/>
                    <a:pt x="2828212" y="2949136"/>
                    <a:pt x="2813892" y="2963456"/>
                  </a:cubicBezTo>
                  <a:cubicBezTo>
                    <a:pt x="2798519" y="2978829"/>
                    <a:pt x="2782725" y="2988937"/>
                    <a:pt x="2773038" y="2988937"/>
                  </a:cubicBezTo>
                  <a:cubicBezTo>
                    <a:pt x="2784620" y="2988937"/>
                    <a:pt x="2778724" y="2966825"/>
                    <a:pt x="2762930" y="2982620"/>
                  </a:cubicBezTo>
                  <a:cubicBezTo>
                    <a:pt x="2752400" y="3003678"/>
                    <a:pt x="2764404" y="2999888"/>
                    <a:pt x="2756191" y="3016314"/>
                  </a:cubicBezTo>
                  <a:cubicBezTo>
                    <a:pt x="2737448" y="3016314"/>
                    <a:pt x="2756612" y="3053799"/>
                    <a:pt x="2718706" y="3072962"/>
                  </a:cubicBezTo>
                  <a:cubicBezTo>
                    <a:pt x="2688381" y="3103076"/>
                    <a:pt x="2678905" y="3112764"/>
                    <a:pt x="2659741" y="3132559"/>
                  </a:cubicBezTo>
                  <a:cubicBezTo>
                    <a:pt x="2647316" y="3156566"/>
                    <a:pt x="2613622" y="3153618"/>
                    <a:pt x="2590457" y="3153618"/>
                  </a:cubicBezTo>
                  <a:cubicBezTo>
                    <a:pt x="2568345" y="3153618"/>
                    <a:pt x="2549603" y="3156987"/>
                    <a:pt x="2549603" y="3175309"/>
                  </a:cubicBezTo>
                  <a:cubicBezTo>
                    <a:pt x="2549603" y="3192998"/>
                    <a:pt x="2536546" y="3205423"/>
                    <a:pt x="2522226" y="3205423"/>
                  </a:cubicBezTo>
                  <a:cubicBezTo>
                    <a:pt x="2536546" y="3205423"/>
                    <a:pt x="2539916" y="3227535"/>
                    <a:pt x="2533809" y="3227535"/>
                  </a:cubicBezTo>
                  <a:cubicBezTo>
                    <a:pt x="2541390" y="3227535"/>
                    <a:pt x="2546865" y="3236590"/>
                    <a:pt x="2535283" y="3259755"/>
                  </a:cubicBezTo>
                  <a:cubicBezTo>
                    <a:pt x="2551709" y="3259755"/>
                    <a:pt x="2504115" y="3290080"/>
                    <a:pt x="2483057" y="3311139"/>
                  </a:cubicBezTo>
                  <a:cubicBezTo>
                    <a:pt x="2469579" y="3338094"/>
                    <a:pt x="2416300" y="3345254"/>
                    <a:pt x="2389344" y="3362943"/>
                  </a:cubicBezTo>
                  <a:cubicBezTo>
                    <a:pt x="2361547" y="3362943"/>
                    <a:pt x="2342172" y="3351993"/>
                    <a:pt x="2331222" y="3374526"/>
                  </a:cubicBezTo>
                  <a:cubicBezTo>
                    <a:pt x="2313322" y="3392215"/>
                    <a:pt x="2307636" y="3396006"/>
                    <a:pt x="2307636" y="3427805"/>
                  </a:cubicBezTo>
                  <a:cubicBezTo>
                    <a:pt x="2301529" y="3451391"/>
                    <a:pt x="2285103" y="3469501"/>
                    <a:pt x="2259200" y="3469501"/>
                  </a:cubicBezTo>
                  <a:cubicBezTo>
                    <a:pt x="2235614" y="3481505"/>
                    <a:pt x="2204447" y="3468027"/>
                    <a:pt x="2184862" y="3468027"/>
                  </a:cubicBezTo>
                  <a:cubicBezTo>
                    <a:pt x="2164646" y="3468027"/>
                    <a:pt x="2181493" y="3481084"/>
                    <a:pt x="2167594" y="3508882"/>
                  </a:cubicBezTo>
                  <a:cubicBezTo>
                    <a:pt x="2167594" y="3539628"/>
                    <a:pt x="2173701" y="3545314"/>
                    <a:pt x="2192023" y="3545314"/>
                  </a:cubicBezTo>
                  <a:cubicBezTo>
                    <a:pt x="2208870" y="3545314"/>
                    <a:pt x="2244459" y="3503196"/>
                    <a:pt x="2230981" y="3529941"/>
                  </a:cubicBezTo>
                  <a:cubicBezTo>
                    <a:pt x="2230981" y="3550157"/>
                    <a:pt x="2209291" y="3568268"/>
                    <a:pt x="2196445" y="3568268"/>
                  </a:cubicBezTo>
                  <a:cubicBezTo>
                    <a:pt x="2181493" y="3568268"/>
                    <a:pt x="2157486" y="3599014"/>
                    <a:pt x="2151379" y="3599014"/>
                  </a:cubicBezTo>
                  <a:cubicBezTo>
                    <a:pt x="2158118" y="3599014"/>
                    <a:pt x="2138322" y="3618809"/>
                    <a:pt x="2138322" y="3643659"/>
                  </a:cubicBezTo>
                  <a:cubicBezTo>
                    <a:pt x="2148431" y="3643659"/>
                    <a:pt x="2119159" y="3678827"/>
                    <a:pt x="2094520" y="3678827"/>
                  </a:cubicBezTo>
                  <a:cubicBezTo>
                    <a:pt x="2058088" y="3678827"/>
                    <a:pt x="2049454" y="3734002"/>
                    <a:pt x="2038292" y="3734002"/>
                  </a:cubicBezTo>
                  <a:cubicBezTo>
                    <a:pt x="2057035" y="3770855"/>
                    <a:pt x="2093045" y="3770012"/>
                    <a:pt x="2105470" y="3770012"/>
                  </a:cubicBezTo>
                  <a:cubicBezTo>
                    <a:pt x="2118948" y="3770012"/>
                    <a:pt x="2112209" y="3773803"/>
                    <a:pt x="2099153" y="3799284"/>
                  </a:cubicBezTo>
                  <a:cubicBezTo>
                    <a:pt x="2079568" y="3818869"/>
                    <a:pt x="2081884" y="3840981"/>
                    <a:pt x="2062721" y="3840981"/>
                  </a:cubicBezTo>
                  <a:cubicBezTo>
                    <a:pt x="2042925" y="3840981"/>
                    <a:pt x="2019971" y="3855301"/>
                    <a:pt x="2019971" y="3876570"/>
                  </a:cubicBezTo>
                  <a:cubicBezTo>
                    <a:pt x="2019550" y="3898682"/>
                    <a:pt x="2009442" y="3936378"/>
                    <a:pt x="1982697" y="3936378"/>
                  </a:cubicBezTo>
                  <a:close/>
                  <a:moveTo>
                    <a:pt x="1894249" y="4071786"/>
                  </a:moveTo>
                  <a:cubicBezTo>
                    <a:pt x="1902462" y="4071786"/>
                    <a:pt x="1919309" y="4064416"/>
                    <a:pt x="1912571" y="4064416"/>
                  </a:cubicBezTo>
                  <a:cubicBezTo>
                    <a:pt x="1920362" y="4064416"/>
                    <a:pt x="1907306" y="4054729"/>
                    <a:pt x="1899514" y="4054729"/>
                  </a:cubicBezTo>
                  <a:cubicBezTo>
                    <a:pt x="1907306" y="4054729"/>
                    <a:pt x="1886668" y="4068206"/>
                    <a:pt x="1879297" y="4068206"/>
                  </a:cubicBezTo>
                  <a:cubicBezTo>
                    <a:pt x="1887510" y="4068206"/>
                    <a:pt x="1873612" y="4084632"/>
                    <a:pt x="1861608" y="4084632"/>
                  </a:cubicBezTo>
                  <a:cubicBezTo>
                    <a:pt x="1872769" y="4084632"/>
                    <a:pt x="1866452" y="4114325"/>
                    <a:pt x="1854027" y="4114325"/>
                  </a:cubicBezTo>
                  <a:cubicBezTo>
                    <a:pt x="1867505" y="4114325"/>
                    <a:pt x="1847709" y="4131594"/>
                    <a:pt x="1838654" y="4131594"/>
                  </a:cubicBezTo>
                  <a:cubicBezTo>
                    <a:pt x="1848762" y="4131594"/>
                    <a:pt x="1860766" y="4136437"/>
                    <a:pt x="1852553" y="4136437"/>
                  </a:cubicBezTo>
                  <a:cubicBezTo>
                    <a:pt x="1861187" y="4136437"/>
                    <a:pt x="1873612" y="4112851"/>
                    <a:pt x="1868979" y="4112851"/>
                  </a:cubicBezTo>
                  <a:cubicBezTo>
                    <a:pt x="1873822" y="4112851"/>
                    <a:pt x="1890669" y="4128224"/>
                    <a:pt x="1879508" y="4128224"/>
                  </a:cubicBezTo>
                  <a:cubicBezTo>
                    <a:pt x="1890038" y="4128224"/>
                    <a:pt x="1894881" y="4144019"/>
                    <a:pt x="1888142" y="4144019"/>
                  </a:cubicBezTo>
                  <a:cubicBezTo>
                    <a:pt x="1894881" y="4144019"/>
                    <a:pt x="1907727" y="4148019"/>
                    <a:pt x="1917414" y="4148019"/>
                  </a:cubicBezTo>
                  <a:cubicBezTo>
                    <a:pt x="1927522" y="4148019"/>
                    <a:pt x="1918257" y="4133489"/>
                    <a:pt x="1908359" y="4133489"/>
                  </a:cubicBezTo>
                  <a:cubicBezTo>
                    <a:pt x="1898251" y="4133489"/>
                    <a:pt x="1894039" y="4119590"/>
                    <a:pt x="1888142" y="4119590"/>
                  </a:cubicBezTo>
                  <a:cubicBezTo>
                    <a:pt x="1893828" y="4119590"/>
                    <a:pt x="1894460" y="4109903"/>
                    <a:pt x="1906885" y="4109903"/>
                  </a:cubicBezTo>
                  <a:cubicBezTo>
                    <a:pt x="1918888" y="4109903"/>
                    <a:pt x="1930471" y="4096004"/>
                    <a:pt x="1918467" y="4096004"/>
                  </a:cubicBezTo>
                  <a:cubicBezTo>
                    <a:pt x="1907938" y="4096004"/>
                    <a:pt x="1890669" y="4102743"/>
                    <a:pt x="1882878" y="4102743"/>
                  </a:cubicBezTo>
                  <a:cubicBezTo>
                    <a:pt x="1890669" y="4102743"/>
                    <a:pt x="1888142" y="4085054"/>
                    <a:pt x="1881825" y="4085054"/>
                  </a:cubicBezTo>
                  <a:cubicBezTo>
                    <a:pt x="1888563" y="4085054"/>
                    <a:pt x="1900146" y="4071786"/>
                    <a:pt x="1894249" y="4071786"/>
                  </a:cubicBezTo>
                  <a:close/>
                  <a:moveTo>
                    <a:pt x="1848762" y="4077472"/>
                  </a:moveTo>
                  <a:cubicBezTo>
                    <a:pt x="1852974" y="4077472"/>
                    <a:pt x="1840549" y="4084211"/>
                    <a:pt x="1833389" y="4084211"/>
                  </a:cubicBezTo>
                  <a:cubicBezTo>
                    <a:pt x="1840549" y="4084211"/>
                    <a:pt x="1824334" y="4092845"/>
                    <a:pt x="1815068" y="4092845"/>
                  </a:cubicBezTo>
                  <a:cubicBezTo>
                    <a:pt x="1824123" y="4092845"/>
                    <a:pt x="1797800" y="4100637"/>
                    <a:pt x="1808961" y="4100637"/>
                  </a:cubicBezTo>
                  <a:cubicBezTo>
                    <a:pt x="1820543" y="4100637"/>
                    <a:pt x="1843918" y="4097268"/>
                    <a:pt x="1835284" y="4097268"/>
                  </a:cubicBezTo>
                  <a:cubicBezTo>
                    <a:pt x="1843918" y="4097268"/>
                    <a:pt x="1852974" y="4086738"/>
                    <a:pt x="1848341" y="4086738"/>
                  </a:cubicBezTo>
                  <a:cubicBezTo>
                    <a:pt x="1853395" y="4086527"/>
                    <a:pt x="1852553" y="4077472"/>
                    <a:pt x="1848762" y="4077472"/>
                  </a:cubicBezTo>
                  <a:close/>
                  <a:moveTo>
                    <a:pt x="2303424" y="1501757"/>
                  </a:moveTo>
                  <a:cubicBezTo>
                    <a:pt x="2308689" y="1501757"/>
                    <a:pt x="2291420" y="1516709"/>
                    <a:pt x="2289104" y="1516709"/>
                  </a:cubicBezTo>
                  <a:cubicBezTo>
                    <a:pt x="2290999" y="1516709"/>
                    <a:pt x="2301529" y="1533977"/>
                    <a:pt x="2295843" y="1533977"/>
                  </a:cubicBezTo>
                  <a:cubicBezTo>
                    <a:pt x="2302161" y="1533977"/>
                    <a:pt x="2329958" y="1524922"/>
                    <a:pt x="2317955" y="1524922"/>
                  </a:cubicBezTo>
                  <a:cubicBezTo>
                    <a:pt x="2329537" y="1524922"/>
                    <a:pt x="2325747" y="1508075"/>
                    <a:pt x="2322798" y="1508075"/>
                  </a:cubicBezTo>
                  <a:cubicBezTo>
                    <a:pt x="2325747" y="1508075"/>
                    <a:pt x="2320482" y="1493123"/>
                    <a:pt x="2314585" y="1493123"/>
                  </a:cubicBezTo>
                  <a:cubicBezTo>
                    <a:pt x="2307215" y="1493123"/>
                    <a:pt x="2308268" y="1501757"/>
                    <a:pt x="2303424" y="1501757"/>
                  </a:cubicBezTo>
                  <a:close/>
                  <a:moveTo>
                    <a:pt x="2336065" y="639395"/>
                  </a:moveTo>
                  <a:cubicBezTo>
                    <a:pt x="2336065" y="632235"/>
                    <a:pt x="2303424" y="637921"/>
                    <a:pt x="2298159" y="648450"/>
                  </a:cubicBezTo>
                  <a:cubicBezTo>
                    <a:pt x="2285735" y="648450"/>
                    <a:pt x="2272678" y="643606"/>
                    <a:pt x="2266571" y="656663"/>
                  </a:cubicBezTo>
                  <a:cubicBezTo>
                    <a:pt x="2252672" y="656663"/>
                    <a:pt x="2239194" y="675405"/>
                    <a:pt x="2224243" y="675405"/>
                  </a:cubicBezTo>
                  <a:cubicBezTo>
                    <a:pt x="2208870" y="675405"/>
                    <a:pt x="2181072" y="688883"/>
                    <a:pt x="2191601" y="688883"/>
                  </a:cubicBezTo>
                  <a:cubicBezTo>
                    <a:pt x="2202131" y="688883"/>
                    <a:pt x="2220031" y="684040"/>
                    <a:pt x="2241511" y="684040"/>
                  </a:cubicBezTo>
                  <a:cubicBezTo>
                    <a:pt x="2251198" y="664876"/>
                    <a:pt x="2284261" y="661085"/>
                    <a:pt x="2295211" y="661085"/>
                  </a:cubicBezTo>
                  <a:cubicBezTo>
                    <a:pt x="2305951" y="660875"/>
                    <a:pt x="2340909" y="639395"/>
                    <a:pt x="2336065" y="639395"/>
                  </a:cubicBezTo>
                  <a:close/>
                  <a:moveTo>
                    <a:pt x="2365337" y="608649"/>
                  </a:moveTo>
                  <a:cubicBezTo>
                    <a:pt x="2357756" y="624443"/>
                    <a:pt x="2336908" y="622548"/>
                    <a:pt x="2328274" y="622548"/>
                  </a:cubicBezTo>
                  <a:cubicBezTo>
                    <a:pt x="2336908" y="622548"/>
                    <a:pt x="2324483" y="627391"/>
                    <a:pt x="2337961" y="627391"/>
                  </a:cubicBezTo>
                  <a:cubicBezTo>
                    <a:pt x="2350386" y="627391"/>
                    <a:pt x="2367233" y="617283"/>
                    <a:pt x="2378815" y="617283"/>
                  </a:cubicBezTo>
                  <a:cubicBezTo>
                    <a:pt x="2386396" y="610123"/>
                    <a:pt x="2404296" y="610123"/>
                    <a:pt x="2413773" y="610123"/>
                  </a:cubicBezTo>
                  <a:cubicBezTo>
                    <a:pt x="2423881" y="610123"/>
                    <a:pt x="2439254" y="587590"/>
                    <a:pt x="2436306" y="593907"/>
                  </a:cubicBezTo>
                  <a:cubicBezTo>
                    <a:pt x="2428725" y="593907"/>
                    <a:pt x="2424724" y="595803"/>
                    <a:pt x="2415247" y="595803"/>
                  </a:cubicBezTo>
                  <a:cubicBezTo>
                    <a:pt x="2425355" y="595803"/>
                    <a:pt x="2389766" y="606332"/>
                    <a:pt x="2384080" y="606332"/>
                  </a:cubicBezTo>
                  <a:cubicBezTo>
                    <a:pt x="2389976" y="606122"/>
                    <a:pt x="2371234" y="608649"/>
                    <a:pt x="2365337" y="608649"/>
                  </a:cubicBezTo>
                  <a:close/>
                  <a:moveTo>
                    <a:pt x="2159802" y="564425"/>
                  </a:moveTo>
                  <a:cubicBezTo>
                    <a:pt x="2151589" y="564425"/>
                    <a:pt x="2159802" y="552843"/>
                    <a:pt x="2149694" y="552843"/>
                  </a:cubicBezTo>
                  <a:cubicBezTo>
                    <a:pt x="2139165" y="552843"/>
                    <a:pt x="2103575" y="565899"/>
                    <a:pt x="2098310" y="565899"/>
                  </a:cubicBezTo>
                  <a:cubicBezTo>
                    <a:pt x="2103154" y="565899"/>
                    <a:pt x="2066090" y="574112"/>
                    <a:pt x="2053665" y="586958"/>
                  </a:cubicBezTo>
                  <a:cubicBezTo>
                    <a:pt x="2036397" y="586958"/>
                    <a:pt x="2008599" y="593697"/>
                    <a:pt x="2001860" y="607596"/>
                  </a:cubicBezTo>
                  <a:cubicBezTo>
                    <a:pt x="1986909" y="607596"/>
                    <a:pt x="1971114" y="631603"/>
                    <a:pt x="1961427" y="631603"/>
                  </a:cubicBezTo>
                  <a:cubicBezTo>
                    <a:pt x="1956584" y="640869"/>
                    <a:pt x="1965639" y="632024"/>
                    <a:pt x="1978274" y="632024"/>
                  </a:cubicBezTo>
                  <a:cubicBezTo>
                    <a:pt x="1991752" y="632024"/>
                    <a:pt x="1990699" y="626759"/>
                    <a:pt x="1996596" y="626759"/>
                  </a:cubicBezTo>
                  <a:cubicBezTo>
                    <a:pt x="2002282" y="626759"/>
                    <a:pt x="2013443" y="616651"/>
                    <a:pt x="2031764" y="616651"/>
                  </a:cubicBezTo>
                  <a:cubicBezTo>
                    <a:pt x="2050507" y="616651"/>
                    <a:pt x="2075567" y="594539"/>
                    <a:pt x="2086517" y="594539"/>
                  </a:cubicBezTo>
                  <a:cubicBezTo>
                    <a:pt x="2098521" y="594539"/>
                    <a:pt x="2075567" y="608017"/>
                    <a:pt x="2073040" y="608017"/>
                  </a:cubicBezTo>
                  <a:cubicBezTo>
                    <a:pt x="2075356" y="608017"/>
                    <a:pt x="2093677" y="615177"/>
                    <a:pt x="2098100" y="607596"/>
                  </a:cubicBezTo>
                  <a:cubicBezTo>
                    <a:pt x="2106734" y="607596"/>
                    <a:pt x="2143798" y="597909"/>
                    <a:pt x="2136427" y="597909"/>
                  </a:cubicBezTo>
                  <a:cubicBezTo>
                    <a:pt x="2143587" y="597909"/>
                    <a:pt x="2157065" y="590749"/>
                    <a:pt x="2164857" y="590749"/>
                  </a:cubicBezTo>
                  <a:cubicBezTo>
                    <a:pt x="2172438" y="590749"/>
                    <a:pt x="2167805" y="589906"/>
                    <a:pt x="2180651" y="589906"/>
                  </a:cubicBezTo>
                  <a:cubicBezTo>
                    <a:pt x="2189285" y="581272"/>
                    <a:pt x="2200867" y="574954"/>
                    <a:pt x="2194550" y="574954"/>
                  </a:cubicBezTo>
                  <a:cubicBezTo>
                    <a:pt x="2200867" y="574954"/>
                    <a:pt x="2195603" y="561898"/>
                    <a:pt x="2192654" y="561898"/>
                  </a:cubicBezTo>
                  <a:cubicBezTo>
                    <a:pt x="2194971" y="561898"/>
                    <a:pt x="2184020" y="563372"/>
                    <a:pt x="2176228" y="563372"/>
                  </a:cubicBezTo>
                  <a:cubicBezTo>
                    <a:pt x="2168436" y="563372"/>
                    <a:pt x="2167173" y="564425"/>
                    <a:pt x="2159802" y="564425"/>
                  </a:cubicBezTo>
                  <a:close/>
                  <a:moveTo>
                    <a:pt x="2180019" y="608017"/>
                  </a:moveTo>
                  <a:cubicBezTo>
                    <a:pt x="2187600" y="608017"/>
                    <a:pt x="2201078" y="608859"/>
                    <a:pt x="2214977" y="608859"/>
                  </a:cubicBezTo>
                  <a:cubicBezTo>
                    <a:pt x="2221294" y="596434"/>
                    <a:pt x="2210765" y="632866"/>
                    <a:pt x="2202973" y="632866"/>
                  </a:cubicBezTo>
                  <a:cubicBezTo>
                    <a:pt x="2194760" y="632866"/>
                    <a:pt x="2223190" y="634762"/>
                    <a:pt x="2216451" y="634762"/>
                  </a:cubicBezTo>
                  <a:cubicBezTo>
                    <a:pt x="2222769" y="634762"/>
                    <a:pt x="2230771" y="654978"/>
                    <a:pt x="2225506" y="654978"/>
                  </a:cubicBezTo>
                  <a:cubicBezTo>
                    <a:pt x="2230771" y="654978"/>
                    <a:pt x="2247197" y="646765"/>
                    <a:pt x="2251830" y="637710"/>
                  </a:cubicBezTo>
                  <a:cubicBezTo>
                    <a:pt x="2262359" y="637710"/>
                    <a:pt x="2280049" y="614756"/>
                    <a:pt x="2270572" y="614756"/>
                  </a:cubicBezTo>
                  <a:cubicBezTo>
                    <a:pt x="2280681" y="614756"/>
                    <a:pt x="2282997" y="598330"/>
                    <a:pt x="2275837" y="598330"/>
                  </a:cubicBezTo>
                  <a:cubicBezTo>
                    <a:pt x="2282997" y="598330"/>
                    <a:pt x="2306162" y="590117"/>
                    <a:pt x="2306162" y="606964"/>
                  </a:cubicBezTo>
                  <a:cubicBezTo>
                    <a:pt x="2322377" y="606964"/>
                    <a:pt x="2319008" y="601699"/>
                    <a:pt x="2323009" y="593486"/>
                  </a:cubicBezTo>
                  <a:cubicBezTo>
                    <a:pt x="2332064" y="593486"/>
                    <a:pt x="2312901" y="577060"/>
                    <a:pt x="2301318" y="577060"/>
                  </a:cubicBezTo>
                  <a:cubicBezTo>
                    <a:pt x="2296053" y="587169"/>
                    <a:pt x="2283208" y="586747"/>
                    <a:pt x="2275837" y="586747"/>
                  </a:cubicBezTo>
                  <a:cubicBezTo>
                    <a:pt x="2282997" y="586747"/>
                    <a:pt x="2260885" y="602120"/>
                    <a:pt x="2256041" y="592433"/>
                  </a:cubicBezTo>
                  <a:cubicBezTo>
                    <a:pt x="2267203" y="592433"/>
                    <a:pt x="2232456" y="595382"/>
                    <a:pt x="2214766" y="595382"/>
                  </a:cubicBezTo>
                  <a:cubicBezTo>
                    <a:pt x="2197077" y="595382"/>
                    <a:pt x="2185073" y="602963"/>
                    <a:pt x="2173912" y="602963"/>
                  </a:cubicBezTo>
                  <a:cubicBezTo>
                    <a:pt x="2162751" y="602963"/>
                    <a:pt x="2150326" y="598751"/>
                    <a:pt x="2137269" y="611176"/>
                  </a:cubicBezTo>
                  <a:cubicBezTo>
                    <a:pt x="2119580" y="611176"/>
                    <a:pt x="2114315" y="628444"/>
                    <a:pt x="2097468" y="628444"/>
                  </a:cubicBezTo>
                  <a:cubicBezTo>
                    <a:pt x="2089676" y="643817"/>
                    <a:pt x="2073882" y="652872"/>
                    <a:pt x="2069038" y="652872"/>
                  </a:cubicBezTo>
                  <a:cubicBezTo>
                    <a:pt x="2073882" y="652872"/>
                    <a:pt x="2081042" y="632656"/>
                    <a:pt x="2100206" y="632656"/>
                  </a:cubicBezTo>
                  <a:cubicBezTo>
                    <a:pt x="2114104" y="618757"/>
                    <a:pt x="2093467" y="658558"/>
                    <a:pt x="2077673" y="658558"/>
                  </a:cubicBezTo>
                  <a:cubicBezTo>
                    <a:pt x="2066090" y="670141"/>
                    <a:pt x="2058509" y="705730"/>
                    <a:pt x="2046927" y="705730"/>
                  </a:cubicBezTo>
                  <a:cubicBezTo>
                    <a:pt x="2046927" y="717313"/>
                    <a:pt x="2051349" y="721103"/>
                    <a:pt x="2061246" y="721103"/>
                  </a:cubicBezTo>
                  <a:cubicBezTo>
                    <a:pt x="2065669" y="712469"/>
                    <a:pt x="2091993" y="698570"/>
                    <a:pt x="2102101" y="688462"/>
                  </a:cubicBezTo>
                  <a:cubicBezTo>
                    <a:pt x="2116000" y="688462"/>
                    <a:pt x="2101259" y="670141"/>
                    <a:pt x="2105470" y="661507"/>
                  </a:cubicBezTo>
                  <a:cubicBezTo>
                    <a:pt x="2109261" y="652872"/>
                    <a:pt x="2144008" y="634972"/>
                    <a:pt x="2132426" y="634972"/>
                  </a:cubicBezTo>
                  <a:cubicBezTo>
                    <a:pt x="2143587" y="634972"/>
                    <a:pt x="2168015" y="615388"/>
                    <a:pt x="2162119" y="615388"/>
                  </a:cubicBezTo>
                  <a:cubicBezTo>
                    <a:pt x="2167173" y="615809"/>
                    <a:pt x="2171806" y="608017"/>
                    <a:pt x="2180019" y="608017"/>
                  </a:cubicBezTo>
                  <a:close/>
                  <a:moveTo>
                    <a:pt x="2105049" y="532205"/>
                  </a:moveTo>
                  <a:cubicBezTo>
                    <a:pt x="2096836" y="532205"/>
                    <a:pt x="2091993" y="544630"/>
                    <a:pt x="2084833" y="544630"/>
                  </a:cubicBezTo>
                  <a:cubicBezTo>
                    <a:pt x="2091571" y="544630"/>
                    <a:pt x="2084833" y="549473"/>
                    <a:pt x="2097257" y="549473"/>
                  </a:cubicBezTo>
                  <a:cubicBezTo>
                    <a:pt x="2109471" y="549473"/>
                    <a:pt x="2120001" y="532205"/>
                    <a:pt x="2105049" y="532205"/>
                  </a:cubicBezTo>
                  <a:close/>
                  <a:moveTo>
                    <a:pt x="1351561" y="451128"/>
                  </a:moveTo>
                  <a:cubicBezTo>
                    <a:pt x="1344401" y="451128"/>
                    <a:pt x="1331766" y="448812"/>
                    <a:pt x="1327554" y="457867"/>
                  </a:cubicBezTo>
                  <a:cubicBezTo>
                    <a:pt x="1318499" y="457867"/>
                    <a:pt x="1345875" y="441020"/>
                    <a:pt x="1360195" y="441020"/>
                  </a:cubicBezTo>
                  <a:cubicBezTo>
                    <a:pt x="1374515" y="441020"/>
                    <a:pt x="1360616" y="440599"/>
                    <a:pt x="1353457" y="440599"/>
                  </a:cubicBezTo>
                  <a:cubicBezTo>
                    <a:pt x="1346296" y="440599"/>
                    <a:pt x="1317867" y="444810"/>
                    <a:pt x="1311760" y="457446"/>
                  </a:cubicBezTo>
                  <a:cubicBezTo>
                    <a:pt x="1297861" y="457446"/>
                    <a:pt x="1288174" y="473872"/>
                    <a:pt x="1271327" y="473872"/>
                  </a:cubicBezTo>
                  <a:cubicBezTo>
                    <a:pt x="1254480" y="473872"/>
                    <a:pt x="1246267" y="487770"/>
                    <a:pt x="1230051" y="487770"/>
                  </a:cubicBezTo>
                  <a:cubicBezTo>
                    <a:pt x="1222891" y="502301"/>
                    <a:pt x="1200779" y="502722"/>
                    <a:pt x="1197831" y="502722"/>
                  </a:cubicBezTo>
                  <a:cubicBezTo>
                    <a:pt x="1200779" y="502722"/>
                    <a:pt x="1218890" y="491772"/>
                    <a:pt x="1230894" y="491772"/>
                  </a:cubicBezTo>
                  <a:cubicBezTo>
                    <a:pt x="1242897" y="491772"/>
                    <a:pt x="1264377" y="474925"/>
                    <a:pt x="1276591" y="474925"/>
                  </a:cubicBezTo>
                  <a:cubicBezTo>
                    <a:pt x="1289016" y="474925"/>
                    <a:pt x="1298703" y="474503"/>
                    <a:pt x="1289648" y="474503"/>
                  </a:cubicBezTo>
                  <a:cubicBezTo>
                    <a:pt x="1281435" y="474503"/>
                    <a:pt x="1275117" y="485033"/>
                    <a:pt x="1272380" y="485033"/>
                  </a:cubicBezTo>
                  <a:cubicBezTo>
                    <a:pt x="1274696" y="485033"/>
                    <a:pt x="1262271" y="491350"/>
                    <a:pt x="1257007" y="491350"/>
                  </a:cubicBezTo>
                  <a:cubicBezTo>
                    <a:pt x="1263324" y="491350"/>
                    <a:pt x="1253216" y="505671"/>
                    <a:pt x="1233842" y="505671"/>
                  </a:cubicBezTo>
                  <a:cubicBezTo>
                    <a:pt x="1225208" y="522939"/>
                    <a:pt x="1237633" y="504196"/>
                    <a:pt x="1251110" y="504196"/>
                  </a:cubicBezTo>
                  <a:cubicBezTo>
                    <a:pt x="1257217" y="492193"/>
                    <a:pt x="1293439" y="486507"/>
                    <a:pt x="1284594" y="486507"/>
                  </a:cubicBezTo>
                  <a:cubicBezTo>
                    <a:pt x="1292807" y="486507"/>
                    <a:pt x="1303336" y="474503"/>
                    <a:pt x="1312813" y="474503"/>
                  </a:cubicBezTo>
                  <a:cubicBezTo>
                    <a:pt x="1322921" y="474503"/>
                    <a:pt x="1309022" y="484190"/>
                    <a:pt x="1301230" y="484190"/>
                  </a:cubicBezTo>
                  <a:cubicBezTo>
                    <a:pt x="1293017" y="484190"/>
                    <a:pt x="1273854" y="495773"/>
                    <a:pt x="1282067" y="495773"/>
                  </a:cubicBezTo>
                  <a:cubicBezTo>
                    <a:pt x="1290280" y="495773"/>
                    <a:pt x="1309865" y="479347"/>
                    <a:pt x="1318499" y="479347"/>
                  </a:cubicBezTo>
                  <a:cubicBezTo>
                    <a:pt x="1327554" y="479347"/>
                    <a:pt x="1329449" y="472187"/>
                    <a:pt x="1337662" y="472187"/>
                  </a:cubicBezTo>
                  <a:cubicBezTo>
                    <a:pt x="1343348" y="466501"/>
                    <a:pt x="1336188" y="467975"/>
                    <a:pt x="1332819" y="467975"/>
                  </a:cubicBezTo>
                  <a:cubicBezTo>
                    <a:pt x="1335767" y="467975"/>
                    <a:pt x="1343348" y="460183"/>
                    <a:pt x="1354088" y="460183"/>
                  </a:cubicBezTo>
                  <a:cubicBezTo>
                    <a:pt x="1358932" y="450707"/>
                    <a:pt x="1361669" y="455972"/>
                    <a:pt x="1372199" y="455972"/>
                  </a:cubicBezTo>
                  <a:cubicBezTo>
                    <a:pt x="1383360" y="455972"/>
                    <a:pt x="1404419" y="440177"/>
                    <a:pt x="1396206" y="440177"/>
                  </a:cubicBezTo>
                  <a:cubicBezTo>
                    <a:pt x="1404419" y="440177"/>
                    <a:pt x="1408631" y="431543"/>
                    <a:pt x="1404419" y="431543"/>
                  </a:cubicBezTo>
                  <a:cubicBezTo>
                    <a:pt x="1408210" y="431543"/>
                    <a:pt x="1387572" y="443547"/>
                    <a:pt x="1377464" y="443547"/>
                  </a:cubicBezTo>
                  <a:cubicBezTo>
                    <a:pt x="1383781" y="442915"/>
                    <a:pt x="1359774" y="451128"/>
                    <a:pt x="1351561" y="451128"/>
                  </a:cubicBezTo>
                  <a:close/>
                  <a:moveTo>
                    <a:pt x="1436639" y="495141"/>
                  </a:moveTo>
                  <a:cubicBezTo>
                    <a:pt x="1440430" y="495141"/>
                    <a:pt x="1427584" y="505671"/>
                    <a:pt x="1413053" y="505671"/>
                  </a:cubicBezTo>
                  <a:cubicBezTo>
                    <a:pt x="1398523" y="505671"/>
                    <a:pt x="1389467" y="524413"/>
                    <a:pt x="1382307" y="524413"/>
                  </a:cubicBezTo>
                  <a:cubicBezTo>
                    <a:pt x="1390520" y="524413"/>
                    <a:pt x="1416423" y="506092"/>
                    <a:pt x="1439377" y="506092"/>
                  </a:cubicBezTo>
                  <a:cubicBezTo>
                    <a:pt x="1462542" y="506092"/>
                    <a:pt x="1461067" y="488402"/>
                    <a:pt x="1483179" y="488402"/>
                  </a:cubicBezTo>
                  <a:cubicBezTo>
                    <a:pt x="1505291" y="488402"/>
                    <a:pt x="1528245" y="456814"/>
                    <a:pt x="1548041" y="456814"/>
                  </a:cubicBezTo>
                  <a:cubicBezTo>
                    <a:pt x="1567836" y="456814"/>
                    <a:pt x="1596055" y="436176"/>
                    <a:pt x="1591212" y="436176"/>
                  </a:cubicBezTo>
                  <a:cubicBezTo>
                    <a:pt x="1589316" y="440599"/>
                    <a:pt x="1565309" y="451128"/>
                    <a:pt x="1547409" y="451128"/>
                  </a:cubicBezTo>
                  <a:cubicBezTo>
                    <a:pt x="1529088" y="451128"/>
                    <a:pt x="1514768" y="475135"/>
                    <a:pt x="1498974" y="475135"/>
                  </a:cubicBezTo>
                  <a:cubicBezTo>
                    <a:pt x="1483179" y="475135"/>
                    <a:pt x="1466753" y="482927"/>
                    <a:pt x="1459593" y="482927"/>
                  </a:cubicBezTo>
                  <a:cubicBezTo>
                    <a:pt x="1452854" y="482927"/>
                    <a:pt x="1432217" y="475767"/>
                    <a:pt x="1425899" y="488192"/>
                  </a:cubicBezTo>
                  <a:cubicBezTo>
                    <a:pt x="1431796" y="487981"/>
                    <a:pt x="1440430" y="495141"/>
                    <a:pt x="1436639" y="495141"/>
                  </a:cubicBezTo>
                  <a:close/>
                  <a:moveTo>
                    <a:pt x="1606585" y="489034"/>
                  </a:moveTo>
                  <a:cubicBezTo>
                    <a:pt x="1616272" y="479347"/>
                    <a:pt x="1584052" y="493878"/>
                    <a:pt x="1570574" y="493878"/>
                  </a:cubicBezTo>
                  <a:cubicBezTo>
                    <a:pt x="1557517" y="493878"/>
                    <a:pt x="1536037" y="513462"/>
                    <a:pt x="1530141" y="513462"/>
                  </a:cubicBezTo>
                  <a:cubicBezTo>
                    <a:pt x="1536037" y="513462"/>
                    <a:pt x="1555201" y="502933"/>
                    <a:pt x="1570995" y="502933"/>
                  </a:cubicBezTo>
                  <a:cubicBezTo>
                    <a:pt x="1587000" y="502933"/>
                    <a:pt x="1613323" y="489034"/>
                    <a:pt x="1606585" y="489034"/>
                  </a:cubicBezTo>
                  <a:close/>
                  <a:moveTo>
                    <a:pt x="1772739" y="471134"/>
                  </a:moveTo>
                  <a:cubicBezTo>
                    <a:pt x="1785164" y="471134"/>
                    <a:pt x="1747679" y="485454"/>
                    <a:pt x="1739045" y="485454"/>
                  </a:cubicBezTo>
                  <a:cubicBezTo>
                    <a:pt x="1747258" y="485454"/>
                    <a:pt x="1731464" y="504618"/>
                    <a:pt x="1724093" y="504618"/>
                  </a:cubicBezTo>
                  <a:cubicBezTo>
                    <a:pt x="1730832" y="504618"/>
                    <a:pt x="1753365" y="497036"/>
                    <a:pt x="1744310" y="497036"/>
                  </a:cubicBezTo>
                  <a:cubicBezTo>
                    <a:pt x="1753365" y="497036"/>
                    <a:pt x="1745784" y="482085"/>
                    <a:pt x="1755471" y="482085"/>
                  </a:cubicBezTo>
                  <a:cubicBezTo>
                    <a:pt x="1766001" y="482295"/>
                    <a:pt x="1778004" y="471134"/>
                    <a:pt x="1772739" y="47113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1" name="Forme libre : forme 45">
              <a:extLst>
                <a:ext uri="{FF2B5EF4-FFF2-40B4-BE49-F238E27FC236}">
                  <a16:creationId xmlns:a16="http://schemas.microsoft.com/office/drawing/2014/main" id="{E3269434-F018-4626-BDBA-9861B441D2B9}"/>
                </a:ext>
              </a:extLst>
            </p:cNvPr>
            <p:cNvSpPr/>
            <p:nvPr/>
          </p:nvSpPr>
          <p:spPr>
            <a:xfrm>
              <a:off x="257416" y="2952215"/>
              <a:ext cx="38100" cy="20225"/>
            </a:xfrm>
            <a:custGeom>
              <a:avLst/>
              <a:gdLst>
                <a:gd name="connsiteX0" fmla="*/ 37906 w 38100"/>
                <a:gd name="connsiteY0" fmla="*/ 0 h 20225"/>
                <a:gd name="connsiteX1" fmla="*/ 22112 w 38100"/>
                <a:gd name="connsiteY1" fmla="*/ 4844 h 20225"/>
                <a:gd name="connsiteX2" fmla="*/ 0 w 38100"/>
                <a:gd name="connsiteY2" fmla="*/ 16426 h 20225"/>
                <a:gd name="connsiteX3" fmla="*/ 10108 w 38100"/>
                <a:gd name="connsiteY3" fmla="*/ 17900 h 20225"/>
                <a:gd name="connsiteX4" fmla="*/ 37906 w 38100"/>
                <a:gd name="connsiteY4" fmla="*/ 0 h 20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20225">
                  <a:moveTo>
                    <a:pt x="37906" y="0"/>
                  </a:moveTo>
                  <a:cubicBezTo>
                    <a:pt x="39801" y="0"/>
                    <a:pt x="27377" y="4844"/>
                    <a:pt x="22112" y="4844"/>
                  </a:cubicBezTo>
                  <a:cubicBezTo>
                    <a:pt x="16215" y="4844"/>
                    <a:pt x="3369" y="9687"/>
                    <a:pt x="0" y="16426"/>
                  </a:cubicBezTo>
                  <a:cubicBezTo>
                    <a:pt x="0" y="24007"/>
                    <a:pt x="2948" y="17900"/>
                    <a:pt x="10108" y="17900"/>
                  </a:cubicBezTo>
                  <a:cubicBezTo>
                    <a:pt x="13267" y="11582"/>
                    <a:pt x="37906" y="4844"/>
                    <a:pt x="37906"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2" name="Forme libre : forme 46">
              <a:extLst>
                <a:ext uri="{FF2B5EF4-FFF2-40B4-BE49-F238E27FC236}">
                  <a16:creationId xmlns:a16="http://schemas.microsoft.com/office/drawing/2014/main" id="{75AECF6A-2411-4134-8CF8-D0544862DA39}"/>
                </a:ext>
              </a:extLst>
            </p:cNvPr>
            <p:cNvSpPr/>
            <p:nvPr/>
          </p:nvSpPr>
          <p:spPr>
            <a:xfrm>
              <a:off x="113670" y="3074975"/>
              <a:ext cx="106962" cy="61294"/>
            </a:xfrm>
            <a:custGeom>
              <a:avLst/>
              <a:gdLst>
                <a:gd name="connsiteX0" fmla="*/ 92783 w 106962"/>
                <a:gd name="connsiteY0" fmla="*/ 2119 h 61294"/>
                <a:gd name="connsiteX1" fmla="*/ 80779 w 106962"/>
                <a:gd name="connsiteY1" fmla="*/ 10332 h 61294"/>
                <a:gd name="connsiteX2" fmla="*/ 63932 w 106962"/>
                <a:gd name="connsiteY2" fmla="*/ 17492 h 61294"/>
                <a:gd name="connsiteX3" fmla="*/ 52982 w 106962"/>
                <a:gd name="connsiteY3" fmla="*/ 27180 h 61294"/>
                <a:gd name="connsiteX4" fmla="*/ 36135 w 106962"/>
                <a:gd name="connsiteY4" fmla="*/ 39183 h 61294"/>
                <a:gd name="connsiteX5" fmla="*/ 25605 w 106962"/>
                <a:gd name="connsiteY5" fmla="*/ 40236 h 61294"/>
                <a:gd name="connsiteX6" fmla="*/ 11285 w 106962"/>
                <a:gd name="connsiteY6" fmla="*/ 52240 h 61294"/>
                <a:gd name="connsiteX7" fmla="*/ 756 w 106962"/>
                <a:gd name="connsiteY7" fmla="*/ 61295 h 61294"/>
                <a:gd name="connsiteX8" fmla="*/ 18445 w 106962"/>
                <a:gd name="connsiteY8" fmla="*/ 50765 h 61294"/>
                <a:gd name="connsiteX9" fmla="*/ 32344 w 106962"/>
                <a:gd name="connsiteY9" fmla="*/ 43605 h 61294"/>
                <a:gd name="connsiteX10" fmla="*/ 49612 w 106962"/>
                <a:gd name="connsiteY10" fmla="*/ 33076 h 61294"/>
                <a:gd name="connsiteX11" fmla="*/ 63932 w 106962"/>
                <a:gd name="connsiteY11" fmla="*/ 25916 h 61294"/>
                <a:gd name="connsiteX12" fmla="*/ 77831 w 106962"/>
                <a:gd name="connsiteY12" fmla="*/ 15386 h 61294"/>
                <a:gd name="connsiteX13" fmla="*/ 87939 w 106962"/>
                <a:gd name="connsiteY13" fmla="*/ 8227 h 61294"/>
                <a:gd name="connsiteX14" fmla="*/ 105629 w 106962"/>
                <a:gd name="connsiteY14" fmla="*/ 14 h 61294"/>
                <a:gd name="connsiteX15" fmla="*/ 92783 w 106962"/>
                <a:gd name="connsiteY15" fmla="*/ 2119 h 61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6962" h="61294">
                  <a:moveTo>
                    <a:pt x="92783" y="2119"/>
                  </a:moveTo>
                  <a:cubicBezTo>
                    <a:pt x="97205" y="2119"/>
                    <a:pt x="84570" y="10332"/>
                    <a:pt x="80779" y="10332"/>
                  </a:cubicBezTo>
                  <a:cubicBezTo>
                    <a:pt x="84149" y="10332"/>
                    <a:pt x="67302" y="10754"/>
                    <a:pt x="63932" y="17492"/>
                  </a:cubicBezTo>
                  <a:cubicBezTo>
                    <a:pt x="56351" y="17492"/>
                    <a:pt x="57825" y="27180"/>
                    <a:pt x="52982" y="27180"/>
                  </a:cubicBezTo>
                  <a:cubicBezTo>
                    <a:pt x="58246" y="27180"/>
                    <a:pt x="41399" y="39183"/>
                    <a:pt x="36135" y="39183"/>
                  </a:cubicBezTo>
                  <a:cubicBezTo>
                    <a:pt x="40978" y="39183"/>
                    <a:pt x="30870" y="40236"/>
                    <a:pt x="25605" y="40236"/>
                  </a:cubicBezTo>
                  <a:cubicBezTo>
                    <a:pt x="31291" y="40236"/>
                    <a:pt x="16550" y="52240"/>
                    <a:pt x="11285" y="52240"/>
                  </a:cubicBezTo>
                  <a:cubicBezTo>
                    <a:pt x="16129" y="52240"/>
                    <a:pt x="-4088" y="61295"/>
                    <a:pt x="756" y="61295"/>
                  </a:cubicBezTo>
                  <a:cubicBezTo>
                    <a:pt x="6020" y="61295"/>
                    <a:pt x="25184" y="50765"/>
                    <a:pt x="18445" y="50765"/>
                  </a:cubicBezTo>
                  <a:cubicBezTo>
                    <a:pt x="24131" y="50765"/>
                    <a:pt x="25605" y="43605"/>
                    <a:pt x="32344" y="43605"/>
                  </a:cubicBezTo>
                  <a:cubicBezTo>
                    <a:pt x="39083" y="43605"/>
                    <a:pt x="55509" y="33076"/>
                    <a:pt x="49612" y="33076"/>
                  </a:cubicBezTo>
                  <a:cubicBezTo>
                    <a:pt x="55298" y="33076"/>
                    <a:pt x="54456" y="25916"/>
                    <a:pt x="63932" y="25916"/>
                  </a:cubicBezTo>
                  <a:cubicBezTo>
                    <a:pt x="72988" y="25916"/>
                    <a:pt x="83096" y="15386"/>
                    <a:pt x="77831" y="15386"/>
                  </a:cubicBezTo>
                  <a:cubicBezTo>
                    <a:pt x="83096" y="15386"/>
                    <a:pt x="94257" y="8227"/>
                    <a:pt x="87939" y="8227"/>
                  </a:cubicBezTo>
                  <a:cubicBezTo>
                    <a:pt x="93625" y="8227"/>
                    <a:pt x="110051" y="14"/>
                    <a:pt x="105629" y="14"/>
                  </a:cubicBezTo>
                  <a:cubicBezTo>
                    <a:pt x="110051" y="-197"/>
                    <a:pt x="102891" y="2119"/>
                    <a:pt x="92783" y="211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3" name="Forme libre : forme 47">
              <a:extLst>
                <a:ext uri="{FF2B5EF4-FFF2-40B4-BE49-F238E27FC236}">
                  <a16:creationId xmlns:a16="http://schemas.microsoft.com/office/drawing/2014/main" id="{1A81BD54-0D85-4DFF-B77F-A7BABE544C03}"/>
                </a:ext>
              </a:extLst>
            </p:cNvPr>
            <p:cNvSpPr/>
            <p:nvPr/>
          </p:nvSpPr>
          <p:spPr>
            <a:xfrm>
              <a:off x="-50043" y="3202394"/>
              <a:ext cx="31822" cy="19374"/>
            </a:xfrm>
            <a:custGeom>
              <a:avLst/>
              <a:gdLst>
                <a:gd name="connsiteX0" fmla="*/ 30746 w 31822"/>
                <a:gd name="connsiteY0" fmla="*/ 0 h 19374"/>
                <a:gd name="connsiteX1" fmla="*/ 13478 w 31822"/>
                <a:gd name="connsiteY1" fmla="*/ 13478 h 19374"/>
                <a:gd name="connsiteX2" fmla="*/ 0 w 31822"/>
                <a:gd name="connsiteY2" fmla="*/ 18321 h 19374"/>
                <a:gd name="connsiteX3" fmla="*/ 2948 w 31822"/>
                <a:gd name="connsiteY3" fmla="*/ 19374 h 19374"/>
                <a:gd name="connsiteX4" fmla="*/ 18742 w 31822"/>
                <a:gd name="connsiteY4" fmla="*/ 12214 h 19374"/>
                <a:gd name="connsiteX5" fmla="*/ 30746 w 31822"/>
                <a:gd name="connsiteY5" fmla="*/ 0 h 1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822" h="19374">
                  <a:moveTo>
                    <a:pt x="30746" y="0"/>
                  </a:moveTo>
                  <a:cubicBezTo>
                    <a:pt x="36011" y="0"/>
                    <a:pt x="20638" y="13478"/>
                    <a:pt x="13478" y="13478"/>
                  </a:cubicBezTo>
                  <a:cubicBezTo>
                    <a:pt x="19795" y="13478"/>
                    <a:pt x="4844" y="18321"/>
                    <a:pt x="0" y="18321"/>
                  </a:cubicBezTo>
                  <a:cubicBezTo>
                    <a:pt x="4844" y="18321"/>
                    <a:pt x="-3369" y="19374"/>
                    <a:pt x="2948" y="19374"/>
                  </a:cubicBezTo>
                  <a:cubicBezTo>
                    <a:pt x="9687" y="19374"/>
                    <a:pt x="24007" y="12214"/>
                    <a:pt x="18742" y="12214"/>
                  </a:cubicBezTo>
                  <a:cubicBezTo>
                    <a:pt x="24007" y="12004"/>
                    <a:pt x="33062" y="0"/>
                    <a:pt x="30746"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4" name="Forme libre : forme 48">
              <a:extLst>
                <a:ext uri="{FF2B5EF4-FFF2-40B4-BE49-F238E27FC236}">
                  <a16:creationId xmlns:a16="http://schemas.microsoft.com/office/drawing/2014/main" id="{0E7F78B7-2C67-437B-8B12-7179AFCAEA51}"/>
                </a:ext>
              </a:extLst>
            </p:cNvPr>
            <p:cNvSpPr/>
            <p:nvPr/>
          </p:nvSpPr>
          <p:spPr>
            <a:xfrm>
              <a:off x="-97847" y="3230403"/>
              <a:ext cx="29497" cy="19374"/>
            </a:xfrm>
            <a:custGeom>
              <a:avLst/>
              <a:gdLst>
                <a:gd name="connsiteX0" fmla="*/ 26113 w 29497"/>
                <a:gd name="connsiteY0" fmla="*/ 0 h 19374"/>
                <a:gd name="connsiteX1" fmla="*/ 25271 w 29497"/>
                <a:gd name="connsiteY1" fmla="*/ 4844 h 19374"/>
                <a:gd name="connsiteX2" fmla="*/ 7581 w 29497"/>
                <a:gd name="connsiteY2" fmla="*/ 16005 h 19374"/>
                <a:gd name="connsiteX3" fmla="*/ 0 w 29497"/>
                <a:gd name="connsiteY3" fmla="*/ 19374 h 19374"/>
                <a:gd name="connsiteX4" fmla="*/ 9687 w 29497"/>
                <a:gd name="connsiteY4" fmla="*/ 10319 h 19374"/>
                <a:gd name="connsiteX5" fmla="*/ 16426 w 29497"/>
                <a:gd name="connsiteY5" fmla="*/ 8424 h 19374"/>
                <a:gd name="connsiteX6" fmla="*/ 26113 w 29497"/>
                <a:gd name="connsiteY6" fmla="*/ 0 h 19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97" h="19374">
                  <a:moveTo>
                    <a:pt x="26113" y="0"/>
                  </a:moveTo>
                  <a:cubicBezTo>
                    <a:pt x="30957" y="0"/>
                    <a:pt x="30535" y="4844"/>
                    <a:pt x="25271" y="4844"/>
                  </a:cubicBezTo>
                  <a:cubicBezTo>
                    <a:pt x="29693" y="4844"/>
                    <a:pt x="13688" y="16005"/>
                    <a:pt x="7581" y="16005"/>
                  </a:cubicBezTo>
                  <a:cubicBezTo>
                    <a:pt x="12425" y="16005"/>
                    <a:pt x="6528" y="19374"/>
                    <a:pt x="0" y="19374"/>
                  </a:cubicBezTo>
                  <a:cubicBezTo>
                    <a:pt x="6739" y="19374"/>
                    <a:pt x="12425" y="10319"/>
                    <a:pt x="9687" y="10319"/>
                  </a:cubicBezTo>
                  <a:cubicBezTo>
                    <a:pt x="12425" y="10319"/>
                    <a:pt x="23586" y="8424"/>
                    <a:pt x="16426" y="8424"/>
                  </a:cubicBezTo>
                  <a:cubicBezTo>
                    <a:pt x="20427" y="8002"/>
                    <a:pt x="32431" y="0"/>
                    <a:pt x="26113"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5" name="Forme libre : forme 49">
              <a:extLst>
                <a:ext uri="{FF2B5EF4-FFF2-40B4-BE49-F238E27FC236}">
                  <a16:creationId xmlns:a16="http://schemas.microsoft.com/office/drawing/2014/main" id="{16B72469-816A-49B8-B5A0-714AC98A600B}"/>
                </a:ext>
              </a:extLst>
            </p:cNvPr>
            <p:cNvSpPr/>
            <p:nvPr/>
          </p:nvSpPr>
          <p:spPr>
            <a:xfrm>
              <a:off x="-126909" y="3252515"/>
              <a:ext cx="16885" cy="9055"/>
            </a:xfrm>
            <a:custGeom>
              <a:avLst/>
              <a:gdLst>
                <a:gd name="connsiteX0" fmla="*/ 11161 w 16885"/>
                <a:gd name="connsiteY0" fmla="*/ 1895 h 9055"/>
                <a:gd name="connsiteX1" fmla="*/ 6318 w 16885"/>
                <a:gd name="connsiteY1" fmla="*/ 2738 h 9055"/>
                <a:gd name="connsiteX2" fmla="*/ 0 w 16885"/>
                <a:gd name="connsiteY2" fmla="*/ 7581 h 9055"/>
                <a:gd name="connsiteX3" fmla="*/ 4212 w 16885"/>
                <a:gd name="connsiteY3" fmla="*/ 9055 h 9055"/>
                <a:gd name="connsiteX4" fmla="*/ 10951 w 16885"/>
                <a:gd name="connsiteY4" fmla="*/ 5265 h 9055"/>
                <a:gd name="connsiteX5" fmla="*/ 13688 w 16885"/>
                <a:gd name="connsiteY5" fmla="*/ 5265 h 9055"/>
                <a:gd name="connsiteX6" fmla="*/ 16215 w 16885"/>
                <a:gd name="connsiteY6" fmla="*/ 0 h 9055"/>
                <a:gd name="connsiteX7" fmla="*/ 11161 w 16885"/>
                <a:gd name="connsiteY7" fmla="*/ 1895 h 9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885" h="9055">
                  <a:moveTo>
                    <a:pt x="11161" y="1895"/>
                  </a:moveTo>
                  <a:cubicBezTo>
                    <a:pt x="13478" y="1895"/>
                    <a:pt x="8213" y="2738"/>
                    <a:pt x="6318" y="2738"/>
                  </a:cubicBezTo>
                  <a:cubicBezTo>
                    <a:pt x="9266" y="2738"/>
                    <a:pt x="2527" y="7581"/>
                    <a:pt x="0" y="7581"/>
                  </a:cubicBezTo>
                  <a:cubicBezTo>
                    <a:pt x="2316" y="7581"/>
                    <a:pt x="7160" y="9055"/>
                    <a:pt x="4212" y="9055"/>
                  </a:cubicBezTo>
                  <a:cubicBezTo>
                    <a:pt x="6528" y="9055"/>
                    <a:pt x="12425" y="5265"/>
                    <a:pt x="10951" y="5265"/>
                  </a:cubicBezTo>
                  <a:cubicBezTo>
                    <a:pt x="12425" y="5265"/>
                    <a:pt x="14741" y="5265"/>
                    <a:pt x="13688" y="5265"/>
                  </a:cubicBezTo>
                  <a:cubicBezTo>
                    <a:pt x="15162" y="5265"/>
                    <a:pt x="18111" y="0"/>
                    <a:pt x="16215" y="0"/>
                  </a:cubicBezTo>
                  <a:cubicBezTo>
                    <a:pt x="18742" y="0"/>
                    <a:pt x="13478" y="1895"/>
                    <a:pt x="11161" y="189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6" name="Forme libre : forme 50">
              <a:extLst>
                <a:ext uri="{FF2B5EF4-FFF2-40B4-BE49-F238E27FC236}">
                  <a16:creationId xmlns:a16="http://schemas.microsoft.com/office/drawing/2014/main" id="{1142C5AD-D20D-47A8-AE65-700C0DC46936}"/>
                </a:ext>
              </a:extLst>
            </p:cNvPr>
            <p:cNvSpPr/>
            <p:nvPr/>
          </p:nvSpPr>
          <p:spPr>
            <a:xfrm>
              <a:off x="12922" y="3184284"/>
              <a:ext cx="14056" cy="5685"/>
            </a:xfrm>
            <a:custGeom>
              <a:avLst/>
              <a:gdLst>
                <a:gd name="connsiteX0" fmla="*/ 11582 w 14056"/>
                <a:gd name="connsiteY0" fmla="*/ 0 h 5685"/>
                <a:gd name="connsiteX1" fmla="*/ 0 w 14056"/>
                <a:gd name="connsiteY1" fmla="*/ 5265 h 5685"/>
                <a:gd name="connsiteX2" fmla="*/ 4844 w 14056"/>
                <a:gd name="connsiteY2" fmla="*/ 5686 h 5685"/>
                <a:gd name="connsiteX3" fmla="*/ 13057 w 14056"/>
                <a:gd name="connsiteY3" fmla="*/ 1474 h 5685"/>
                <a:gd name="connsiteX4" fmla="*/ 11582 w 14056"/>
                <a:gd name="connsiteY4" fmla="*/ 0 h 56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056" h="5685">
                  <a:moveTo>
                    <a:pt x="11582" y="0"/>
                  </a:moveTo>
                  <a:cubicBezTo>
                    <a:pt x="15794" y="0"/>
                    <a:pt x="2948" y="5265"/>
                    <a:pt x="0" y="5265"/>
                  </a:cubicBezTo>
                  <a:cubicBezTo>
                    <a:pt x="3369" y="5265"/>
                    <a:pt x="8634" y="5686"/>
                    <a:pt x="4844" y="5686"/>
                  </a:cubicBezTo>
                  <a:cubicBezTo>
                    <a:pt x="7792" y="5686"/>
                    <a:pt x="14531" y="1474"/>
                    <a:pt x="13057" y="1474"/>
                  </a:cubicBezTo>
                  <a:cubicBezTo>
                    <a:pt x="13899" y="1474"/>
                    <a:pt x="15373" y="0"/>
                    <a:pt x="11582"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7" name="Forme libre : forme 51">
              <a:extLst>
                <a:ext uri="{FF2B5EF4-FFF2-40B4-BE49-F238E27FC236}">
                  <a16:creationId xmlns:a16="http://schemas.microsoft.com/office/drawing/2014/main" id="{F60A8CF4-0D52-4F5B-B212-6BCBD5D743E0}"/>
                </a:ext>
              </a:extLst>
            </p:cNvPr>
            <p:cNvSpPr/>
            <p:nvPr/>
          </p:nvSpPr>
          <p:spPr>
            <a:xfrm>
              <a:off x="2186170" y="3106577"/>
              <a:ext cx="348731" cy="76022"/>
            </a:xfrm>
            <a:custGeom>
              <a:avLst/>
              <a:gdLst>
                <a:gd name="connsiteX0" fmla="*/ 263478 w 348731"/>
                <a:gd name="connsiteY0" fmla="*/ 23797 h 76022"/>
                <a:gd name="connsiteX1" fmla="*/ 243262 w 348731"/>
                <a:gd name="connsiteY1" fmla="*/ 4633 h 76022"/>
                <a:gd name="connsiteX2" fmla="*/ 210620 w 348731"/>
                <a:gd name="connsiteY2" fmla="*/ 7581 h 76022"/>
                <a:gd name="connsiteX3" fmla="*/ 174610 w 348731"/>
                <a:gd name="connsiteY3" fmla="*/ 0 h 76022"/>
                <a:gd name="connsiteX4" fmla="*/ 130386 w 348731"/>
                <a:gd name="connsiteY4" fmla="*/ 4212 h 76022"/>
                <a:gd name="connsiteX5" fmla="*/ 68473 w 348731"/>
                <a:gd name="connsiteY5" fmla="*/ 20638 h 76022"/>
                <a:gd name="connsiteX6" fmla="*/ 18563 w 348731"/>
                <a:gd name="connsiteY6" fmla="*/ 52437 h 76022"/>
                <a:gd name="connsiteX7" fmla="*/ 8034 w 348731"/>
                <a:gd name="connsiteY7" fmla="*/ 69284 h 76022"/>
                <a:gd name="connsiteX8" fmla="*/ 44676 w 348731"/>
                <a:gd name="connsiteY8" fmla="*/ 50120 h 76022"/>
                <a:gd name="connsiteX9" fmla="*/ 72053 w 348731"/>
                <a:gd name="connsiteY9" fmla="*/ 32852 h 76022"/>
                <a:gd name="connsiteX10" fmla="*/ 109959 w 348731"/>
                <a:gd name="connsiteY10" fmla="*/ 24639 h 76022"/>
                <a:gd name="connsiteX11" fmla="*/ 99851 w 348731"/>
                <a:gd name="connsiteY11" fmla="*/ 32852 h 76022"/>
                <a:gd name="connsiteX12" fmla="*/ 126385 w 348731"/>
                <a:gd name="connsiteY12" fmla="*/ 40012 h 76022"/>
                <a:gd name="connsiteX13" fmla="*/ 157552 w 348731"/>
                <a:gd name="connsiteY13" fmla="*/ 34326 h 76022"/>
                <a:gd name="connsiteX14" fmla="*/ 187877 w 348731"/>
                <a:gd name="connsiteY14" fmla="*/ 36642 h 76022"/>
                <a:gd name="connsiteX15" fmla="*/ 210410 w 348731"/>
                <a:gd name="connsiteY15" fmla="*/ 39591 h 76022"/>
                <a:gd name="connsiteX16" fmla="*/ 229152 w 348731"/>
                <a:gd name="connsiteY16" fmla="*/ 55806 h 76022"/>
                <a:gd name="connsiteX17" fmla="*/ 254634 w 348731"/>
                <a:gd name="connsiteY17" fmla="*/ 56227 h 76022"/>
                <a:gd name="connsiteX18" fmla="*/ 229573 w 348731"/>
                <a:gd name="connsiteY18" fmla="*/ 76023 h 76022"/>
                <a:gd name="connsiteX19" fmla="*/ 270849 w 348731"/>
                <a:gd name="connsiteY19" fmla="*/ 67388 h 76022"/>
                <a:gd name="connsiteX20" fmla="*/ 312124 w 348731"/>
                <a:gd name="connsiteY20" fmla="*/ 59597 h 76022"/>
                <a:gd name="connsiteX21" fmla="*/ 346661 w 348731"/>
                <a:gd name="connsiteY21" fmla="*/ 47593 h 76022"/>
                <a:gd name="connsiteX22" fmla="*/ 338869 w 348731"/>
                <a:gd name="connsiteY22" fmla="*/ 35589 h 76022"/>
                <a:gd name="connsiteX23" fmla="*/ 310018 w 348731"/>
                <a:gd name="connsiteY23" fmla="*/ 37064 h 76022"/>
                <a:gd name="connsiteX24" fmla="*/ 310440 w 348731"/>
                <a:gd name="connsiteY24" fmla="*/ 25481 h 76022"/>
                <a:gd name="connsiteX25" fmla="*/ 278220 w 348731"/>
                <a:gd name="connsiteY25" fmla="*/ 28851 h 76022"/>
                <a:gd name="connsiteX26" fmla="*/ 263478 w 348731"/>
                <a:gd name="connsiteY26" fmla="*/ 23797 h 76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48731" h="76022">
                  <a:moveTo>
                    <a:pt x="263478" y="23797"/>
                  </a:moveTo>
                  <a:cubicBezTo>
                    <a:pt x="263478" y="12214"/>
                    <a:pt x="251054" y="4633"/>
                    <a:pt x="243262" y="4633"/>
                  </a:cubicBezTo>
                  <a:cubicBezTo>
                    <a:pt x="235049" y="4633"/>
                    <a:pt x="227468" y="7581"/>
                    <a:pt x="210620" y="7581"/>
                  </a:cubicBezTo>
                  <a:cubicBezTo>
                    <a:pt x="194405" y="7581"/>
                    <a:pt x="186192" y="0"/>
                    <a:pt x="174610" y="0"/>
                  </a:cubicBezTo>
                  <a:cubicBezTo>
                    <a:pt x="163448" y="0"/>
                    <a:pt x="145759" y="4212"/>
                    <a:pt x="130386" y="4212"/>
                  </a:cubicBezTo>
                  <a:cubicBezTo>
                    <a:pt x="115013" y="4212"/>
                    <a:pt x="75212" y="8002"/>
                    <a:pt x="68473" y="20638"/>
                  </a:cubicBezTo>
                  <a:cubicBezTo>
                    <a:pt x="53521" y="20638"/>
                    <a:pt x="32883" y="52437"/>
                    <a:pt x="18563" y="52437"/>
                  </a:cubicBezTo>
                  <a:cubicBezTo>
                    <a:pt x="4664" y="52437"/>
                    <a:pt x="-9235" y="69284"/>
                    <a:pt x="8034" y="69284"/>
                  </a:cubicBezTo>
                  <a:cubicBezTo>
                    <a:pt x="24881" y="69284"/>
                    <a:pt x="51626" y="50120"/>
                    <a:pt x="44676" y="50120"/>
                  </a:cubicBezTo>
                  <a:cubicBezTo>
                    <a:pt x="51415" y="50120"/>
                    <a:pt x="58154" y="32852"/>
                    <a:pt x="72053" y="32852"/>
                  </a:cubicBezTo>
                  <a:cubicBezTo>
                    <a:pt x="86373" y="32852"/>
                    <a:pt x="114381" y="24639"/>
                    <a:pt x="109959" y="24639"/>
                  </a:cubicBezTo>
                  <a:cubicBezTo>
                    <a:pt x="113749" y="24639"/>
                    <a:pt x="91638" y="32852"/>
                    <a:pt x="99851" y="32852"/>
                  </a:cubicBezTo>
                  <a:cubicBezTo>
                    <a:pt x="103641" y="25271"/>
                    <a:pt x="114802" y="40012"/>
                    <a:pt x="126385" y="40012"/>
                  </a:cubicBezTo>
                  <a:cubicBezTo>
                    <a:pt x="137335" y="40012"/>
                    <a:pt x="148918" y="34326"/>
                    <a:pt x="157552" y="34326"/>
                  </a:cubicBezTo>
                  <a:cubicBezTo>
                    <a:pt x="167239" y="34326"/>
                    <a:pt x="173346" y="36642"/>
                    <a:pt x="187877" y="36642"/>
                  </a:cubicBezTo>
                  <a:cubicBezTo>
                    <a:pt x="202829" y="36642"/>
                    <a:pt x="210410" y="30957"/>
                    <a:pt x="210410" y="39591"/>
                  </a:cubicBezTo>
                  <a:cubicBezTo>
                    <a:pt x="206619" y="47172"/>
                    <a:pt x="216727" y="55806"/>
                    <a:pt x="229152" y="55806"/>
                  </a:cubicBezTo>
                  <a:cubicBezTo>
                    <a:pt x="234838" y="44645"/>
                    <a:pt x="261794" y="56227"/>
                    <a:pt x="254634" y="56227"/>
                  </a:cubicBezTo>
                  <a:cubicBezTo>
                    <a:pt x="262215" y="56227"/>
                    <a:pt x="221360" y="76023"/>
                    <a:pt x="229573" y="76023"/>
                  </a:cubicBezTo>
                  <a:cubicBezTo>
                    <a:pt x="238208" y="76023"/>
                    <a:pt x="258003" y="67388"/>
                    <a:pt x="270849" y="67388"/>
                  </a:cubicBezTo>
                  <a:cubicBezTo>
                    <a:pt x="277588" y="54964"/>
                    <a:pt x="300121" y="59597"/>
                    <a:pt x="312124" y="59597"/>
                  </a:cubicBezTo>
                  <a:cubicBezTo>
                    <a:pt x="317810" y="48646"/>
                    <a:pt x="351926" y="47593"/>
                    <a:pt x="346661" y="47593"/>
                  </a:cubicBezTo>
                  <a:cubicBezTo>
                    <a:pt x="352347" y="47593"/>
                    <a:pt x="345187" y="35589"/>
                    <a:pt x="338869" y="35589"/>
                  </a:cubicBezTo>
                  <a:cubicBezTo>
                    <a:pt x="332130" y="35589"/>
                    <a:pt x="317810" y="37064"/>
                    <a:pt x="310018" y="37064"/>
                  </a:cubicBezTo>
                  <a:cubicBezTo>
                    <a:pt x="301805" y="37064"/>
                    <a:pt x="322443" y="25481"/>
                    <a:pt x="310440" y="25481"/>
                  </a:cubicBezTo>
                  <a:cubicBezTo>
                    <a:pt x="299489" y="25481"/>
                    <a:pt x="288328" y="28851"/>
                    <a:pt x="278220" y="28851"/>
                  </a:cubicBezTo>
                  <a:cubicBezTo>
                    <a:pt x="274008" y="37274"/>
                    <a:pt x="269796" y="23797"/>
                    <a:pt x="263478" y="2379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8" name="Forme libre : forme 52">
              <a:extLst>
                <a:ext uri="{FF2B5EF4-FFF2-40B4-BE49-F238E27FC236}">
                  <a16:creationId xmlns:a16="http://schemas.microsoft.com/office/drawing/2014/main" id="{DFCBD0C1-B2BB-47D4-88D8-1B39E8E434C1}"/>
                </a:ext>
              </a:extLst>
            </p:cNvPr>
            <p:cNvSpPr/>
            <p:nvPr/>
          </p:nvSpPr>
          <p:spPr>
            <a:xfrm>
              <a:off x="2379522" y="3224085"/>
              <a:ext cx="65072" cy="21490"/>
            </a:xfrm>
            <a:custGeom>
              <a:avLst/>
              <a:gdLst>
                <a:gd name="connsiteX0" fmla="*/ 62966 w 65072"/>
                <a:gd name="connsiteY0" fmla="*/ 1895 h 21490"/>
                <a:gd name="connsiteX1" fmla="*/ 32641 w 65072"/>
                <a:gd name="connsiteY1" fmla="*/ 0 h 21490"/>
                <a:gd name="connsiteX2" fmla="*/ 0 w 65072"/>
                <a:gd name="connsiteY2" fmla="*/ 8634 h 21490"/>
                <a:gd name="connsiteX3" fmla="*/ 12425 w 65072"/>
                <a:gd name="connsiteY3" fmla="*/ 16426 h 21490"/>
                <a:gd name="connsiteX4" fmla="*/ 33694 w 65072"/>
                <a:gd name="connsiteY4" fmla="*/ 19374 h 21490"/>
                <a:gd name="connsiteX5" fmla="*/ 50541 w 65072"/>
                <a:gd name="connsiteY5" fmla="*/ 10740 h 21490"/>
                <a:gd name="connsiteX6" fmla="*/ 62966 w 65072"/>
                <a:gd name="connsiteY6" fmla="*/ 1895 h 21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72" h="21490">
                  <a:moveTo>
                    <a:pt x="62966" y="1895"/>
                  </a:moveTo>
                  <a:cubicBezTo>
                    <a:pt x="70547" y="1895"/>
                    <a:pt x="44645" y="0"/>
                    <a:pt x="32641" y="0"/>
                  </a:cubicBezTo>
                  <a:cubicBezTo>
                    <a:pt x="24007" y="8634"/>
                    <a:pt x="6739" y="8634"/>
                    <a:pt x="0" y="8634"/>
                  </a:cubicBezTo>
                  <a:cubicBezTo>
                    <a:pt x="6318" y="8634"/>
                    <a:pt x="2948" y="16426"/>
                    <a:pt x="12425" y="16426"/>
                  </a:cubicBezTo>
                  <a:cubicBezTo>
                    <a:pt x="22954" y="16426"/>
                    <a:pt x="27377" y="25481"/>
                    <a:pt x="33694" y="19374"/>
                  </a:cubicBezTo>
                  <a:cubicBezTo>
                    <a:pt x="42328" y="19374"/>
                    <a:pt x="43381" y="10740"/>
                    <a:pt x="50541" y="10740"/>
                  </a:cubicBezTo>
                  <a:cubicBezTo>
                    <a:pt x="57280" y="10529"/>
                    <a:pt x="70126" y="1895"/>
                    <a:pt x="62966" y="189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69" name="Forme libre : forme 53">
              <a:extLst>
                <a:ext uri="{FF2B5EF4-FFF2-40B4-BE49-F238E27FC236}">
                  <a16:creationId xmlns:a16="http://schemas.microsoft.com/office/drawing/2014/main" id="{D34E345C-A461-4BA7-BF2B-3B210A403C3E}"/>
                </a:ext>
              </a:extLst>
            </p:cNvPr>
            <p:cNvSpPr/>
            <p:nvPr/>
          </p:nvSpPr>
          <p:spPr>
            <a:xfrm>
              <a:off x="2243163" y="3157328"/>
              <a:ext cx="25485" cy="15794"/>
            </a:xfrm>
            <a:custGeom>
              <a:avLst/>
              <a:gdLst>
                <a:gd name="connsiteX0" fmla="*/ 16744 w 25485"/>
                <a:gd name="connsiteY0" fmla="*/ 0 h 15794"/>
                <a:gd name="connsiteX1" fmla="*/ 3267 w 25485"/>
                <a:gd name="connsiteY1" fmla="*/ 2316 h 15794"/>
                <a:gd name="connsiteX2" fmla="*/ 4320 w 25485"/>
                <a:gd name="connsiteY2" fmla="*/ 15794 h 15794"/>
                <a:gd name="connsiteX3" fmla="*/ 24536 w 25485"/>
                <a:gd name="connsiteY3" fmla="*/ 5265 h 15794"/>
                <a:gd name="connsiteX4" fmla="*/ 16744 w 25485"/>
                <a:gd name="connsiteY4" fmla="*/ 0 h 15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485" h="15794">
                  <a:moveTo>
                    <a:pt x="16744" y="0"/>
                  </a:moveTo>
                  <a:cubicBezTo>
                    <a:pt x="20114" y="0"/>
                    <a:pt x="11059" y="2316"/>
                    <a:pt x="3267" y="2316"/>
                  </a:cubicBezTo>
                  <a:cubicBezTo>
                    <a:pt x="10427" y="2316"/>
                    <a:pt x="-7894" y="15794"/>
                    <a:pt x="4320" y="15794"/>
                  </a:cubicBezTo>
                  <a:cubicBezTo>
                    <a:pt x="16744" y="15794"/>
                    <a:pt x="28327" y="5265"/>
                    <a:pt x="24536" y="5265"/>
                  </a:cubicBezTo>
                  <a:cubicBezTo>
                    <a:pt x="27906" y="5265"/>
                    <a:pt x="21588" y="0"/>
                    <a:pt x="16744"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0" name="Forme libre : forme 54">
              <a:extLst>
                <a:ext uri="{FF2B5EF4-FFF2-40B4-BE49-F238E27FC236}">
                  <a16:creationId xmlns:a16="http://schemas.microsoft.com/office/drawing/2014/main" id="{E909D43C-6C4C-4264-8A41-B0C46B87C099}"/>
                </a:ext>
              </a:extLst>
            </p:cNvPr>
            <p:cNvSpPr/>
            <p:nvPr/>
          </p:nvSpPr>
          <p:spPr>
            <a:xfrm>
              <a:off x="2516853" y="3139630"/>
              <a:ext cx="212783" cy="74974"/>
            </a:xfrm>
            <a:custGeom>
              <a:avLst/>
              <a:gdLst>
                <a:gd name="connsiteX0" fmla="*/ 69258 w 212783"/>
                <a:gd name="connsiteY0" fmla="*/ 45496 h 74974"/>
                <a:gd name="connsiteX1" fmla="*/ 36195 w 212783"/>
                <a:gd name="connsiteY1" fmla="*/ 54552 h 74974"/>
                <a:gd name="connsiteX2" fmla="*/ 3975 w 212783"/>
                <a:gd name="connsiteY2" fmla="*/ 58342 h 74974"/>
                <a:gd name="connsiteX3" fmla="*/ 2922 w 212783"/>
                <a:gd name="connsiteY3" fmla="*/ 69293 h 74974"/>
                <a:gd name="connsiteX4" fmla="*/ 34089 w 212783"/>
                <a:gd name="connsiteY4" fmla="*/ 63607 h 74974"/>
                <a:gd name="connsiteX5" fmla="*/ 61045 w 212783"/>
                <a:gd name="connsiteY5" fmla="*/ 63607 h 74974"/>
                <a:gd name="connsiteX6" fmla="*/ 87368 w 212783"/>
                <a:gd name="connsiteY6" fmla="*/ 56447 h 74974"/>
                <a:gd name="connsiteX7" fmla="*/ 93265 w 212783"/>
                <a:gd name="connsiteY7" fmla="*/ 72241 h 74974"/>
                <a:gd name="connsiteX8" fmla="*/ 116851 w 212783"/>
                <a:gd name="connsiteY8" fmla="*/ 47181 h 74974"/>
                <a:gd name="connsiteX9" fmla="*/ 142753 w 212783"/>
                <a:gd name="connsiteY9" fmla="*/ 46339 h 74974"/>
                <a:gd name="connsiteX10" fmla="*/ 160443 w 212783"/>
                <a:gd name="connsiteY10" fmla="*/ 38126 h 74974"/>
                <a:gd name="connsiteX11" fmla="*/ 191610 w 212783"/>
                <a:gd name="connsiteY11" fmla="*/ 34756 h 74974"/>
                <a:gd name="connsiteX12" fmla="*/ 207825 w 212783"/>
                <a:gd name="connsiteY12" fmla="*/ 16435 h 74974"/>
                <a:gd name="connsiteX13" fmla="*/ 172657 w 212783"/>
                <a:gd name="connsiteY13" fmla="*/ 14118 h 74974"/>
                <a:gd name="connsiteX14" fmla="*/ 162127 w 212783"/>
                <a:gd name="connsiteY14" fmla="*/ 1062 h 74974"/>
                <a:gd name="connsiteX15" fmla="*/ 122326 w 212783"/>
                <a:gd name="connsiteY15" fmla="*/ 2957 h 74974"/>
                <a:gd name="connsiteX16" fmla="*/ 91159 w 212783"/>
                <a:gd name="connsiteY16" fmla="*/ 12013 h 74974"/>
                <a:gd name="connsiteX17" fmla="*/ 64835 w 212783"/>
                <a:gd name="connsiteY17" fmla="*/ 11591 h 74974"/>
                <a:gd name="connsiteX18" fmla="*/ 43355 w 212783"/>
                <a:gd name="connsiteY18" fmla="*/ 16856 h 74974"/>
                <a:gd name="connsiteX19" fmla="*/ 51568 w 212783"/>
                <a:gd name="connsiteY19" fmla="*/ 29281 h 74974"/>
                <a:gd name="connsiteX20" fmla="*/ 60202 w 212783"/>
                <a:gd name="connsiteY20" fmla="*/ 38757 h 74974"/>
                <a:gd name="connsiteX21" fmla="*/ 69258 w 212783"/>
                <a:gd name="connsiteY21" fmla="*/ 45496 h 74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12783" h="74974">
                  <a:moveTo>
                    <a:pt x="69258" y="45496"/>
                  </a:moveTo>
                  <a:cubicBezTo>
                    <a:pt x="75575" y="45496"/>
                    <a:pt x="46303" y="54552"/>
                    <a:pt x="36195" y="54552"/>
                  </a:cubicBezTo>
                  <a:cubicBezTo>
                    <a:pt x="26087" y="54552"/>
                    <a:pt x="10293" y="58342"/>
                    <a:pt x="3975" y="58342"/>
                  </a:cubicBezTo>
                  <a:cubicBezTo>
                    <a:pt x="9240" y="58342"/>
                    <a:pt x="-6133" y="86772"/>
                    <a:pt x="2922" y="69293"/>
                  </a:cubicBezTo>
                  <a:cubicBezTo>
                    <a:pt x="22085" y="69293"/>
                    <a:pt x="25876" y="63607"/>
                    <a:pt x="34089" y="63607"/>
                  </a:cubicBezTo>
                  <a:cubicBezTo>
                    <a:pt x="41881" y="63607"/>
                    <a:pt x="46514" y="63607"/>
                    <a:pt x="61045" y="63607"/>
                  </a:cubicBezTo>
                  <a:cubicBezTo>
                    <a:pt x="74522" y="63607"/>
                    <a:pt x="94107" y="56447"/>
                    <a:pt x="87368" y="56447"/>
                  </a:cubicBezTo>
                  <a:cubicBezTo>
                    <a:pt x="94107" y="56447"/>
                    <a:pt x="83156" y="72241"/>
                    <a:pt x="93265" y="72241"/>
                  </a:cubicBezTo>
                  <a:cubicBezTo>
                    <a:pt x="102952" y="72241"/>
                    <a:pt x="102320" y="47181"/>
                    <a:pt x="116851" y="47181"/>
                  </a:cubicBezTo>
                  <a:cubicBezTo>
                    <a:pt x="131803" y="47181"/>
                    <a:pt x="129907" y="46339"/>
                    <a:pt x="142753" y="46339"/>
                  </a:cubicBezTo>
                  <a:cubicBezTo>
                    <a:pt x="155810" y="46339"/>
                    <a:pt x="168234" y="38126"/>
                    <a:pt x="160443" y="38126"/>
                  </a:cubicBezTo>
                  <a:cubicBezTo>
                    <a:pt x="166760" y="38126"/>
                    <a:pt x="181080" y="34756"/>
                    <a:pt x="191610" y="34756"/>
                  </a:cubicBezTo>
                  <a:cubicBezTo>
                    <a:pt x="202560" y="34756"/>
                    <a:pt x="221935" y="16435"/>
                    <a:pt x="207825" y="16435"/>
                  </a:cubicBezTo>
                  <a:cubicBezTo>
                    <a:pt x="193505" y="16435"/>
                    <a:pt x="168024" y="24227"/>
                    <a:pt x="172657" y="14118"/>
                  </a:cubicBezTo>
                  <a:cubicBezTo>
                    <a:pt x="172657" y="2536"/>
                    <a:pt x="170761" y="1062"/>
                    <a:pt x="162127" y="1062"/>
                  </a:cubicBezTo>
                  <a:cubicBezTo>
                    <a:pt x="153072" y="1062"/>
                    <a:pt x="127591" y="-2307"/>
                    <a:pt x="122326" y="2957"/>
                  </a:cubicBezTo>
                  <a:cubicBezTo>
                    <a:pt x="115166" y="2957"/>
                    <a:pt x="97898" y="-833"/>
                    <a:pt x="91159" y="12013"/>
                  </a:cubicBezTo>
                  <a:cubicBezTo>
                    <a:pt x="76207" y="12013"/>
                    <a:pt x="70100" y="11591"/>
                    <a:pt x="64835" y="11591"/>
                  </a:cubicBezTo>
                  <a:cubicBezTo>
                    <a:pt x="70731" y="11591"/>
                    <a:pt x="55359" y="16856"/>
                    <a:pt x="43355" y="16856"/>
                  </a:cubicBezTo>
                  <a:cubicBezTo>
                    <a:pt x="54937" y="16856"/>
                    <a:pt x="48620" y="35599"/>
                    <a:pt x="51568" y="29281"/>
                  </a:cubicBezTo>
                  <a:cubicBezTo>
                    <a:pt x="58728" y="29281"/>
                    <a:pt x="66520" y="38757"/>
                    <a:pt x="60202" y="38757"/>
                  </a:cubicBezTo>
                  <a:cubicBezTo>
                    <a:pt x="66309" y="39179"/>
                    <a:pt x="71153" y="45496"/>
                    <a:pt x="69258" y="4549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1" name="Forme libre : forme 55">
              <a:extLst>
                <a:ext uri="{FF2B5EF4-FFF2-40B4-BE49-F238E27FC236}">
                  <a16:creationId xmlns:a16="http://schemas.microsoft.com/office/drawing/2014/main" id="{DB3D655C-58F0-40F9-9CF1-4E01615EC76C}"/>
                </a:ext>
              </a:extLst>
            </p:cNvPr>
            <p:cNvSpPr/>
            <p:nvPr/>
          </p:nvSpPr>
          <p:spPr>
            <a:xfrm>
              <a:off x="2764895" y="3152214"/>
              <a:ext cx="55541" cy="20908"/>
            </a:xfrm>
            <a:custGeom>
              <a:avLst/>
              <a:gdLst>
                <a:gd name="connsiteX0" fmla="*/ 52232 w 55541"/>
                <a:gd name="connsiteY0" fmla="*/ 5535 h 20908"/>
                <a:gd name="connsiteX1" fmla="*/ 8429 w 55541"/>
                <a:gd name="connsiteY1" fmla="*/ 7431 h 20908"/>
                <a:gd name="connsiteX2" fmla="*/ 3586 w 55541"/>
                <a:gd name="connsiteY2" fmla="*/ 20908 h 20908"/>
                <a:gd name="connsiteX3" fmla="*/ 44019 w 55541"/>
                <a:gd name="connsiteY3" fmla="*/ 17539 h 20908"/>
                <a:gd name="connsiteX4" fmla="*/ 52232 w 55541"/>
                <a:gd name="connsiteY4" fmla="*/ 5535 h 209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541" h="20908">
                  <a:moveTo>
                    <a:pt x="52232" y="5535"/>
                  </a:moveTo>
                  <a:cubicBezTo>
                    <a:pt x="45072" y="-7942"/>
                    <a:pt x="15800" y="7431"/>
                    <a:pt x="8429" y="7431"/>
                  </a:cubicBezTo>
                  <a:cubicBezTo>
                    <a:pt x="15589" y="7431"/>
                    <a:pt x="-8839" y="20908"/>
                    <a:pt x="3586" y="20908"/>
                  </a:cubicBezTo>
                  <a:cubicBezTo>
                    <a:pt x="15168" y="20908"/>
                    <a:pt x="52021" y="17539"/>
                    <a:pt x="44019" y="17539"/>
                  </a:cubicBezTo>
                  <a:cubicBezTo>
                    <a:pt x="52232" y="17539"/>
                    <a:pt x="60234" y="5535"/>
                    <a:pt x="52232" y="553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2" name="Forme libre : forme 56">
              <a:extLst>
                <a:ext uri="{FF2B5EF4-FFF2-40B4-BE49-F238E27FC236}">
                  <a16:creationId xmlns:a16="http://schemas.microsoft.com/office/drawing/2014/main" id="{CBE34FA1-5821-4D55-B98C-098D37BF8AC1}"/>
                </a:ext>
              </a:extLst>
            </p:cNvPr>
            <p:cNvSpPr/>
            <p:nvPr/>
          </p:nvSpPr>
          <p:spPr>
            <a:xfrm>
              <a:off x="2900232" y="3364759"/>
              <a:ext cx="32937" cy="25481"/>
            </a:xfrm>
            <a:custGeom>
              <a:avLst/>
              <a:gdLst>
                <a:gd name="connsiteX0" fmla="*/ 31245 w 32937"/>
                <a:gd name="connsiteY0" fmla="*/ 0 h 25481"/>
                <a:gd name="connsiteX1" fmla="*/ 11449 w 32937"/>
                <a:gd name="connsiteY1" fmla="*/ 5265 h 25481"/>
                <a:gd name="connsiteX2" fmla="*/ 1973 w 32937"/>
                <a:gd name="connsiteY2" fmla="*/ 25481 h 25481"/>
                <a:gd name="connsiteX3" fmla="*/ 25559 w 32937"/>
                <a:gd name="connsiteY3" fmla="*/ 20638 h 25481"/>
                <a:gd name="connsiteX4" fmla="*/ 31245 w 32937"/>
                <a:gd name="connsiteY4" fmla="*/ 0 h 25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37" h="25481">
                  <a:moveTo>
                    <a:pt x="31245" y="0"/>
                  </a:moveTo>
                  <a:cubicBezTo>
                    <a:pt x="38405" y="0"/>
                    <a:pt x="21136" y="5265"/>
                    <a:pt x="11449" y="5265"/>
                  </a:cubicBezTo>
                  <a:cubicBezTo>
                    <a:pt x="21979" y="5265"/>
                    <a:pt x="-7714" y="25481"/>
                    <a:pt x="1973" y="25481"/>
                  </a:cubicBezTo>
                  <a:cubicBezTo>
                    <a:pt x="12081" y="25481"/>
                    <a:pt x="33140" y="20638"/>
                    <a:pt x="25559" y="20638"/>
                  </a:cubicBezTo>
                  <a:cubicBezTo>
                    <a:pt x="32508" y="20638"/>
                    <a:pt x="34404" y="0"/>
                    <a:pt x="3124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3" name="Forme libre : forme 57">
              <a:extLst>
                <a:ext uri="{FF2B5EF4-FFF2-40B4-BE49-F238E27FC236}">
                  <a16:creationId xmlns:a16="http://schemas.microsoft.com/office/drawing/2014/main" id="{0FBF19E8-C096-4AD8-8186-D2E312013E70}"/>
                </a:ext>
              </a:extLst>
            </p:cNvPr>
            <p:cNvSpPr/>
            <p:nvPr/>
          </p:nvSpPr>
          <p:spPr>
            <a:xfrm>
              <a:off x="2953588" y="3238195"/>
              <a:ext cx="12372" cy="12424"/>
            </a:xfrm>
            <a:custGeom>
              <a:avLst/>
              <a:gdLst>
                <a:gd name="connsiteX0" fmla="*/ 9056 w 12372"/>
                <a:gd name="connsiteY0" fmla="*/ 2316 h 12424"/>
                <a:gd name="connsiteX1" fmla="*/ 0 w 12372"/>
                <a:gd name="connsiteY1" fmla="*/ 0 h 12424"/>
                <a:gd name="connsiteX2" fmla="*/ 7160 w 12372"/>
                <a:gd name="connsiteY2" fmla="*/ 12425 h 12424"/>
                <a:gd name="connsiteX3" fmla="*/ 9056 w 12372"/>
                <a:gd name="connsiteY3" fmla="*/ 2316 h 12424"/>
              </a:gdLst>
              <a:ahLst/>
              <a:cxnLst>
                <a:cxn ang="0">
                  <a:pos x="connsiteX0" y="connsiteY0"/>
                </a:cxn>
                <a:cxn ang="0">
                  <a:pos x="connsiteX1" y="connsiteY1"/>
                </a:cxn>
                <a:cxn ang="0">
                  <a:pos x="connsiteX2" y="connsiteY2"/>
                </a:cxn>
                <a:cxn ang="0">
                  <a:pos x="connsiteX3" y="connsiteY3"/>
                </a:cxn>
              </a:cxnLst>
              <a:rect l="l" t="t" r="r" b="b"/>
              <a:pathLst>
                <a:path w="12372" h="12424">
                  <a:moveTo>
                    <a:pt x="9056" y="2316"/>
                  </a:moveTo>
                  <a:cubicBezTo>
                    <a:pt x="12425" y="2316"/>
                    <a:pt x="5265" y="0"/>
                    <a:pt x="0" y="0"/>
                  </a:cubicBezTo>
                  <a:cubicBezTo>
                    <a:pt x="5686" y="0"/>
                    <a:pt x="-1474" y="12425"/>
                    <a:pt x="7160" y="12425"/>
                  </a:cubicBezTo>
                  <a:cubicBezTo>
                    <a:pt x="14741" y="12214"/>
                    <a:pt x="12846" y="2316"/>
                    <a:pt x="9056" y="231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4" name="Forme libre : forme 58">
              <a:extLst>
                <a:ext uri="{FF2B5EF4-FFF2-40B4-BE49-F238E27FC236}">
                  <a16:creationId xmlns:a16="http://schemas.microsoft.com/office/drawing/2014/main" id="{4F5A0528-F898-48F7-88CD-EAEA2DCBE831}"/>
                </a:ext>
              </a:extLst>
            </p:cNvPr>
            <p:cNvSpPr/>
            <p:nvPr/>
          </p:nvSpPr>
          <p:spPr>
            <a:xfrm>
              <a:off x="2944112" y="3186600"/>
              <a:ext cx="19986" cy="21269"/>
            </a:xfrm>
            <a:custGeom>
              <a:avLst/>
              <a:gdLst>
                <a:gd name="connsiteX0" fmla="*/ 6949 w 19986"/>
                <a:gd name="connsiteY0" fmla="*/ 16426 h 21269"/>
                <a:gd name="connsiteX1" fmla="*/ 18111 w 19986"/>
                <a:gd name="connsiteY1" fmla="*/ 9687 h 21269"/>
                <a:gd name="connsiteX2" fmla="*/ 12846 w 19986"/>
                <a:gd name="connsiteY2" fmla="*/ 0 h 21269"/>
                <a:gd name="connsiteX3" fmla="*/ 842 w 19986"/>
                <a:gd name="connsiteY3" fmla="*/ 8213 h 21269"/>
                <a:gd name="connsiteX4" fmla="*/ 0 w 19986"/>
                <a:gd name="connsiteY4" fmla="*/ 21270 h 21269"/>
                <a:gd name="connsiteX5" fmla="*/ 6949 w 19986"/>
                <a:gd name="connsiteY5" fmla="*/ 16426 h 2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 h="21269">
                  <a:moveTo>
                    <a:pt x="6949" y="16426"/>
                  </a:moveTo>
                  <a:cubicBezTo>
                    <a:pt x="12214" y="16426"/>
                    <a:pt x="22322" y="9687"/>
                    <a:pt x="18111" y="9687"/>
                  </a:cubicBezTo>
                  <a:cubicBezTo>
                    <a:pt x="22322" y="9687"/>
                    <a:pt x="18953" y="0"/>
                    <a:pt x="12846" y="0"/>
                  </a:cubicBezTo>
                  <a:cubicBezTo>
                    <a:pt x="19585" y="0"/>
                    <a:pt x="4633" y="8213"/>
                    <a:pt x="842" y="8213"/>
                  </a:cubicBezTo>
                  <a:cubicBezTo>
                    <a:pt x="4633" y="8213"/>
                    <a:pt x="4212" y="21270"/>
                    <a:pt x="0" y="21270"/>
                  </a:cubicBezTo>
                  <a:cubicBezTo>
                    <a:pt x="4422" y="21059"/>
                    <a:pt x="11372" y="16426"/>
                    <a:pt x="6949" y="1642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5" name="Forme libre : forme 59">
              <a:extLst>
                <a:ext uri="{FF2B5EF4-FFF2-40B4-BE49-F238E27FC236}">
                  <a16:creationId xmlns:a16="http://schemas.microsoft.com/office/drawing/2014/main" id="{2C1B40B6-741F-42EA-B0DD-1C2CDD94D9F6}"/>
                </a:ext>
              </a:extLst>
            </p:cNvPr>
            <p:cNvSpPr/>
            <p:nvPr/>
          </p:nvSpPr>
          <p:spPr>
            <a:xfrm>
              <a:off x="2950219" y="3215030"/>
              <a:ext cx="10493" cy="13898"/>
            </a:xfrm>
            <a:custGeom>
              <a:avLst/>
              <a:gdLst>
                <a:gd name="connsiteX0" fmla="*/ 7581 w 10493"/>
                <a:gd name="connsiteY0" fmla="*/ 0 h 13898"/>
                <a:gd name="connsiteX1" fmla="*/ 0 w 10493"/>
                <a:gd name="connsiteY1" fmla="*/ 8634 h 13898"/>
                <a:gd name="connsiteX2" fmla="*/ 6739 w 10493"/>
                <a:gd name="connsiteY2" fmla="*/ 13899 h 13898"/>
                <a:gd name="connsiteX3" fmla="*/ 7581 w 10493"/>
                <a:gd name="connsiteY3" fmla="*/ 0 h 13898"/>
              </a:gdLst>
              <a:ahLst/>
              <a:cxnLst>
                <a:cxn ang="0">
                  <a:pos x="connsiteX0" y="connsiteY0"/>
                </a:cxn>
                <a:cxn ang="0">
                  <a:pos x="connsiteX1" y="connsiteY1"/>
                </a:cxn>
                <a:cxn ang="0">
                  <a:pos x="connsiteX2" y="connsiteY2"/>
                </a:cxn>
                <a:cxn ang="0">
                  <a:pos x="connsiteX3" y="connsiteY3"/>
                </a:cxn>
              </a:cxnLst>
              <a:rect l="l" t="t" r="r" b="b"/>
              <a:pathLst>
                <a:path w="10493" h="13898">
                  <a:moveTo>
                    <a:pt x="7581" y="0"/>
                  </a:moveTo>
                  <a:cubicBezTo>
                    <a:pt x="10951" y="0"/>
                    <a:pt x="5265" y="8634"/>
                    <a:pt x="0" y="8634"/>
                  </a:cubicBezTo>
                  <a:cubicBezTo>
                    <a:pt x="5686" y="8634"/>
                    <a:pt x="10951" y="13899"/>
                    <a:pt x="6739" y="13899"/>
                  </a:cubicBezTo>
                  <a:cubicBezTo>
                    <a:pt x="11372" y="13899"/>
                    <a:pt x="11793" y="0"/>
                    <a:pt x="7581"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6" name="Forme libre : forme 60">
              <a:extLst>
                <a:ext uri="{FF2B5EF4-FFF2-40B4-BE49-F238E27FC236}">
                  <a16:creationId xmlns:a16="http://schemas.microsoft.com/office/drawing/2014/main" id="{17AD6A5E-AA48-4748-B594-4198A5C9A989}"/>
                </a:ext>
              </a:extLst>
            </p:cNvPr>
            <p:cNvSpPr/>
            <p:nvPr/>
          </p:nvSpPr>
          <p:spPr>
            <a:xfrm>
              <a:off x="2425620" y="3030133"/>
              <a:ext cx="33737" cy="45697"/>
            </a:xfrm>
            <a:custGeom>
              <a:avLst/>
              <a:gdLst>
                <a:gd name="connsiteX0" fmla="*/ 25081 w 33737"/>
                <a:gd name="connsiteY0" fmla="*/ 13478 h 45697"/>
                <a:gd name="connsiteX1" fmla="*/ 21291 w 33737"/>
                <a:gd name="connsiteY1" fmla="*/ 0 h 45697"/>
                <a:gd name="connsiteX2" fmla="*/ 10761 w 33737"/>
                <a:gd name="connsiteY2" fmla="*/ 7792 h 45697"/>
                <a:gd name="connsiteX3" fmla="*/ 2548 w 33737"/>
                <a:gd name="connsiteY3" fmla="*/ 24639 h 45697"/>
                <a:gd name="connsiteX4" fmla="*/ 19816 w 33737"/>
                <a:gd name="connsiteY4" fmla="*/ 31378 h 45697"/>
                <a:gd name="connsiteX5" fmla="*/ 16447 w 33737"/>
                <a:gd name="connsiteY5" fmla="*/ 45698 h 45697"/>
                <a:gd name="connsiteX6" fmla="*/ 30978 w 33737"/>
                <a:gd name="connsiteY6" fmla="*/ 32641 h 45697"/>
                <a:gd name="connsiteX7" fmla="*/ 25081 w 33737"/>
                <a:gd name="connsiteY7" fmla="*/ 13478 h 45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737" h="45697">
                  <a:moveTo>
                    <a:pt x="25081" y="13478"/>
                  </a:moveTo>
                  <a:cubicBezTo>
                    <a:pt x="31820" y="13478"/>
                    <a:pt x="25081" y="0"/>
                    <a:pt x="21291" y="0"/>
                  </a:cubicBezTo>
                  <a:cubicBezTo>
                    <a:pt x="25713" y="0"/>
                    <a:pt x="16026" y="7792"/>
                    <a:pt x="10761" y="7792"/>
                  </a:cubicBezTo>
                  <a:cubicBezTo>
                    <a:pt x="16026" y="7792"/>
                    <a:pt x="-7560" y="24639"/>
                    <a:pt x="2548" y="24639"/>
                  </a:cubicBezTo>
                  <a:cubicBezTo>
                    <a:pt x="6760" y="16005"/>
                    <a:pt x="26134" y="31378"/>
                    <a:pt x="19816" y="31378"/>
                  </a:cubicBezTo>
                  <a:cubicBezTo>
                    <a:pt x="25924" y="31378"/>
                    <a:pt x="25081" y="45698"/>
                    <a:pt x="16447" y="45698"/>
                  </a:cubicBezTo>
                  <a:cubicBezTo>
                    <a:pt x="25713" y="45698"/>
                    <a:pt x="38138" y="32641"/>
                    <a:pt x="30978" y="32641"/>
                  </a:cubicBezTo>
                  <a:cubicBezTo>
                    <a:pt x="37506" y="32641"/>
                    <a:pt x="31188" y="13478"/>
                    <a:pt x="25081" y="1347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7" name="Forme libre : forme 61">
              <a:extLst>
                <a:ext uri="{FF2B5EF4-FFF2-40B4-BE49-F238E27FC236}">
                  <a16:creationId xmlns:a16="http://schemas.microsoft.com/office/drawing/2014/main" id="{BA7384D7-5B6B-4F42-A5CA-635222AC21F5}"/>
                </a:ext>
              </a:extLst>
            </p:cNvPr>
            <p:cNvSpPr/>
            <p:nvPr/>
          </p:nvSpPr>
          <p:spPr>
            <a:xfrm>
              <a:off x="2433854" y="2983382"/>
              <a:ext cx="41445" cy="16004"/>
            </a:xfrm>
            <a:custGeom>
              <a:avLst/>
              <a:gdLst>
                <a:gd name="connsiteX0" fmla="*/ 21059 w 41445"/>
                <a:gd name="connsiteY0" fmla="*/ 5475 h 16004"/>
                <a:gd name="connsiteX1" fmla="*/ 0 w 41445"/>
                <a:gd name="connsiteY1" fmla="*/ 7371 h 16004"/>
                <a:gd name="connsiteX2" fmla="*/ 7160 w 41445"/>
                <a:gd name="connsiteY2" fmla="*/ 16005 h 16004"/>
                <a:gd name="connsiteX3" fmla="*/ 27377 w 41445"/>
                <a:gd name="connsiteY3" fmla="*/ 12635 h 16004"/>
                <a:gd name="connsiteX4" fmla="*/ 38538 w 41445"/>
                <a:gd name="connsiteY4" fmla="*/ 11582 h 16004"/>
                <a:gd name="connsiteX5" fmla="*/ 40433 w 41445"/>
                <a:gd name="connsiteY5" fmla="*/ 0 h 16004"/>
                <a:gd name="connsiteX6" fmla="*/ 21059 w 41445"/>
                <a:gd name="connsiteY6" fmla="*/ 5475 h 16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445" h="16004">
                  <a:moveTo>
                    <a:pt x="21059" y="5475"/>
                  </a:moveTo>
                  <a:cubicBezTo>
                    <a:pt x="29272" y="5475"/>
                    <a:pt x="8002" y="7371"/>
                    <a:pt x="0" y="7371"/>
                  </a:cubicBezTo>
                  <a:cubicBezTo>
                    <a:pt x="8634" y="7371"/>
                    <a:pt x="-421" y="16005"/>
                    <a:pt x="7160" y="16005"/>
                  </a:cubicBezTo>
                  <a:cubicBezTo>
                    <a:pt x="14320" y="16005"/>
                    <a:pt x="32641" y="12635"/>
                    <a:pt x="27377" y="12635"/>
                  </a:cubicBezTo>
                  <a:cubicBezTo>
                    <a:pt x="33062" y="12635"/>
                    <a:pt x="46540" y="11582"/>
                    <a:pt x="38538" y="11582"/>
                  </a:cubicBezTo>
                  <a:cubicBezTo>
                    <a:pt x="30746" y="11582"/>
                    <a:pt x="45277" y="0"/>
                    <a:pt x="40433" y="0"/>
                  </a:cubicBezTo>
                  <a:cubicBezTo>
                    <a:pt x="45066" y="0"/>
                    <a:pt x="27798" y="5475"/>
                    <a:pt x="21059" y="547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8" name="Forme libre : forme 62">
              <a:extLst>
                <a:ext uri="{FF2B5EF4-FFF2-40B4-BE49-F238E27FC236}">
                  <a16:creationId xmlns:a16="http://schemas.microsoft.com/office/drawing/2014/main" id="{56A75DF0-3A7C-448A-94B7-EA55D2B645E2}"/>
                </a:ext>
              </a:extLst>
            </p:cNvPr>
            <p:cNvSpPr/>
            <p:nvPr/>
          </p:nvSpPr>
          <p:spPr>
            <a:xfrm>
              <a:off x="2624017" y="3085307"/>
              <a:ext cx="34905" cy="12424"/>
            </a:xfrm>
            <a:custGeom>
              <a:avLst/>
              <a:gdLst>
                <a:gd name="connsiteX0" fmla="*/ 17268 w 34905"/>
                <a:gd name="connsiteY0" fmla="*/ 2316 h 12424"/>
                <a:gd name="connsiteX1" fmla="*/ 0 w 34905"/>
                <a:gd name="connsiteY1" fmla="*/ 2316 h 12424"/>
                <a:gd name="connsiteX2" fmla="*/ 3790 w 34905"/>
                <a:gd name="connsiteY2" fmla="*/ 10529 h 12424"/>
                <a:gd name="connsiteX3" fmla="*/ 14320 w 34905"/>
                <a:gd name="connsiteY3" fmla="*/ 12425 h 12424"/>
                <a:gd name="connsiteX4" fmla="*/ 22954 w 34905"/>
                <a:gd name="connsiteY4" fmla="*/ 6739 h 12424"/>
                <a:gd name="connsiteX5" fmla="*/ 33062 w 34905"/>
                <a:gd name="connsiteY5" fmla="*/ 0 h 12424"/>
                <a:gd name="connsiteX6" fmla="*/ 17268 w 34905"/>
                <a:gd name="connsiteY6" fmla="*/ 2316 h 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905" h="12424">
                  <a:moveTo>
                    <a:pt x="17268" y="2316"/>
                  </a:moveTo>
                  <a:cubicBezTo>
                    <a:pt x="22533" y="2316"/>
                    <a:pt x="6317" y="2316"/>
                    <a:pt x="0" y="2316"/>
                  </a:cubicBezTo>
                  <a:cubicBezTo>
                    <a:pt x="6317" y="2316"/>
                    <a:pt x="-4844" y="10529"/>
                    <a:pt x="3790" y="10529"/>
                  </a:cubicBezTo>
                  <a:cubicBezTo>
                    <a:pt x="12425" y="10529"/>
                    <a:pt x="19585" y="12425"/>
                    <a:pt x="14320" y="12425"/>
                  </a:cubicBezTo>
                  <a:cubicBezTo>
                    <a:pt x="19163" y="12425"/>
                    <a:pt x="29272" y="6739"/>
                    <a:pt x="22954" y="6739"/>
                  </a:cubicBezTo>
                  <a:cubicBezTo>
                    <a:pt x="30114" y="6739"/>
                    <a:pt x="38748" y="0"/>
                    <a:pt x="33062" y="0"/>
                  </a:cubicBezTo>
                  <a:cubicBezTo>
                    <a:pt x="38959" y="0"/>
                    <a:pt x="22533" y="2316"/>
                    <a:pt x="17268" y="231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79" name="Forme libre : forme 63">
              <a:extLst>
                <a:ext uri="{FF2B5EF4-FFF2-40B4-BE49-F238E27FC236}">
                  <a16:creationId xmlns:a16="http://schemas.microsoft.com/office/drawing/2014/main" id="{55281322-2274-4388-B520-B211F8639DC8}"/>
                </a:ext>
              </a:extLst>
            </p:cNvPr>
            <p:cNvSpPr/>
            <p:nvPr/>
          </p:nvSpPr>
          <p:spPr>
            <a:xfrm>
              <a:off x="2546730" y="3076252"/>
              <a:ext cx="26969" cy="19795"/>
            </a:xfrm>
            <a:custGeom>
              <a:avLst/>
              <a:gdLst>
                <a:gd name="connsiteX0" fmla="*/ 17690 w 26969"/>
                <a:gd name="connsiteY0" fmla="*/ 10108 h 19795"/>
                <a:gd name="connsiteX1" fmla="*/ 0 w 26969"/>
                <a:gd name="connsiteY1" fmla="*/ 19795 h 19795"/>
                <a:gd name="connsiteX2" fmla="*/ 3791 w 26969"/>
                <a:gd name="connsiteY2" fmla="*/ 8213 h 19795"/>
                <a:gd name="connsiteX3" fmla="*/ 10108 w 26969"/>
                <a:gd name="connsiteY3" fmla="*/ 0 h 19795"/>
                <a:gd name="connsiteX4" fmla="*/ 24428 w 26969"/>
                <a:gd name="connsiteY4" fmla="*/ 0 h 19795"/>
                <a:gd name="connsiteX5" fmla="*/ 17690 w 26969"/>
                <a:gd name="connsiteY5" fmla="*/ 10108 h 19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969" h="19795">
                  <a:moveTo>
                    <a:pt x="17690" y="10108"/>
                  </a:moveTo>
                  <a:cubicBezTo>
                    <a:pt x="24007" y="10108"/>
                    <a:pt x="1895" y="19795"/>
                    <a:pt x="0" y="19795"/>
                  </a:cubicBezTo>
                  <a:cubicBezTo>
                    <a:pt x="1895" y="19795"/>
                    <a:pt x="8213" y="8213"/>
                    <a:pt x="3791" y="8213"/>
                  </a:cubicBezTo>
                  <a:cubicBezTo>
                    <a:pt x="7160" y="8213"/>
                    <a:pt x="842" y="0"/>
                    <a:pt x="10108" y="0"/>
                  </a:cubicBezTo>
                  <a:cubicBezTo>
                    <a:pt x="18742" y="0"/>
                    <a:pt x="31167" y="0"/>
                    <a:pt x="24428" y="0"/>
                  </a:cubicBezTo>
                  <a:cubicBezTo>
                    <a:pt x="31167" y="0"/>
                    <a:pt x="22954" y="10108"/>
                    <a:pt x="17690" y="1010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0" name="Forme libre : forme 64">
              <a:extLst>
                <a:ext uri="{FF2B5EF4-FFF2-40B4-BE49-F238E27FC236}">
                  <a16:creationId xmlns:a16="http://schemas.microsoft.com/office/drawing/2014/main" id="{89409FD8-823A-4F77-BEFE-5156058CCDD1}"/>
                </a:ext>
              </a:extLst>
            </p:cNvPr>
            <p:cNvSpPr/>
            <p:nvPr/>
          </p:nvSpPr>
          <p:spPr>
            <a:xfrm>
              <a:off x="2556839" y="3111631"/>
              <a:ext cx="34275" cy="15373"/>
            </a:xfrm>
            <a:custGeom>
              <a:avLst/>
              <a:gdLst>
                <a:gd name="connsiteX0" fmla="*/ 27377 w 34275"/>
                <a:gd name="connsiteY0" fmla="*/ 0 h 15373"/>
                <a:gd name="connsiteX1" fmla="*/ 13899 w 34275"/>
                <a:gd name="connsiteY1" fmla="*/ 7160 h 15373"/>
                <a:gd name="connsiteX2" fmla="*/ 0 w 34275"/>
                <a:gd name="connsiteY2" fmla="*/ 15373 h 15373"/>
                <a:gd name="connsiteX3" fmla="*/ 21059 w 34275"/>
                <a:gd name="connsiteY3" fmla="*/ 12425 h 15373"/>
                <a:gd name="connsiteX4" fmla="*/ 32010 w 34275"/>
                <a:gd name="connsiteY4" fmla="*/ 1263 h 15373"/>
                <a:gd name="connsiteX5" fmla="*/ 27377 w 34275"/>
                <a:gd name="connsiteY5" fmla="*/ 0 h 15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4275" h="15373">
                  <a:moveTo>
                    <a:pt x="27377" y="0"/>
                  </a:moveTo>
                  <a:cubicBezTo>
                    <a:pt x="31588" y="0"/>
                    <a:pt x="20638" y="7160"/>
                    <a:pt x="13899" y="7160"/>
                  </a:cubicBezTo>
                  <a:cubicBezTo>
                    <a:pt x="21059" y="7160"/>
                    <a:pt x="2316" y="15373"/>
                    <a:pt x="0" y="15373"/>
                  </a:cubicBezTo>
                  <a:cubicBezTo>
                    <a:pt x="2316" y="15373"/>
                    <a:pt x="27798" y="12425"/>
                    <a:pt x="21059" y="12425"/>
                  </a:cubicBezTo>
                  <a:cubicBezTo>
                    <a:pt x="27798" y="12425"/>
                    <a:pt x="36432" y="1263"/>
                    <a:pt x="32010" y="1263"/>
                  </a:cubicBezTo>
                  <a:cubicBezTo>
                    <a:pt x="36432" y="1474"/>
                    <a:pt x="34115" y="0"/>
                    <a:pt x="27377"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1" name="Forme libre : forme 65">
              <a:extLst>
                <a:ext uri="{FF2B5EF4-FFF2-40B4-BE49-F238E27FC236}">
                  <a16:creationId xmlns:a16="http://schemas.microsoft.com/office/drawing/2014/main" id="{46D5C7C4-39A6-4E51-81DE-32CF971DD8E7}"/>
                </a:ext>
              </a:extLst>
            </p:cNvPr>
            <p:cNvSpPr/>
            <p:nvPr/>
          </p:nvSpPr>
          <p:spPr>
            <a:xfrm>
              <a:off x="2481869" y="2986330"/>
              <a:ext cx="17163" cy="16425"/>
            </a:xfrm>
            <a:custGeom>
              <a:avLst/>
              <a:gdLst>
                <a:gd name="connsiteX0" fmla="*/ 0 w 17163"/>
                <a:gd name="connsiteY0" fmla="*/ 0 h 16425"/>
                <a:gd name="connsiteX1" fmla="*/ 1474 w 17163"/>
                <a:gd name="connsiteY1" fmla="*/ 13056 h 16425"/>
                <a:gd name="connsiteX2" fmla="*/ 8634 w 17163"/>
                <a:gd name="connsiteY2" fmla="*/ 16426 h 16425"/>
                <a:gd name="connsiteX3" fmla="*/ 15794 w 17163"/>
                <a:gd name="connsiteY3" fmla="*/ 5896 h 16425"/>
                <a:gd name="connsiteX4" fmla="*/ 0 w 17163"/>
                <a:gd name="connsiteY4" fmla="*/ 0 h 16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163" h="16425">
                  <a:moveTo>
                    <a:pt x="0" y="0"/>
                  </a:moveTo>
                  <a:cubicBezTo>
                    <a:pt x="9055" y="0"/>
                    <a:pt x="6739" y="13056"/>
                    <a:pt x="1474" y="13056"/>
                  </a:cubicBezTo>
                  <a:cubicBezTo>
                    <a:pt x="7792" y="13056"/>
                    <a:pt x="14531" y="16426"/>
                    <a:pt x="8634" y="16426"/>
                  </a:cubicBezTo>
                  <a:cubicBezTo>
                    <a:pt x="14952" y="16426"/>
                    <a:pt x="19585" y="5896"/>
                    <a:pt x="15794" y="5896"/>
                  </a:cubicBezTo>
                  <a:cubicBezTo>
                    <a:pt x="20217" y="5896"/>
                    <a:pt x="4212" y="0"/>
                    <a:pt x="0"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2" name="Forme libre : forme 66">
              <a:extLst>
                <a:ext uri="{FF2B5EF4-FFF2-40B4-BE49-F238E27FC236}">
                  <a16:creationId xmlns:a16="http://schemas.microsoft.com/office/drawing/2014/main" id="{9D025679-081F-4E56-B38A-BA6229619222}"/>
                </a:ext>
              </a:extLst>
            </p:cNvPr>
            <p:cNvSpPr/>
            <p:nvPr/>
          </p:nvSpPr>
          <p:spPr>
            <a:xfrm>
              <a:off x="-27162" y="3821740"/>
              <a:ext cx="38805" cy="38113"/>
            </a:xfrm>
            <a:custGeom>
              <a:avLst/>
              <a:gdLst>
                <a:gd name="connsiteX0" fmla="*/ 37557 w 38805"/>
                <a:gd name="connsiteY0" fmla="*/ 5472 h 38113"/>
                <a:gd name="connsiteX1" fmla="*/ 22605 w 38805"/>
                <a:gd name="connsiteY1" fmla="*/ 1261 h 38113"/>
                <a:gd name="connsiteX2" fmla="*/ 9549 w 38805"/>
                <a:gd name="connsiteY2" fmla="*/ 15159 h 38113"/>
                <a:gd name="connsiteX3" fmla="*/ 1336 w 38805"/>
                <a:gd name="connsiteY3" fmla="*/ 38114 h 38113"/>
                <a:gd name="connsiteX4" fmla="*/ 23869 w 38805"/>
                <a:gd name="connsiteY4" fmla="*/ 21688 h 38113"/>
                <a:gd name="connsiteX5" fmla="*/ 37557 w 38805"/>
                <a:gd name="connsiteY5" fmla="*/ 5472 h 3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805" h="38113">
                  <a:moveTo>
                    <a:pt x="37557" y="5472"/>
                  </a:moveTo>
                  <a:cubicBezTo>
                    <a:pt x="30397" y="5472"/>
                    <a:pt x="25133" y="-3162"/>
                    <a:pt x="22605" y="1261"/>
                  </a:cubicBezTo>
                  <a:cubicBezTo>
                    <a:pt x="17762" y="1261"/>
                    <a:pt x="15867" y="15159"/>
                    <a:pt x="9549" y="15159"/>
                  </a:cubicBezTo>
                  <a:cubicBezTo>
                    <a:pt x="15867" y="15159"/>
                    <a:pt x="-5403" y="38114"/>
                    <a:pt x="1336" y="38114"/>
                  </a:cubicBezTo>
                  <a:cubicBezTo>
                    <a:pt x="8075" y="38114"/>
                    <a:pt x="12287" y="21688"/>
                    <a:pt x="23869" y="21688"/>
                  </a:cubicBezTo>
                  <a:cubicBezTo>
                    <a:pt x="35662" y="21898"/>
                    <a:pt x="41559" y="5472"/>
                    <a:pt x="37557" y="547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3" name="Forme libre : forme 67">
              <a:extLst>
                <a:ext uri="{FF2B5EF4-FFF2-40B4-BE49-F238E27FC236}">
                  <a16:creationId xmlns:a16="http://schemas.microsoft.com/office/drawing/2014/main" id="{0437CC6E-0CA8-4EC0-BC04-C5846D3C61A5}"/>
                </a:ext>
              </a:extLst>
            </p:cNvPr>
            <p:cNvSpPr/>
            <p:nvPr/>
          </p:nvSpPr>
          <p:spPr>
            <a:xfrm>
              <a:off x="-31722" y="3805101"/>
              <a:ext cx="26302" cy="14530"/>
            </a:xfrm>
            <a:custGeom>
              <a:avLst/>
              <a:gdLst>
                <a:gd name="connsiteX0" fmla="*/ 15373 w 26302"/>
                <a:gd name="connsiteY0" fmla="*/ 0 h 14530"/>
                <a:gd name="connsiteX1" fmla="*/ 0 w 26302"/>
                <a:gd name="connsiteY1" fmla="*/ 2527 h 14530"/>
                <a:gd name="connsiteX2" fmla="*/ 4212 w 26302"/>
                <a:gd name="connsiteY2" fmla="*/ 9266 h 14530"/>
                <a:gd name="connsiteX3" fmla="*/ 14320 w 26302"/>
                <a:gd name="connsiteY3" fmla="*/ 14531 h 14530"/>
                <a:gd name="connsiteX4" fmla="*/ 25271 w 26302"/>
                <a:gd name="connsiteY4" fmla="*/ 7371 h 14530"/>
                <a:gd name="connsiteX5" fmla="*/ 15373 w 26302"/>
                <a:gd name="connsiteY5" fmla="*/ 0 h 14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302" h="14530">
                  <a:moveTo>
                    <a:pt x="15373" y="0"/>
                  </a:moveTo>
                  <a:cubicBezTo>
                    <a:pt x="9055" y="0"/>
                    <a:pt x="5265" y="2527"/>
                    <a:pt x="0" y="2527"/>
                  </a:cubicBezTo>
                  <a:cubicBezTo>
                    <a:pt x="4212" y="2527"/>
                    <a:pt x="0" y="9266"/>
                    <a:pt x="4212" y="9266"/>
                  </a:cubicBezTo>
                  <a:cubicBezTo>
                    <a:pt x="9055" y="9266"/>
                    <a:pt x="18532" y="14531"/>
                    <a:pt x="14320" y="14531"/>
                  </a:cubicBezTo>
                  <a:cubicBezTo>
                    <a:pt x="18742" y="14531"/>
                    <a:pt x="29693" y="7371"/>
                    <a:pt x="25271" y="7371"/>
                  </a:cubicBezTo>
                  <a:cubicBezTo>
                    <a:pt x="29272" y="7371"/>
                    <a:pt x="18111" y="0"/>
                    <a:pt x="15373"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4" name="Forme libre : forme 68">
              <a:extLst>
                <a:ext uri="{FF2B5EF4-FFF2-40B4-BE49-F238E27FC236}">
                  <a16:creationId xmlns:a16="http://schemas.microsoft.com/office/drawing/2014/main" id="{FB0CF839-C583-4496-A94B-869FAEBB17AE}"/>
                </a:ext>
              </a:extLst>
            </p:cNvPr>
            <p:cNvSpPr/>
            <p:nvPr/>
          </p:nvSpPr>
          <p:spPr>
            <a:xfrm>
              <a:off x="-54887" y="3801731"/>
              <a:ext cx="14988" cy="9687"/>
            </a:xfrm>
            <a:custGeom>
              <a:avLst/>
              <a:gdLst>
                <a:gd name="connsiteX0" fmla="*/ 10529 w 14988"/>
                <a:gd name="connsiteY0" fmla="*/ 0 h 9687"/>
                <a:gd name="connsiteX1" fmla="*/ 0 w 14988"/>
                <a:gd name="connsiteY1" fmla="*/ 9687 h 9687"/>
                <a:gd name="connsiteX2" fmla="*/ 11582 w 14988"/>
                <a:gd name="connsiteY2" fmla="*/ 9687 h 9687"/>
                <a:gd name="connsiteX3" fmla="*/ 10529 w 14988"/>
                <a:gd name="connsiteY3" fmla="*/ 0 h 9687"/>
              </a:gdLst>
              <a:ahLst/>
              <a:cxnLst>
                <a:cxn ang="0">
                  <a:pos x="connsiteX0" y="connsiteY0"/>
                </a:cxn>
                <a:cxn ang="0">
                  <a:pos x="connsiteX1" y="connsiteY1"/>
                </a:cxn>
                <a:cxn ang="0">
                  <a:pos x="connsiteX2" y="connsiteY2"/>
                </a:cxn>
                <a:cxn ang="0">
                  <a:pos x="connsiteX3" y="connsiteY3"/>
                </a:cxn>
              </a:cxnLst>
              <a:rect l="l" t="t" r="r" b="b"/>
              <a:pathLst>
                <a:path w="14988" h="9687">
                  <a:moveTo>
                    <a:pt x="10529" y="0"/>
                  </a:moveTo>
                  <a:cubicBezTo>
                    <a:pt x="13899" y="0"/>
                    <a:pt x="3791" y="9687"/>
                    <a:pt x="0" y="9687"/>
                  </a:cubicBezTo>
                  <a:cubicBezTo>
                    <a:pt x="3791" y="9687"/>
                    <a:pt x="18742" y="9687"/>
                    <a:pt x="11582" y="9687"/>
                  </a:cubicBezTo>
                  <a:cubicBezTo>
                    <a:pt x="18321" y="9687"/>
                    <a:pt x="13478" y="0"/>
                    <a:pt x="10529"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5" name="Forme libre : forme 69">
              <a:extLst>
                <a:ext uri="{FF2B5EF4-FFF2-40B4-BE49-F238E27FC236}">
                  <a16:creationId xmlns:a16="http://schemas.microsoft.com/office/drawing/2014/main" id="{32215DF6-0414-4BDB-AA85-623FD2896AAA}"/>
                </a:ext>
              </a:extLst>
            </p:cNvPr>
            <p:cNvSpPr/>
            <p:nvPr/>
          </p:nvSpPr>
          <p:spPr>
            <a:xfrm>
              <a:off x="-87528" y="3802784"/>
              <a:ext cx="13410" cy="9055"/>
            </a:xfrm>
            <a:custGeom>
              <a:avLst/>
              <a:gdLst>
                <a:gd name="connsiteX0" fmla="*/ 12425 w 13410"/>
                <a:gd name="connsiteY0" fmla="*/ 0 h 9055"/>
                <a:gd name="connsiteX1" fmla="*/ 4212 w 13410"/>
                <a:gd name="connsiteY1" fmla="*/ 9055 h 9055"/>
                <a:gd name="connsiteX2" fmla="*/ 0 w 13410"/>
                <a:gd name="connsiteY2" fmla="*/ 5686 h 9055"/>
                <a:gd name="connsiteX3" fmla="*/ 12425 w 13410"/>
                <a:gd name="connsiteY3" fmla="*/ 0 h 9055"/>
              </a:gdLst>
              <a:ahLst/>
              <a:cxnLst>
                <a:cxn ang="0">
                  <a:pos x="connsiteX0" y="connsiteY0"/>
                </a:cxn>
                <a:cxn ang="0">
                  <a:pos x="connsiteX1" y="connsiteY1"/>
                </a:cxn>
                <a:cxn ang="0">
                  <a:pos x="connsiteX2" y="connsiteY2"/>
                </a:cxn>
                <a:cxn ang="0">
                  <a:pos x="connsiteX3" y="connsiteY3"/>
                </a:cxn>
              </a:cxnLst>
              <a:rect l="l" t="t" r="r" b="b"/>
              <a:pathLst>
                <a:path w="13410" h="9055">
                  <a:moveTo>
                    <a:pt x="12425" y="0"/>
                  </a:moveTo>
                  <a:cubicBezTo>
                    <a:pt x="13899" y="0"/>
                    <a:pt x="9055" y="9055"/>
                    <a:pt x="4212" y="9055"/>
                  </a:cubicBezTo>
                  <a:cubicBezTo>
                    <a:pt x="9477" y="9055"/>
                    <a:pt x="4633" y="5686"/>
                    <a:pt x="0" y="5686"/>
                  </a:cubicBezTo>
                  <a:cubicBezTo>
                    <a:pt x="5265" y="5686"/>
                    <a:pt x="16847" y="0"/>
                    <a:pt x="1242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6" name="Forme libre : forme 70">
              <a:extLst>
                <a:ext uri="{FF2B5EF4-FFF2-40B4-BE49-F238E27FC236}">
                  <a16:creationId xmlns:a16="http://schemas.microsoft.com/office/drawing/2014/main" id="{E5B92D8A-8B15-4DAB-BFF6-A58873DF19E2}"/>
                </a:ext>
              </a:extLst>
            </p:cNvPr>
            <p:cNvSpPr/>
            <p:nvPr/>
          </p:nvSpPr>
          <p:spPr>
            <a:xfrm>
              <a:off x="4545642" y="1800082"/>
              <a:ext cx="356491" cy="66996"/>
            </a:xfrm>
            <a:custGeom>
              <a:avLst/>
              <a:gdLst>
                <a:gd name="connsiteX0" fmla="*/ 354843 w 356491"/>
                <a:gd name="connsiteY0" fmla="*/ 14531 h 66996"/>
                <a:gd name="connsiteX1" fmla="*/ 335047 w 356491"/>
                <a:gd name="connsiteY1" fmla="*/ 29482 h 66996"/>
                <a:gd name="connsiteX2" fmla="*/ 294614 w 356491"/>
                <a:gd name="connsiteY2" fmla="*/ 40433 h 66996"/>
                <a:gd name="connsiteX3" fmla="*/ 251443 w 356491"/>
                <a:gd name="connsiteY3" fmla="*/ 47593 h 66996"/>
                <a:gd name="connsiteX4" fmla="*/ 217749 w 356491"/>
                <a:gd name="connsiteY4" fmla="*/ 54332 h 66996"/>
                <a:gd name="connsiteX5" fmla="*/ 182159 w 356491"/>
                <a:gd name="connsiteY5" fmla="*/ 62124 h 66996"/>
                <a:gd name="connsiteX6" fmla="*/ 125090 w 356491"/>
                <a:gd name="connsiteY6" fmla="*/ 64019 h 66996"/>
                <a:gd name="connsiteX7" fmla="*/ 84657 w 356491"/>
                <a:gd name="connsiteY7" fmla="*/ 63177 h 66996"/>
                <a:gd name="connsiteX8" fmla="*/ 43803 w 356491"/>
                <a:gd name="connsiteY8" fmla="*/ 65072 h 66996"/>
                <a:gd name="connsiteX9" fmla="*/ 65493 w 356491"/>
                <a:gd name="connsiteY9" fmla="*/ 60228 h 66996"/>
                <a:gd name="connsiteX10" fmla="*/ 65072 w 356491"/>
                <a:gd name="connsiteY10" fmla="*/ 52016 h 66996"/>
                <a:gd name="connsiteX11" fmla="*/ 44434 w 356491"/>
                <a:gd name="connsiteY11" fmla="*/ 48225 h 66996"/>
                <a:gd name="connsiteX12" fmla="*/ 3580 w 356491"/>
                <a:gd name="connsiteY12" fmla="*/ 52437 h 66996"/>
                <a:gd name="connsiteX13" fmla="*/ 29904 w 356491"/>
                <a:gd name="connsiteY13" fmla="*/ 46119 h 66996"/>
                <a:gd name="connsiteX14" fmla="*/ 56438 w 356491"/>
                <a:gd name="connsiteY14" fmla="*/ 40433 h 66996"/>
                <a:gd name="connsiteX15" fmla="*/ 75180 w 356491"/>
                <a:gd name="connsiteY15" fmla="*/ 33694 h 66996"/>
                <a:gd name="connsiteX16" fmla="*/ 30114 w 356491"/>
                <a:gd name="connsiteY16" fmla="*/ 36011 h 66996"/>
                <a:gd name="connsiteX17" fmla="*/ 0 w 356491"/>
                <a:gd name="connsiteY17" fmla="*/ 39801 h 66996"/>
                <a:gd name="connsiteX18" fmla="*/ 25902 w 356491"/>
                <a:gd name="connsiteY18" fmla="*/ 25902 h 66996"/>
                <a:gd name="connsiteX19" fmla="*/ 67599 w 356491"/>
                <a:gd name="connsiteY19" fmla="*/ 17689 h 66996"/>
                <a:gd name="connsiteX20" fmla="*/ 101293 w 356491"/>
                <a:gd name="connsiteY20" fmla="*/ 24850 h 66996"/>
                <a:gd name="connsiteX21" fmla="*/ 100240 w 356491"/>
                <a:gd name="connsiteY21" fmla="*/ 32431 h 66996"/>
                <a:gd name="connsiteX22" fmla="*/ 114139 w 356491"/>
                <a:gd name="connsiteY22" fmla="*/ 26745 h 66996"/>
                <a:gd name="connsiteX23" fmla="*/ 133303 w 356491"/>
                <a:gd name="connsiteY23" fmla="*/ 25902 h 66996"/>
                <a:gd name="connsiteX24" fmla="*/ 135198 w 356491"/>
                <a:gd name="connsiteY24" fmla="*/ 17268 h 66996"/>
                <a:gd name="connsiteX25" fmla="*/ 160258 w 356491"/>
                <a:gd name="connsiteY25" fmla="*/ 22533 h 66996"/>
                <a:gd name="connsiteX26" fmla="*/ 174157 w 356491"/>
                <a:gd name="connsiteY26" fmla="*/ 11372 h 66996"/>
                <a:gd name="connsiteX27" fmla="*/ 198585 w 356491"/>
                <a:gd name="connsiteY27" fmla="*/ 13688 h 66996"/>
                <a:gd name="connsiteX28" fmla="*/ 215433 w 356491"/>
                <a:gd name="connsiteY28" fmla="*/ 9898 h 66996"/>
                <a:gd name="connsiteX29" fmla="*/ 231227 w 356491"/>
                <a:gd name="connsiteY29" fmla="*/ 11372 h 66996"/>
                <a:gd name="connsiteX30" fmla="*/ 251443 w 356491"/>
                <a:gd name="connsiteY30" fmla="*/ 7160 h 66996"/>
                <a:gd name="connsiteX31" fmla="*/ 263447 w 356491"/>
                <a:gd name="connsiteY31" fmla="*/ 1895 h 66996"/>
                <a:gd name="connsiteX32" fmla="*/ 283032 w 356491"/>
                <a:gd name="connsiteY32" fmla="*/ 0 h 66996"/>
                <a:gd name="connsiteX33" fmla="*/ 310408 w 356491"/>
                <a:gd name="connsiteY33" fmla="*/ 1895 h 66996"/>
                <a:gd name="connsiteX34" fmla="*/ 321991 w 356491"/>
                <a:gd name="connsiteY34" fmla="*/ 6739 h 66996"/>
                <a:gd name="connsiteX35" fmla="*/ 341786 w 356491"/>
                <a:gd name="connsiteY35" fmla="*/ 10108 h 66996"/>
                <a:gd name="connsiteX36" fmla="*/ 354843 w 356491"/>
                <a:gd name="connsiteY36" fmla="*/ 14531 h 66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56491" h="66996">
                  <a:moveTo>
                    <a:pt x="354843" y="14531"/>
                  </a:moveTo>
                  <a:cubicBezTo>
                    <a:pt x="361582" y="14531"/>
                    <a:pt x="346209" y="29482"/>
                    <a:pt x="335047" y="29482"/>
                  </a:cubicBezTo>
                  <a:cubicBezTo>
                    <a:pt x="324097" y="29482"/>
                    <a:pt x="306618" y="40433"/>
                    <a:pt x="294614" y="40433"/>
                  </a:cubicBezTo>
                  <a:cubicBezTo>
                    <a:pt x="282611" y="40433"/>
                    <a:pt x="260499" y="47593"/>
                    <a:pt x="251443" y="47593"/>
                  </a:cubicBezTo>
                  <a:cubicBezTo>
                    <a:pt x="242388" y="47593"/>
                    <a:pt x="227436" y="54332"/>
                    <a:pt x="217749" y="54332"/>
                  </a:cubicBezTo>
                  <a:cubicBezTo>
                    <a:pt x="207641" y="54332"/>
                    <a:pt x="192268" y="62124"/>
                    <a:pt x="182159" y="62124"/>
                  </a:cubicBezTo>
                  <a:cubicBezTo>
                    <a:pt x="171630" y="62124"/>
                    <a:pt x="135198" y="64019"/>
                    <a:pt x="125090" y="64019"/>
                  </a:cubicBezTo>
                  <a:cubicBezTo>
                    <a:pt x="117930" y="71179"/>
                    <a:pt x="98134" y="63177"/>
                    <a:pt x="84657" y="63177"/>
                  </a:cubicBezTo>
                  <a:cubicBezTo>
                    <a:pt x="72232" y="63177"/>
                    <a:pt x="47804" y="65072"/>
                    <a:pt x="43803" y="65072"/>
                  </a:cubicBezTo>
                  <a:cubicBezTo>
                    <a:pt x="47172" y="65072"/>
                    <a:pt x="69284" y="60228"/>
                    <a:pt x="65493" y="60228"/>
                  </a:cubicBezTo>
                  <a:cubicBezTo>
                    <a:pt x="69284" y="60228"/>
                    <a:pt x="71179" y="52016"/>
                    <a:pt x="65072" y="52016"/>
                  </a:cubicBezTo>
                  <a:cubicBezTo>
                    <a:pt x="71390" y="52016"/>
                    <a:pt x="61702" y="48225"/>
                    <a:pt x="44434" y="48225"/>
                  </a:cubicBezTo>
                  <a:cubicBezTo>
                    <a:pt x="26745" y="48225"/>
                    <a:pt x="6949" y="52437"/>
                    <a:pt x="3580" y="52437"/>
                  </a:cubicBezTo>
                  <a:cubicBezTo>
                    <a:pt x="6949" y="52437"/>
                    <a:pt x="19374" y="46119"/>
                    <a:pt x="29904" y="46119"/>
                  </a:cubicBezTo>
                  <a:cubicBezTo>
                    <a:pt x="40433" y="46119"/>
                    <a:pt x="42960" y="40433"/>
                    <a:pt x="56438" y="40433"/>
                  </a:cubicBezTo>
                  <a:cubicBezTo>
                    <a:pt x="69494" y="40433"/>
                    <a:pt x="81498" y="33694"/>
                    <a:pt x="75180" y="33694"/>
                  </a:cubicBezTo>
                  <a:cubicBezTo>
                    <a:pt x="81077" y="33694"/>
                    <a:pt x="39170" y="36011"/>
                    <a:pt x="30114" y="36011"/>
                  </a:cubicBezTo>
                  <a:cubicBezTo>
                    <a:pt x="20638" y="36011"/>
                    <a:pt x="3790" y="39801"/>
                    <a:pt x="0" y="39801"/>
                  </a:cubicBezTo>
                  <a:cubicBezTo>
                    <a:pt x="3790" y="39801"/>
                    <a:pt x="31167" y="25902"/>
                    <a:pt x="25902" y="25902"/>
                  </a:cubicBezTo>
                  <a:cubicBezTo>
                    <a:pt x="32220" y="25902"/>
                    <a:pt x="72864" y="17689"/>
                    <a:pt x="67599" y="17689"/>
                  </a:cubicBezTo>
                  <a:cubicBezTo>
                    <a:pt x="72864" y="17689"/>
                    <a:pt x="104663" y="24850"/>
                    <a:pt x="101293" y="24850"/>
                  </a:cubicBezTo>
                  <a:cubicBezTo>
                    <a:pt x="104663" y="24850"/>
                    <a:pt x="91606" y="32431"/>
                    <a:pt x="100240" y="32431"/>
                  </a:cubicBezTo>
                  <a:cubicBezTo>
                    <a:pt x="108032" y="32431"/>
                    <a:pt x="102557" y="26745"/>
                    <a:pt x="114139" y="26745"/>
                  </a:cubicBezTo>
                  <a:cubicBezTo>
                    <a:pt x="125722" y="26745"/>
                    <a:pt x="138146" y="25902"/>
                    <a:pt x="133303" y="25902"/>
                  </a:cubicBezTo>
                  <a:cubicBezTo>
                    <a:pt x="137725" y="25902"/>
                    <a:pt x="121299" y="17268"/>
                    <a:pt x="135198" y="17268"/>
                  </a:cubicBezTo>
                  <a:cubicBezTo>
                    <a:pt x="149097" y="17268"/>
                    <a:pt x="149097" y="22533"/>
                    <a:pt x="160258" y="22533"/>
                  </a:cubicBezTo>
                  <a:cubicBezTo>
                    <a:pt x="170367" y="22533"/>
                    <a:pt x="162575" y="11372"/>
                    <a:pt x="174157" y="11372"/>
                  </a:cubicBezTo>
                  <a:cubicBezTo>
                    <a:pt x="185318" y="11372"/>
                    <a:pt x="204482" y="13688"/>
                    <a:pt x="198585" y="13688"/>
                  </a:cubicBezTo>
                  <a:cubicBezTo>
                    <a:pt x="204482" y="13688"/>
                    <a:pt x="206377" y="9898"/>
                    <a:pt x="215433" y="9898"/>
                  </a:cubicBezTo>
                  <a:cubicBezTo>
                    <a:pt x="225120" y="9898"/>
                    <a:pt x="237123" y="11372"/>
                    <a:pt x="231227" y="11372"/>
                  </a:cubicBezTo>
                  <a:cubicBezTo>
                    <a:pt x="237965" y="11372"/>
                    <a:pt x="256708" y="7160"/>
                    <a:pt x="251443" y="7160"/>
                  </a:cubicBezTo>
                  <a:cubicBezTo>
                    <a:pt x="255866" y="7160"/>
                    <a:pt x="269133" y="1895"/>
                    <a:pt x="263447" y="1895"/>
                  </a:cubicBezTo>
                  <a:cubicBezTo>
                    <a:pt x="268712" y="1895"/>
                    <a:pt x="289349" y="0"/>
                    <a:pt x="283032" y="0"/>
                  </a:cubicBezTo>
                  <a:cubicBezTo>
                    <a:pt x="289771" y="0"/>
                    <a:pt x="302827" y="1895"/>
                    <a:pt x="310408" y="1895"/>
                  </a:cubicBezTo>
                  <a:cubicBezTo>
                    <a:pt x="319464" y="1895"/>
                    <a:pt x="327677" y="6739"/>
                    <a:pt x="321991" y="6739"/>
                  </a:cubicBezTo>
                  <a:cubicBezTo>
                    <a:pt x="327255" y="6739"/>
                    <a:pt x="333152" y="10108"/>
                    <a:pt x="341786" y="10108"/>
                  </a:cubicBezTo>
                  <a:cubicBezTo>
                    <a:pt x="350420" y="10108"/>
                    <a:pt x="358633" y="14531"/>
                    <a:pt x="354843" y="1453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7" name="Forme libre : forme 71">
              <a:extLst>
                <a:ext uri="{FF2B5EF4-FFF2-40B4-BE49-F238E27FC236}">
                  <a16:creationId xmlns:a16="http://schemas.microsoft.com/office/drawing/2014/main" id="{5DE27C87-F849-40AB-8C0C-E1A5DEDDA374}"/>
                </a:ext>
              </a:extLst>
            </p:cNvPr>
            <p:cNvSpPr/>
            <p:nvPr/>
          </p:nvSpPr>
          <p:spPr>
            <a:xfrm>
              <a:off x="2700698" y="2165033"/>
              <a:ext cx="36822" cy="20848"/>
            </a:xfrm>
            <a:custGeom>
              <a:avLst/>
              <a:gdLst>
                <a:gd name="connsiteX0" fmla="*/ 36194 w 36822"/>
                <a:gd name="connsiteY0" fmla="*/ 0 h 20848"/>
                <a:gd name="connsiteX1" fmla="*/ 9871 w 36822"/>
                <a:gd name="connsiteY1" fmla="*/ 4844 h 20848"/>
                <a:gd name="connsiteX2" fmla="*/ 1236 w 36822"/>
                <a:gd name="connsiteY2" fmla="*/ 17900 h 20848"/>
                <a:gd name="connsiteX3" fmla="*/ 11344 w 36822"/>
                <a:gd name="connsiteY3" fmla="*/ 20848 h 20848"/>
                <a:gd name="connsiteX4" fmla="*/ 25665 w 36822"/>
                <a:gd name="connsiteY4" fmla="*/ 12214 h 20848"/>
                <a:gd name="connsiteX5" fmla="*/ 36194 w 36822"/>
                <a:gd name="connsiteY5" fmla="*/ 0 h 20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822" h="20848">
                  <a:moveTo>
                    <a:pt x="36194" y="0"/>
                  </a:moveTo>
                  <a:cubicBezTo>
                    <a:pt x="29455" y="0"/>
                    <a:pt x="14504" y="4844"/>
                    <a:pt x="9871" y="4844"/>
                  </a:cubicBezTo>
                  <a:cubicBezTo>
                    <a:pt x="15135" y="4844"/>
                    <a:pt x="-5081" y="17900"/>
                    <a:pt x="1236" y="17900"/>
                  </a:cubicBezTo>
                  <a:cubicBezTo>
                    <a:pt x="9028" y="17900"/>
                    <a:pt x="17030" y="20848"/>
                    <a:pt x="11344" y="20848"/>
                  </a:cubicBezTo>
                  <a:cubicBezTo>
                    <a:pt x="17662" y="20848"/>
                    <a:pt x="33456" y="12214"/>
                    <a:pt x="25665" y="12214"/>
                  </a:cubicBezTo>
                  <a:cubicBezTo>
                    <a:pt x="34299" y="12004"/>
                    <a:pt x="38511" y="0"/>
                    <a:pt x="36194"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8" name="Forme libre : forme 72">
              <a:extLst>
                <a:ext uri="{FF2B5EF4-FFF2-40B4-BE49-F238E27FC236}">
                  <a16:creationId xmlns:a16="http://schemas.microsoft.com/office/drawing/2014/main" id="{C4385EA1-989C-4808-AFED-A63F1153524F}"/>
                </a:ext>
              </a:extLst>
            </p:cNvPr>
            <p:cNvSpPr/>
            <p:nvPr/>
          </p:nvSpPr>
          <p:spPr>
            <a:xfrm>
              <a:off x="2653709" y="2276013"/>
              <a:ext cx="48824" cy="21269"/>
            </a:xfrm>
            <a:custGeom>
              <a:avLst/>
              <a:gdLst>
                <a:gd name="connsiteX0" fmla="*/ 48015 w 48824"/>
                <a:gd name="connsiteY0" fmla="*/ 3791 h 21269"/>
                <a:gd name="connsiteX1" fmla="*/ 33694 w 48824"/>
                <a:gd name="connsiteY1" fmla="*/ 5686 h 21269"/>
                <a:gd name="connsiteX2" fmla="*/ 25481 w 48824"/>
                <a:gd name="connsiteY2" fmla="*/ 0 h 21269"/>
                <a:gd name="connsiteX3" fmla="*/ 12004 w 48824"/>
                <a:gd name="connsiteY3" fmla="*/ 13057 h 21269"/>
                <a:gd name="connsiteX4" fmla="*/ 0 w 48824"/>
                <a:gd name="connsiteY4" fmla="*/ 21270 h 21269"/>
                <a:gd name="connsiteX5" fmla="*/ 19164 w 48824"/>
                <a:gd name="connsiteY5" fmla="*/ 16426 h 21269"/>
                <a:gd name="connsiteX6" fmla="*/ 33063 w 48824"/>
                <a:gd name="connsiteY6" fmla="*/ 14952 h 21269"/>
                <a:gd name="connsiteX7" fmla="*/ 48015 w 48824"/>
                <a:gd name="connsiteY7" fmla="*/ 3791 h 21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824" h="21269">
                  <a:moveTo>
                    <a:pt x="48015" y="3791"/>
                  </a:moveTo>
                  <a:cubicBezTo>
                    <a:pt x="52437" y="3791"/>
                    <a:pt x="37485" y="5686"/>
                    <a:pt x="33694" y="5686"/>
                  </a:cubicBezTo>
                  <a:cubicBezTo>
                    <a:pt x="37485" y="5686"/>
                    <a:pt x="34116" y="0"/>
                    <a:pt x="25481" y="0"/>
                  </a:cubicBezTo>
                  <a:cubicBezTo>
                    <a:pt x="33273" y="0"/>
                    <a:pt x="20217" y="13057"/>
                    <a:pt x="12004" y="13057"/>
                  </a:cubicBezTo>
                  <a:cubicBezTo>
                    <a:pt x="3791" y="13057"/>
                    <a:pt x="5265" y="21270"/>
                    <a:pt x="0" y="21270"/>
                  </a:cubicBezTo>
                  <a:cubicBezTo>
                    <a:pt x="4844" y="21270"/>
                    <a:pt x="12425" y="16426"/>
                    <a:pt x="19164" y="16426"/>
                  </a:cubicBezTo>
                  <a:cubicBezTo>
                    <a:pt x="24428" y="16426"/>
                    <a:pt x="37274" y="14952"/>
                    <a:pt x="33063" y="14952"/>
                  </a:cubicBezTo>
                  <a:cubicBezTo>
                    <a:pt x="41276" y="14952"/>
                    <a:pt x="50963" y="3791"/>
                    <a:pt x="48015" y="379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89" name="Forme libre : forme 73">
              <a:extLst>
                <a:ext uri="{FF2B5EF4-FFF2-40B4-BE49-F238E27FC236}">
                  <a16:creationId xmlns:a16="http://schemas.microsoft.com/office/drawing/2014/main" id="{C004E780-9D48-485D-A10F-5894B436CA50}"/>
                </a:ext>
              </a:extLst>
            </p:cNvPr>
            <p:cNvSpPr/>
            <p:nvPr/>
          </p:nvSpPr>
          <p:spPr>
            <a:xfrm>
              <a:off x="2601273" y="2169872"/>
              <a:ext cx="56718" cy="25275"/>
            </a:xfrm>
            <a:custGeom>
              <a:avLst/>
              <a:gdLst>
                <a:gd name="connsiteX0" fmla="*/ 54332 w 56718"/>
                <a:gd name="connsiteY0" fmla="*/ 2953 h 25275"/>
                <a:gd name="connsiteX1" fmla="*/ 28429 w 56718"/>
                <a:gd name="connsiteY1" fmla="*/ 7165 h 25275"/>
                <a:gd name="connsiteX2" fmla="*/ 0 w 56718"/>
                <a:gd name="connsiteY2" fmla="*/ 19589 h 25275"/>
                <a:gd name="connsiteX3" fmla="*/ 5265 w 56718"/>
                <a:gd name="connsiteY3" fmla="*/ 25275 h 25275"/>
                <a:gd name="connsiteX4" fmla="*/ 21059 w 56718"/>
                <a:gd name="connsiteY4" fmla="*/ 24222 h 25275"/>
                <a:gd name="connsiteX5" fmla="*/ 48014 w 56718"/>
                <a:gd name="connsiteY5" fmla="*/ 10323 h 25275"/>
                <a:gd name="connsiteX6" fmla="*/ 54332 w 56718"/>
                <a:gd name="connsiteY6" fmla="*/ 2953 h 2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718" h="25275">
                  <a:moveTo>
                    <a:pt x="54332" y="2953"/>
                  </a:moveTo>
                  <a:cubicBezTo>
                    <a:pt x="45277" y="2953"/>
                    <a:pt x="37485" y="7165"/>
                    <a:pt x="28429" y="7165"/>
                  </a:cubicBezTo>
                  <a:cubicBezTo>
                    <a:pt x="19795" y="7165"/>
                    <a:pt x="9266" y="19589"/>
                    <a:pt x="0" y="19589"/>
                  </a:cubicBezTo>
                  <a:cubicBezTo>
                    <a:pt x="9687" y="19589"/>
                    <a:pt x="-3370" y="25275"/>
                    <a:pt x="5265" y="25275"/>
                  </a:cubicBezTo>
                  <a:cubicBezTo>
                    <a:pt x="13478" y="25275"/>
                    <a:pt x="10529" y="24222"/>
                    <a:pt x="21059" y="24222"/>
                  </a:cubicBezTo>
                  <a:cubicBezTo>
                    <a:pt x="32641" y="24222"/>
                    <a:pt x="39801" y="10323"/>
                    <a:pt x="48014" y="10323"/>
                  </a:cubicBezTo>
                  <a:cubicBezTo>
                    <a:pt x="56438" y="10534"/>
                    <a:pt x="59175" y="-6734"/>
                    <a:pt x="54332" y="295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0" name="Forme libre : forme 74">
              <a:extLst>
                <a:ext uri="{FF2B5EF4-FFF2-40B4-BE49-F238E27FC236}">
                  <a16:creationId xmlns:a16="http://schemas.microsoft.com/office/drawing/2014/main" id="{A53B621C-E2B2-46CE-A993-830FA10833DE}"/>
                </a:ext>
              </a:extLst>
            </p:cNvPr>
            <p:cNvSpPr/>
            <p:nvPr/>
          </p:nvSpPr>
          <p:spPr>
            <a:xfrm>
              <a:off x="2502928" y="2137656"/>
              <a:ext cx="207650" cy="57069"/>
            </a:xfrm>
            <a:custGeom>
              <a:avLst/>
              <a:gdLst>
                <a:gd name="connsiteX0" fmla="*/ 39801 w 207650"/>
                <a:gd name="connsiteY0" fmla="*/ 47593 h 57069"/>
                <a:gd name="connsiteX1" fmla="*/ 13899 w 207650"/>
                <a:gd name="connsiteY1" fmla="*/ 54753 h 57069"/>
                <a:gd name="connsiteX2" fmla="*/ 0 w 207650"/>
                <a:gd name="connsiteY2" fmla="*/ 57070 h 57069"/>
                <a:gd name="connsiteX3" fmla="*/ 29693 w 207650"/>
                <a:gd name="connsiteY3" fmla="*/ 42750 h 57069"/>
                <a:gd name="connsiteX4" fmla="*/ 37274 w 207650"/>
                <a:gd name="connsiteY4" fmla="*/ 31799 h 57069"/>
                <a:gd name="connsiteX5" fmla="*/ 47804 w 207650"/>
                <a:gd name="connsiteY5" fmla="*/ 20217 h 57069"/>
                <a:gd name="connsiteX6" fmla="*/ 60229 w 207650"/>
                <a:gd name="connsiteY6" fmla="*/ 8213 h 57069"/>
                <a:gd name="connsiteX7" fmla="*/ 82340 w 207650"/>
                <a:gd name="connsiteY7" fmla="*/ 1474 h 57069"/>
                <a:gd name="connsiteX8" fmla="*/ 99187 w 207650"/>
                <a:gd name="connsiteY8" fmla="*/ 0 h 57069"/>
                <a:gd name="connsiteX9" fmla="*/ 86131 w 207650"/>
                <a:gd name="connsiteY9" fmla="*/ 8634 h 57069"/>
                <a:gd name="connsiteX10" fmla="*/ 101925 w 207650"/>
                <a:gd name="connsiteY10" fmla="*/ 4422 h 57069"/>
                <a:gd name="connsiteX11" fmla="*/ 111612 w 207650"/>
                <a:gd name="connsiteY11" fmla="*/ 6318 h 57069"/>
                <a:gd name="connsiteX12" fmla="*/ 134145 w 207650"/>
                <a:gd name="connsiteY12" fmla="*/ 2948 h 57069"/>
                <a:gd name="connsiteX13" fmla="*/ 152888 w 207650"/>
                <a:gd name="connsiteY13" fmla="*/ 4844 h 57069"/>
                <a:gd name="connsiteX14" fmla="*/ 176474 w 207650"/>
                <a:gd name="connsiteY14" fmla="*/ 3791 h 57069"/>
                <a:gd name="connsiteX15" fmla="*/ 169735 w 207650"/>
                <a:gd name="connsiteY15" fmla="*/ 12004 h 57069"/>
                <a:gd name="connsiteX16" fmla="*/ 199428 w 207650"/>
                <a:gd name="connsiteY16" fmla="*/ 7792 h 57069"/>
                <a:gd name="connsiteX17" fmla="*/ 202376 w 207650"/>
                <a:gd name="connsiteY17" fmla="*/ 14109 h 57069"/>
                <a:gd name="connsiteX18" fmla="*/ 172683 w 207650"/>
                <a:gd name="connsiteY18" fmla="*/ 20217 h 57069"/>
                <a:gd name="connsiteX19" fmla="*/ 142990 w 207650"/>
                <a:gd name="connsiteY19" fmla="*/ 19795 h 57069"/>
                <a:gd name="connsiteX20" fmla="*/ 129091 w 207650"/>
                <a:gd name="connsiteY20" fmla="*/ 18321 h 57069"/>
                <a:gd name="connsiteX21" fmla="*/ 114771 w 207650"/>
                <a:gd name="connsiteY21" fmla="*/ 28008 h 57069"/>
                <a:gd name="connsiteX22" fmla="*/ 85499 w 207650"/>
                <a:gd name="connsiteY22" fmla="*/ 39591 h 57069"/>
                <a:gd name="connsiteX23" fmla="*/ 65704 w 207650"/>
                <a:gd name="connsiteY23" fmla="*/ 48225 h 57069"/>
                <a:gd name="connsiteX24" fmla="*/ 44224 w 207650"/>
                <a:gd name="connsiteY24" fmla="*/ 53911 h 57069"/>
                <a:gd name="connsiteX25" fmla="*/ 39801 w 207650"/>
                <a:gd name="connsiteY25" fmla="*/ 47593 h 5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07650" h="57069">
                  <a:moveTo>
                    <a:pt x="39801" y="47593"/>
                  </a:moveTo>
                  <a:cubicBezTo>
                    <a:pt x="33062" y="47593"/>
                    <a:pt x="20217" y="54753"/>
                    <a:pt x="13899" y="54753"/>
                  </a:cubicBezTo>
                  <a:cubicBezTo>
                    <a:pt x="19585" y="54753"/>
                    <a:pt x="7581" y="57070"/>
                    <a:pt x="0" y="57070"/>
                  </a:cubicBezTo>
                  <a:cubicBezTo>
                    <a:pt x="8213" y="57070"/>
                    <a:pt x="36432" y="42750"/>
                    <a:pt x="29693" y="42750"/>
                  </a:cubicBezTo>
                  <a:cubicBezTo>
                    <a:pt x="35379" y="42750"/>
                    <a:pt x="41275" y="31799"/>
                    <a:pt x="37274" y="31799"/>
                  </a:cubicBezTo>
                  <a:cubicBezTo>
                    <a:pt x="40644" y="31799"/>
                    <a:pt x="53069" y="20217"/>
                    <a:pt x="47804" y="20217"/>
                  </a:cubicBezTo>
                  <a:cubicBezTo>
                    <a:pt x="52647" y="20217"/>
                    <a:pt x="67599" y="8213"/>
                    <a:pt x="60229" y="8213"/>
                  </a:cubicBezTo>
                  <a:cubicBezTo>
                    <a:pt x="67389" y="8213"/>
                    <a:pt x="73285" y="1474"/>
                    <a:pt x="82340" y="1474"/>
                  </a:cubicBezTo>
                  <a:cubicBezTo>
                    <a:pt x="92870" y="1474"/>
                    <a:pt x="102136" y="0"/>
                    <a:pt x="99187" y="0"/>
                  </a:cubicBezTo>
                  <a:cubicBezTo>
                    <a:pt x="102557" y="0"/>
                    <a:pt x="88237" y="8634"/>
                    <a:pt x="86131" y="8634"/>
                  </a:cubicBezTo>
                  <a:cubicBezTo>
                    <a:pt x="88026" y="8634"/>
                    <a:pt x="107190" y="4422"/>
                    <a:pt x="101925" y="4422"/>
                  </a:cubicBezTo>
                  <a:cubicBezTo>
                    <a:pt x="107611" y="4422"/>
                    <a:pt x="116245" y="6318"/>
                    <a:pt x="111612" y="6318"/>
                  </a:cubicBezTo>
                  <a:cubicBezTo>
                    <a:pt x="116035" y="6318"/>
                    <a:pt x="130776" y="10108"/>
                    <a:pt x="134145" y="2948"/>
                  </a:cubicBezTo>
                  <a:cubicBezTo>
                    <a:pt x="142780" y="2948"/>
                    <a:pt x="145728" y="4844"/>
                    <a:pt x="152888" y="4844"/>
                  </a:cubicBezTo>
                  <a:cubicBezTo>
                    <a:pt x="161101" y="4844"/>
                    <a:pt x="178790" y="3791"/>
                    <a:pt x="176474" y="3791"/>
                  </a:cubicBezTo>
                  <a:cubicBezTo>
                    <a:pt x="178369" y="3791"/>
                    <a:pt x="155836" y="12004"/>
                    <a:pt x="169735" y="12004"/>
                  </a:cubicBezTo>
                  <a:cubicBezTo>
                    <a:pt x="175421" y="0"/>
                    <a:pt x="203850" y="7792"/>
                    <a:pt x="199428" y="7792"/>
                  </a:cubicBezTo>
                  <a:cubicBezTo>
                    <a:pt x="203850" y="7792"/>
                    <a:pt x="213748" y="14109"/>
                    <a:pt x="202376" y="14109"/>
                  </a:cubicBezTo>
                  <a:cubicBezTo>
                    <a:pt x="190373" y="14109"/>
                    <a:pt x="182791" y="20217"/>
                    <a:pt x="172683" y="20217"/>
                  </a:cubicBezTo>
                  <a:cubicBezTo>
                    <a:pt x="162996" y="20217"/>
                    <a:pt x="146360" y="19795"/>
                    <a:pt x="142990" y="19795"/>
                  </a:cubicBezTo>
                  <a:cubicBezTo>
                    <a:pt x="146360" y="19795"/>
                    <a:pt x="137725" y="18321"/>
                    <a:pt x="129091" y="18321"/>
                  </a:cubicBezTo>
                  <a:cubicBezTo>
                    <a:pt x="120036" y="18321"/>
                    <a:pt x="119404" y="28008"/>
                    <a:pt x="114771" y="28008"/>
                  </a:cubicBezTo>
                  <a:cubicBezTo>
                    <a:pt x="118562" y="28008"/>
                    <a:pt x="91817" y="39591"/>
                    <a:pt x="85499" y="39591"/>
                  </a:cubicBezTo>
                  <a:cubicBezTo>
                    <a:pt x="91185" y="39591"/>
                    <a:pt x="74970" y="48225"/>
                    <a:pt x="65704" y="48225"/>
                  </a:cubicBezTo>
                  <a:cubicBezTo>
                    <a:pt x="57070" y="48225"/>
                    <a:pt x="49489" y="53911"/>
                    <a:pt x="44224" y="53911"/>
                  </a:cubicBezTo>
                  <a:cubicBezTo>
                    <a:pt x="49489" y="53911"/>
                    <a:pt x="46119" y="47593"/>
                    <a:pt x="39801" y="4759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1" name="Forme libre : forme 75">
              <a:extLst>
                <a:ext uri="{FF2B5EF4-FFF2-40B4-BE49-F238E27FC236}">
                  <a16:creationId xmlns:a16="http://schemas.microsoft.com/office/drawing/2014/main" id="{46387455-6439-412C-83E3-920D62D1AE2F}"/>
                </a:ext>
              </a:extLst>
            </p:cNvPr>
            <p:cNvSpPr/>
            <p:nvPr/>
          </p:nvSpPr>
          <p:spPr>
            <a:xfrm>
              <a:off x="2848504" y="2029835"/>
              <a:ext cx="72001" cy="29271"/>
            </a:xfrm>
            <a:custGeom>
              <a:avLst/>
              <a:gdLst>
                <a:gd name="connsiteX0" fmla="*/ 64230 w 72001"/>
                <a:gd name="connsiteY0" fmla="*/ 14320 h 29271"/>
                <a:gd name="connsiteX1" fmla="*/ 35800 w 72001"/>
                <a:gd name="connsiteY1" fmla="*/ 22533 h 29271"/>
                <a:gd name="connsiteX2" fmla="*/ 2316 w 72001"/>
                <a:gd name="connsiteY2" fmla="*/ 29272 h 29271"/>
                <a:gd name="connsiteX3" fmla="*/ 0 w 72001"/>
                <a:gd name="connsiteY3" fmla="*/ 22112 h 29271"/>
                <a:gd name="connsiteX4" fmla="*/ 21059 w 72001"/>
                <a:gd name="connsiteY4" fmla="*/ 10108 h 29271"/>
                <a:gd name="connsiteX5" fmla="*/ 40223 w 72001"/>
                <a:gd name="connsiteY5" fmla="*/ 5265 h 29271"/>
                <a:gd name="connsiteX6" fmla="*/ 60439 w 72001"/>
                <a:gd name="connsiteY6" fmla="*/ 0 h 29271"/>
                <a:gd name="connsiteX7" fmla="*/ 70547 w 72001"/>
                <a:gd name="connsiteY7" fmla="*/ 0 h 29271"/>
                <a:gd name="connsiteX8" fmla="*/ 69074 w 72001"/>
                <a:gd name="connsiteY8" fmla="*/ 6739 h 29271"/>
                <a:gd name="connsiteX9" fmla="*/ 64230 w 72001"/>
                <a:gd name="connsiteY9" fmla="*/ 14320 h 2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001" h="29271">
                  <a:moveTo>
                    <a:pt x="64230" y="14320"/>
                  </a:moveTo>
                  <a:cubicBezTo>
                    <a:pt x="69916" y="14320"/>
                    <a:pt x="40223" y="22533"/>
                    <a:pt x="35800" y="22533"/>
                  </a:cubicBezTo>
                  <a:cubicBezTo>
                    <a:pt x="41065" y="22533"/>
                    <a:pt x="6529" y="29272"/>
                    <a:pt x="2316" y="29272"/>
                  </a:cubicBezTo>
                  <a:cubicBezTo>
                    <a:pt x="7160" y="29272"/>
                    <a:pt x="5686" y="22112"/>
                    <a:pt x="0" y="22112"/>
                  </a:cubicBezTo>
                  <a:cubicBezTo>
                    <a:pt x="6318" y="22112"/>
                    <a:pt x="13057" y="10108"/>
                    <a:pt x="21059" y="10108"/>
                  </a:cubicBezTo>
                  <a:cubicBezTo>
                    <a:pt x="29272" y="10108"/>
                    <a:pt x="45487" y="5265"/>
                    <a:pt x="40223" y="5265"/>
                  </a:cubicBezTo>
                  <a:cubicBezTo>
                    <a:pt x="45487" y="5265"/>
                    <a:pt x="65283" y="0"/>
                    <a:pt x="60439" y="0"/>
                  </a:cubicBezTo>
                  <a:cubicBezTo>
                    <a:pt x="64861" y="0"/>
                    <a:pt x="72864" y="0"/>
                    <a:pt x="70547" y="0"/>
                  </a:cubicBezTo>
                  <a:cubicBezTo>
                    <a:pt x="72864" y="0"/>
                    <a:pt x="72443" y="6739"/>
                    <a:pt x="69074" y="6739"/>
                  </a:cubicBezTo>
                  <a:cubicBezTo>
                    <a:pt x="71811" y="6528"/>
                    <a:pt x="72654" y="14320"/>
                    <a:pt x="64230" y="1432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2" name="Forme libre : forme 76">
              <a:extLst>
                <a:ext uri="{FF2B5EF4-FFF2-40B4-BE49-F238E27FC236}">
                  <a16:creationId xmlns:a16="http://schemas.microsoft.com/office/drawing/2014/main" id="{1BEDA950-DFBB-46CC-BB67-68B1BE1D6F3E}"/>
                </a:ext>
              </a:extLst>
            </p:cNvPr>
            <p:cNvSpPr/>
            <p:nvPr/>
          </p:nvSpPr>
          <p:spPr>
            <a:xfrm>
              <a:off x="2788180" y="2044576"/>
              <a:ext cx="27818" cy="13898"/>
            </a:xfrm>
            <a:custGeom>
              <a:avLst/>
              <a:gdLst>
                <a:gd name="connsiteX0" fmla="*/ 25578 w 27818"/>
                <a:gd name="connsiteY0" fmla="*/ 0 h 13898"/>
                <a:gd name="connsiteX1" fmla="*/ 7257 w 27818"/>
                <a:gd name="connsiteY1" fmla="*/ 7160 h 13898"/>
                <a:gd name="connsiteX2" fmla="*/ 3887 w 27818"/>
                <a:gd name="connsiteY2" fmla="*/ 13899 h 13898"/>
                <a:gd name="connsiteX3" fmla="*/ 22629 w 27818"/>
                <a:gd name="connsiteY3" fmla="*/ 6739 h 13898"/>
                <a:gd name="connsiteX4" fmla="*/ 25578 w 27818"/>
                <a:gd name="connsiteY4" fmla="*/ 0 h 1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818" h="13898">
                  <a:moveTo>
                    <a:pt x="25578" y="0"/>
                  </a:moveTo>
                  <a:cubicBezTo>
                    <a:pt x="29368" y="0"/>
                    <a:pt x="11258" y="7160"/>
                    <a:pt x="7257" y="7160"/>
                  </a:cubicBezTo>
                  <a:cubicBezTo>
                    <a:pt x="10626" y="7160"/>
                    <a:pt x="-7695" y="13899"/>
                    <a:pt x="3887" y="13899"/>
                  </a:cubicBezTo>
                  <a:cubicBezTo>
                    <a:pt x="15048" y="13899"/>
                    <a:pt x="29789" y="6739"/>
                    <a:pt x="22629" y="6739"/>
                  </a:cubicBezTo>
                  <a:cubicBezTo>
                    <a:pt x="30211" y="6739"/>
                    <a:pt x="27894" y="0"/>
                    <a:pt x="25578"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3" name="Forme libre : forme 77">
              <a:extLst>
                <a:ext uri="{FF2B5EF4-FFF2-40B4-BE49-F238E27FC236}">
                  <a16:creationId xmlns:a16="http://schemas.microsoft.com/office/drawing/2014/main" id="{47050739-98C2-408C-A2F8-D6F0511E098D}"/>
                </a:ext>
              </a:extLst>
            </p:cNvPr>
            <p:cNvSpPr/>
            <p:nvPr/>
          </p:nvSpPr>
          <p:spPr>
            <a:xfrm>
              <a:off x="2786320" y="2029203"/>
              <a:ext cx="44100" cy="18742"/>
            </a:xfrm>
            <a:custGeom>
              <a:avLst/>
              <a:gdLst>
                <a:gd name="connsiteX0" fmla="*/ 9537 w 44100"/>
                <a:gd name="connsiteY0" fmla="*/ 13057 h 18742"/>
                <a:gd name="connsiteX1" fmla="*/ 2377 w 44100"/>
                <a:gd name="connsiteY1" fmla="*/ 18742 h 18742"/>
                <a:gd name="connsiteX2" fmla="*/ 24910 w 44100"/>
                <a:gd name="connsiteY2" fmla="*/ 13057 h 18742"/>
                <a:gd name="connsiteX3" fmla="*/ 39862 w 44100"/>
                <a:gd name="connsiteY3" fmla="*/ 3369 h 18742"/>
                <a:gd name="connsiteX4" fmla="*/ 40283 w 44100"/>
                <a:gd name="connsiteY4" fmla="*/ 0 h 18742"/>
                <a:gd name="connsiteX5" fmla="*/ 9537 w 44100"/>
                <a:gd name="connsiteY5" fmla="*/ 13057 h 18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4100" h="18742">
                  <a:moveTo>
                    <a:pt x="9537" y="13057"/>
                  </a:moveTo>
                  <a:cubicBezTo>
                    <a:pt x="13328" y="13057"/>
                    <a:pt x="-6678" y="18742"/>
                    <a:pt x="2377" y="18742"/>
                  </a:cubicBezTo>
                  <a:cubicBezTo>
                    <a:pt x="12064" y="18742"/>
                    <a:pt x="29754" y="13057"/>
                    <a:pt x="24910" y="13057"/>
                  </a:cubicBezTo>
                  <a:cubicBezTo>
                    <a:pt x="29754" y="13057"/>
                    <a:pt x="45548" y="3369"/>
                    <a:pt x="39862" y="3369"/>
                  </a:cubicBezTo>
                  <a:cubicBezTo>
                    <a:pt x="45758" y="3369"/>
                    <a:pt x="45127" y="0"/>
                    <a:pt x="40283" y="0"/>
                  </a:cubicBezTo>
                  <a:cubicBezTo>
                    <a:pt x="46180" y="0"/>
                    <a:pt x="10590" y="13057"/>
                    <a:pt x="9537" y="1305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4" name="Forme libre : forme 78">
              <a:extLst>
                <a:ext uri="{FF2B5EF4-FFF2-40B4-BE49-F238E27FC236}">
                  <a16:creationId xmlns:a16="http://schemas.microsoft.com/office/drawing/2014/main" id="{EBE39389-DEFA-44B5-864F-7B1C5CA35C89}"/>
                </a:ext>
              </a:extLst>
            </p:cNvPr>
            <p:cNvSpPr/>
            <p:nvPr/>
          </p:nvSpPr>
          <p:spPr>
            <a:xfrm>
              <a:off x="2809338" y="2020569"/>
              <a:ext cx="34847" cy="12003"/>
            </a:xfrm>
            <a:custGeom>
              <a:avLst/>
              <a:gdLst>
                <a:gd name="connsiteX0" fmla="*/ 33270 w 34847"/>
                <a:gd name="connsiteY0" fmla="*/ 0 h 12003"/>
                <a:gd name="connsiteX1" fmla="*/ 13475 w 34847"/>
                <a:gd name="connsiteY1" fmla="*/ 5686 h 12003"/>
                <a:gd name="connsiteX2" fmla="*/ 1471 w 34847"/>
                <a:gd name="connsiteY2" fmla="*/ 12004 h 12003"/>
                <a:gd name="connsiteX3" fmla="*/ 23162 w 34847"/>
                <a:gd name="connsiteY3" fmla="*/ 5686 h 12003"/>
                <a:gd name="connsiteX4" fmla="*/ 33270 w 34847"/>
                <a:gd name="connsiteY4" fmla="*/ 0 h 12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847" h="12003">
                  <a:moveTo>
                    <a:pt x="33270" y="0"/>
                  </a:moveTo>
                  <a:cubicBezTo>
                    <a:pt x="38114" y="0"/>
                    <a:pt x="17476" y="5686"/>
                    <a:pt x="13475" y="5686"/>
                  </a:cubicBezTo>
                  <a:cubicBezTo>
                    <a:pt x="18318" y="5686"/>
                    <a:pt x="-6110" y="12004"/>
                    <a:pt x="1471" y="12004"/>
                  </a:cubicBezTo>
                  <a:cubicBezTo>
                    <a:pt x="10105" y="12004"/>
                    <a:pt x="26953" y="5686"/>
                    <a:pt x="23162" y="5686"/>
                  </a:cubicBezTo>
                  <a:cubicBezTo>
                    <a:pt x="27795" y="5686"/>
                    <a:pt x="38956" y="0"/>
                    <a:pt x="33270"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5" name="Forme libre : forme 79">
              <a:extLst>
                <a:ext uri="{FF2B5EF4-FFF2-40B4-BE49-F238E27FC236}">
                  <a16:creationId xmlns:a16="http://schemas.microsoft.com/office/drawing/2014/main" id="{37954F73-9427-4BF2-850F-9A953D8576C3}"/>
                </a:ext>
              </a:extLst>
            </p:cNvPr>
            <p:cNvSpPr/>
            <p:nvPr/>
          </p:nvSpPr>
          <p:spPr>
            <a:xfrm>
              <a:off x="1477148" y="2231158"/>
              <a:ext cx="313138" cy="117929"/>
            </a:xfrm>
            <a:custGeom>
              <a:avLst/>
              <a:gdLst>
                <a:gd name="connsiteX0" fmla="*/ 250180 w 313138"/>
                <a:gd name="connsiteY0" fmla="*/ 8845 h 117929"/>
                <a:gd name="connsiteX1" fmla="*/ 188688 w 313138"/>
                <a:gd name="connsiteY1" fmla="*/ 27587 h 117929"/>
                <a:gd name="connsiteX2" fmla="*/ 142569 w 313138"/>
                <a:gd name="connsiteY2" fmla="*/ 38117 h 117929"/>
                <a:gd name="connsiteX3" fmla="*/ 77286 w 313138"/>
                <a:gd name="connsiteY3" fmla="*/ 61281 h 117929"/>
                <a:gd name="connsiteX4" fmla="*/ 57070 w 313138"/>
                <a:gd name="connsiteY4" fmla="*/ 68441 h 117929"/>
                <a:gd name="connsiteX5" fmla="*/ 65283 w 313138"/>
                <a:gd name="connsiteY5" fmla="*/ 69916 h 117929"/>
                <a:gd name="connsiteX6" fmla="*/ 72864 w 313138"/>
                <a:gd name="connsiteY6" fmla="*/ 70969 h 117929"/>
                <a:gd name="connsiteX7" fmla="*/ 67599 w 313138"/>
                <a:gd name="connsiteY7" fmla="*/ 75180 h 117929"/>
                <a:gd name="connsiteX8" fmla="*/ 40644 w 313138"/>
                <a:gd name="connsiteY8" fmla="*/ 90132 h 117929"/>
                <a:gd name="connsiteX9" fmla="*/ 50331 w 313138"/>
                <a:gd name="connsiteY9" fmla="*/ 88658 h 117929"/>
                <a:gd name="connsiteX10" fmla="*/ 30746 w 313138"/>
                <a:gd name="connsiteY10" fmla="*/ 96239 h 117929"/>
                <a:gd name="connsiteX11" fmla="*/ 22533 w 313138"/>
                <a:gd name="connsiteY11" fmla="*/ 104452 h 117929"/>
                <a:gd name="connsiteX12" fmla="*/ 0 w 313138"/>
                <a:gd name="connsiteY12" fmla="*/ 117930 h 117929"/>
                <a:gd name="connsiteX13" fmla="*/ 17268 w 313138"/>
                <a:gd name="connsiteY13" fmla="*/ 113718 h 117929"/>
                <a:gd name="connsiteX14" fmla="*/ 30325 w 313138"/>
                <a:gd name="connsiteY14" fmla="*/ 111402 h 117929"/>
                <a:gd name="connsiteX15" fmla="*/ 43381 w 313138"/>
                <a:gd name="connsiteY15" fmla="*/ 109506 h 117929"/>
                <a:gd name="connsiteX16" fmla="*/ 57702 w 313138"/>
                <a:gd name="connsiteY16" fmla="*/ 109085 h 117929"/>
                <a:gd name="connsiteX17" fmla="*/ 76865 w 313138"/>
                <a:gd name="connsiteY17" fmla="*/ 106137 h 117929"/>
                <a:gd name="connsiteX18" fmla="*/ 104242 w 313138"/>
                <a:gd name="connsiteY18" fmla="*/ 94133 h 117929"/>
                <a:gd name="connsiteX19" fmla="*/ 119194 w 313138"/>
                <a:gd name="connsiteY19" fmla="*/ 89290 h 117929"/>
                <a:gd name="connsiteX20" fmla="*/ 146149 w 313138"/>
                <a:gd name="connsiteY20" fmla="*/ 78339 h 117929"/>
                <a:gd name="connsiteX21" fmla="*/ 153730 w 313138"/>
                <a:gd name="connsiteY21" fmla="*/ 71179 h 117929"/>
                <a:gd name="connsiteX22" fmla="*/ 166787 w 313138"/>
                <a:gd name="connsiteY22" fmla="*/ 63387 h 117929"/>
                <a:gd name="connsiteX23" fmla="*/ 182581 w 313138"/>
                <a:gd name="connsiteY23" fmla="*/ 56648 h 117929"/>
                <a:gd name="connsiteX24" fmla="*/ 196059 w 313138"/>
                <a:gd name="connsiteY24" fmla="*/ 48014 h 117929"/>
                <a:gd name="connsiteX25" fmla="*/ 229542 w 313138"/>
                <a:gd name="connsiteY25" fmla="*/ 34537 h 117929"/>
                <a:gd name="connsiteX26" fmla="*/ 263236 w 313138"/>
                <a:gd name="connsiteY26" fmla="*/ 20217 h 117929"/>
                <a:gd name="connsiteX27" fmla="*/ 293561 w 313138"/>
                <a:gd name="connsiteY27" fmla="*/ 8634 h 117929"/>
                <a:gd name="connsiteX28" fmla="*/ 312725 w 313138"/>
                <a:gd name="connsiteY28" fmla="*/ 0 h 117929"/>
                <a:gd name="connsiteX29" fmla="*/ 285348 w 313138"/>
                <a:gd name="connsiteY29" fmla="*/ 1895 h 117929"/>
                <a:gd name="connsiteX30" fmla="*/ 250180 w 313138"/>
                <a:gd name="connsiteY30" fmla="*/ 8845 h 117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13138" h="117929">
                  <a:moveTo>
                    <a:pt x="250180" y="8845"/>
                  </a:moveTo>
                  <a:cubicBezTo>
                    <a:pt x="231016" y="8845"/>
                    <a:pt x="207430" y="27587"/>
                    <a:pt x="188688" y="27587"/>
                  </a:cubicBezTo>
                  <a:cubicBezTo>
                    <a:pt x="174789" y="41486"/>
                    <a:pt x="169945" y="38117"/>
                    <a:pt x="142569" y="38117"/>
                  </a:cubicBezTo>
                  <a:cubicBezTo>
                    <a:pt x="123827" y="56859"/>
                    <a:pt x="90764" y="61281"/>
                    <a:pt x="77286" y="61281"/>
                  </a:cubicBezTo>
                  <a:cubicBezTo>
                    <a:pt x="66757" y="61281"/>
                    <a:pt x="58965" y="68441"/>
                    <a:pt x="57070" y="68441"/>
                  </a:cubicBezTo>
                  <a:cubicBezTo>
                    <a:pt x="58544" y="68441"/>
                    <a:pt x="66546" y="69916"/>
                    <a:pt x="65283" y="69916"/>
                  </a:cubicBezTo>
                  <a:cubicBezTo>
                    <a:pt x="66757" y="69916"/>
                    <a:pt x="76865" y="70969"/>
                    <a:pt x="72864" y="70969"/>
                  </a:cubicBezTo>
                  <a:cubicBezTo>
                    <a:pt x="76654" y="70969"/>
                    <a:pt x="74759" y="75180"/>
                    <a:pt x="67599" y="75180"/>
                  </a:cubicBezTo>
                  <a:cubicBezTo>
                    <a:pt x="61282" y="75180"/>
                    <a:pt x="42118" y="90132"/>
                    <a:pt x="40644" y="90132"/>
                  </a:cubicBezTo>
                  <a:cubicBezTo>
                    <a:pt x="41697" y="90132"/>
                    <a:pt x="54543" y="88658"/>
                    <a:pt x="50331" y="88658"/>
                  </a:cubicBezTo>
                  <a:cubicBezTo>
                    <a:pt x="54753" y="88658"/>
                    <a:pt x="32641" y="96239"/>
                    <a:pt x="30746" y="96239"/>
                  </a:cubicBezTo>
                  <a:cubicBezTo>
                    <a:pt x="32641" y="96239"/>
                    <a:pt x="26324" y="104452"/>
                    <a:pt x="22533" y="104452"/>
                  </a:cubicBezTo>
                  <a:cubicBezTo>
                    <a:pt x="26745" y="104452"/>
                    <a:pt x="3370" y="117930"/>
                    <a:pt x="0" y="117930"/>
                  </a:cubicBezTo>
                  <a:cubicBezTo>
                    <a:pt x="2948" y="117930"/>
                    <a:pt x="10108" y="113718"/>
                    <a:pt x="17268" y="113718"/>
                  </a:cubicBezTo>
                  <a:cubicBezTo>
                    <a:pt x="24007" y="113718"/>
                    <a:pt x="33484" y="111402"/>
                    <a:pt x="30325" y="111402"/>
                  </a:cubicBezTo>
                  <a:cubicBezTo>
                    <a:pt x="34115" y="111402"/>
                    <a:pt x="49067" y="109506"/>
                    <a:pt x="43381" y="109506"/>
                  </a:cubicBezTo>
                  <a:cubicBezTo>
                    <a:pt x="49067" y="109506"/>
                    <a:pt x="53490" y="109085"/>
                    <a:pt x="57702" y="109085"/>
                  </a:cubicBezTo>
                  <a:cubicBezTo>
                    <a:pt x="61071" y="109085"/>
                    <a:pt x="81287" y="106137"/>
                    <a:pt x="76865" y="106137"/>
                  </a:cubicBezTo>
                  <a:cubicBezTo>
                    <a:pt x="81077" y="106137"/>
                    <a:pt x="96450" y="94133"/>
                    <a:pt x="104242" y="94133"/>
                  </a:cubicBezTo>
                  <a:cubicBezTo>
                    <a:pt x="110981" y="94133"/>
                    <a:pt x="112876" y="89290"/>
                    <a:pt x="119194" y="89290"/>
                  </a:cubicBezTo>
                  <a:cubicBezTo>
                    <a:pt x="125511" y="89290"/>
                    <a:pt x="151414" y="78339"/>
                    <a:pt x="146149" y="78339"/>
                  </a:cubicBezTo>
                  <a:cubicBezTo>
                    <a:pt x="150992" y="78339"/>
                    <a:pt x="161101" y="71179"/>
                    <a:pt x="153730" y="71179"/>
                  </a:cubicBezTo>
                  <a:cubicBezTo>
                    <a:pt x="160890" y="71179"/>
                    <a:pt x="174368" y="63387"/>
                    <a:pt x="166787" y="63387"/>
                  </a:cubicBezTo>
                  <a:cubicBezTo>
                    <a:pt x="174578" y="63387"/>
                    <a:pt x="175000" y="56648"/>
                    <a:pt x="182581" y="56648"/>
                  </a:cubicBezTo>
                  <a:cubicBezTo>
                    <a:pt x="190162" y="56648"/>
                    <a:pt x="203219" y="48014"/>
                    <a:pt x="196059" y="48014"/>
                  </a:cubicBezTo>
                  <a:cubicBezTo>
                    <a:pt x="204272" y="48014"/>
                    <a:pt x="219013" y="34537"/>
                    <a:pt x="229542" y="34537"/>
                  </a:cubicBezTo>
                  <a:cubicBezTo>
                    <a:pt x="241125" y="34537"/>
                    <a:pt x="255445" y="20217"/>
                    <a:pt x="263236" y="20217"/>
                  </a:cubicBezTo>
                  <a:cubicBezTo>
                    <a:pt x="271871" y="20217"/>
                    <a:pt x="284927" y="8634"/>
                    <a:pt x="293561" y="8634"/>
                  </a:cubicBezTo>
                  <a:cubicBezTo>
                    <a:pt x="302195" y="8634"/>
                    <a:pt x="315673" y="0"/>
                    <a:pt x="312725" y="0"/>
                  </a:cubicBezTo>
                  <a:cubicBezTo>
                    <a:pt x="315041" y="0"/>
                    <a:pt x="294614" y="1895"/>
                    <a:pt x="285348" y="1895"/>
                  </a:cubicBezTo>
                  <a:cubicBezTo>
                    <a:pt x="276714" y="1685"/>
                    <a:pt x="262605" y="8845"/>
                    <a:pt x="250180" y="884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6" name="Forme libre : forme 80">
              <a:extLst>
                <a:ext uri="{FF2B5EF4-FFF2-40B4-BE49-F238E27FC236}">
                  <a16:creationId xmlns:a16="http://schemas.microsoft.com/office/drawing/2014/main" id="{A0D50598-9E44-4061-A00A-4EE14B46654B}"/>
                </a:ext>
              </a:extLst>
            </p:cNvPr>
            <p:cNvSpPr/>
            <p:nvPr/>
          </p:nvSpPr>
          <p:spPr>
            <a:xfrm>
              <a:off x="1662677" y="2142003"/>
              <a:ext cx="500789" cy="171073"/>
            </a:xfrm>
            <a:custGeom>
              <a:avLst/>
              <a:gdLst>
                <a:gd name="connsiteX0" fmla="*/ 156889 w 500789"/>
                <a:gd name="connsiteY0" fmla="*/ 87048 h 171073"/>
                <a:gd name="connsiteX1" fmla="*/ 151203 w 500789"/>
                <a:gd name="connsiteY1" fmla="*/ 83679 h 171073"/>
                <a:gd name="connsiteX2" fmla="*/ 115613 w 500789"/>
                <a:gd name="connsiteY2" fmla="*/ 96525 h 171073"/>
                <a:gd name="connsiteX3" fmla="*/ 79603 w 500789"/>
                <a:gd name="connsiteY3" fmla="*/ 110424 h 171073"/>
                <a:gd name="connsiteX4" fmla="*/ 41697 w 500789"/>
                <a:gd name="connsiteY4" fmla="*/ 126218 h 171073"/>
                <a:gd name="connsiteX5" fmla="*/ 21059 w 500789"/>
                <a:gd name="connsiteY5" fmla="*/ 136326 h 171073"/>
                <a:gd name="connsiteX6" fmla="*/ 33062 w 500789"/>
                <a:gd name="connsiteY6" fmla="*/ 134010 h 171073"/>
                <a:gd name="connsiteX7" fmla="*/ 0 w 500789"/>
                <a:gd name="connsiteY7" fmla="*/ 149804 h 171073"/>
                <a:gd name="connsiteX8" fmla="*/ 18742 w 500789"/>
                <a:gd name="connsiteY8" fmla="*/ 147909 h 171073"/>
                <a:gd name="connsiteX9" fmla="*/ 17689 w 500789"/>
                <a:gd name="connsiteY9" fmla="*/ 151278 h 171073"/>
                <a:gd name="connsiteX10" fmla="*/ 46119 w 500789"/>
                <a:gd name="connsiteY10" fmla="*/ 142644 h 171073"/>
                <a:gd name="connsiteX11" fmla="*/ 79603 w 500789"/>
                <a:gd name="connsiteY11" fmla="*/ 131062 h 171073"/>
                <a:gd name="connsiteX12" fmla="*/ 69073 w 500789"/>
                <a:gd name="connsiteY12" fmla="*/ 135905 h 171073"/>
                <a:gd name="connsiteX13" fmla="*/ 12425 w 500789"/>
                <a:gd name="connsiteY13" fmla="*/ 157596 h 171073"/>
                <a:gd name="connsiteX14" fmla="*/ 24428 w 500789"/>
                <a:gd name="connsiteY14" fmla="*/ 159491 h 171073"/>
                <a:gd name="connsiteX15" fmla="*/ 69494 w 500789"/>
                <a:gd name="connsiteY15" fmla="*/ 147487 h 171073"/>
                <a:gd name="connsiteX16" fmla="*/ 117509 w 500789"/>
                <a:gd name="connsiteY16" fmla="*/ 131693 h 171073"/>
                <a:gd name="connsiteX17" fmla="*/ 160679 w 500789"/>
                <a:gd name="connsiteY17" fmla="*/ 121164 h 171073"/>
                <a:gd name="connsiteX18" fmla="*/ 182791 w 500789"/>
                <a:gd name="connsiteY18" fmla="*/ 115899 h 171073"/>
                <a:gd name="connsiteX19" fmla="*/ 155836 w 500789"/>
                <a:gd name="connsiteY19" fmla="*/ 126429 h 171073"/>
                <a:gd name="connsiteX20" fmla="*/ 84236 w 500789"/>
                <a:gd name="connsiteY20" fmla="*/ 147487 h 171073"/>
                <a:gd name="connsiteX21" fmla="*/ 31799 w 500789"/>
                <a:gd name="connsiteY21" fmla="*/ 165177 h 171073"/>
                <a:gd name="connsiteX22" fmla="*/ 33694 w 500789"/>
                <a:gd name="connsiteY22" fmla="*/ 171074 h 171073"/>
                <a:gd name="connsiteX23" fmla="*/ 49910 w 500789"/>
                <a:gd name="connsiteY23" fmla="*/ 171074 h 171073"/>
                <a:gd name="connsiteX24" fmla="*/ 74338 w 500789"/>
                <a:gd name="connsiteY24" fmla="*/ 163913 h 171073"/>
                <a:gd name="connsiteX25" fmla="*/ 111823 w 500789"/>
                <a:gd name="connsiteY25" fmla="*/ 153805 h 171073"/>
                <a:gd name="connsiteX26" fmla="*/ 120878 w 500789"/>
                <a:gd name="connsiteY26" fmla="*/ 154226 h 171073"/>
                <a:gd name="connsiteX27" fmla="*/ 124669 w 500789"/>
                <a:gd name="connsiteY27" fmla="*/ 161386 h 171073"/>
                <a:gd name="connsiteX28" fmla="*/ 179843 w 500789"/>
                <a:gd name="connsiteY28" fmla="*/ 144960 h 171073"/>
                <a:gd name="connsiteX29" fmla="*/ 224067 w 500789"/>
                <a:gd name="connsiteY29" fmla="*/ 131062 h 171073"/>
                <a:gd name="connsiteX30" fmla="*/ 263447 w 500789"/>
                <a:gd name="connsiteY30" fmla="*/ 115689 h 171073"/>
                <a:gd name="connsiteX31" fmla="*/ 281768 w 500789"/>
                <a:gd name="connsiteY31" fmla="*/ 110424 h 171073"/>
                <a:gd name="connsiteX32" fmla="*/ 310198 w 500789"/>
                <a:gd name="connsiteY32" fmla="*/ 98841 h 171073"/>
                <a:gd name="connsiteX33" fmla="*/ 327045 w 500789"/>
                <a:gd name="connsiteY33" fmla="*/ 89154 h 171073"/>
                <a:gd name="connsiteX34" fmla="*/ 334205 w 500789"/>
                <a:gd name="connsiteY34" fmla="*/ 92945 h 171073"/>
                <a:gd name="connsiteX35" fmla="*/ 351894 w 500789"/>
                <a:gd name="connsiteY35" fmla="*/ 86627 h 171073"/>
                <a:gd name="connsiteX36" fmla="*/ 360529 w 500789"/>
                <a:gd name="connsiteY36" fmla="*/ 88523 h 171073"/>
                <a:gd name="connsiteX37" fmla="*/ 386852 w 500789"/>
                <a:gd name="connsiteY37" fmla="*/ 82205 h 171073"/>
                <a:gd name="connsiteX38" fmla="*/ 408964 w 500789"/>
                <a:gd name="connsiteY38" fmla="*/ 76519 h 171073"/>
                <a:gd name="connsiteX39" fmla="*/ 432129 w 500789"/>
                <a:gd name="connsiteY39" fmla="*/ 71254 h 171073"/>
                <a:gd name="connsiteX40" fmla="*/ 450450 w 500789"/>
                <a:gd name="connsiteY40" fmla="*/ 63041 h 171073"/>
                <a:gd name="connsiteX41" fmla="*/ 467718 w 500789"/>
                <a:gd name="connsiteY41" fmla="*/ 56724 h 171073"/>
                <a:gd name="connsiteX42" fmla="*/ 469614 w 500789"/>
                <a:gd name="connsiteY42" fmla="*/ 53354 h 171073"/>
                <a:gd name="connsiteX43" fmla="*/ 459927 w 500789"/>
                <a:gd name="connsiteY43" fmla="*/ 53775 h 171073"/>
                <a:gd name="connsiteX44" fmla="*/ 446028 w 500789"/>
                <a:gd name="connsiteY44" fmla="*/ 55249 h 171073"/>
                <a:gd name="connsiteX45" fmla="*/ 454241 w 500789"/>
                <a:gd name="connsiteY45" fmla="*/ 49985 h 171073"/>
                <a:gd name="connsiteX46" fmla="*/ 469614 w 500789"/>
                <a:gd name="connsiteY46" fmla="*/ 46194 h 171073"/>
                <a:gd name="connsiteX47" fmla="*/ 478669 w 500789"/>
                <a:gd name="connsiteY47" fmla="*/ 46194 h 171073"/>
                <a:gd name="connsiteX48" fmla="*/ 484987 w 500789"/>
                <a:gd name="connsiteY48" fmla="*/ 47668 h 171073"/>
                <a:gd name="connsiteX49" fmla="*/ 497411 w 500789"/>
                <a:gd name="connsiteY49" fmla="*/ 38613 h 171073"/>
                <a:gd name="connsiteX50" fmla="*/ 496990 w 500789"/>
                <a:gd name="connsiteY50" fmla="*/ 31874 h 171073"/>
                <a:gd name="connsiteX51" fmla="*/ 473826 w 500789"/>
                <a:gd name="connsiteY51" fmla="*/ 37139 h 171073"/>
                <a:gd name="connsiteX52" fmla="*/ 446449 w 500789"/>
                <a:gd name="connsiteY52" fmla="*/ 40087 h 171073"/>
                <a:gd name="connsiteX53" fmla="*/ 426232 w 500789"/>
                <a:gd name="connsiteY53" fmla="*/ 43457 h 171073"/>
                <a:gd name="connsiteX54" fmla="*/ 412755 w 500789"/>
                <a:gd name="connsiteY54" fmla="*/ 43878 h 171073"/>
                <a:gd name="connsiteX55" fmla="*/ 404542 w 500789"/>
                <a:gd name="connsiteY55" fmla="*/ 43035 h 171073"/>
                <a:gd name="connsiteX56" fmla="*/ 416966 w 500789"/>
                <a:gd name="connsiteY56" fmla="*/ 32927 h 171073"/>
                <a:gd name="connsiteX57" fmla="*/ 403489 w 500789"/>
                <a:gd name="connsiteY57" fmla="*/ 29979 h 171073"/>
                <a:gd name="connsiteX58" fmla="*/ 399698 w 500789"/>
                <a:gd name="connsiteY58" fmla="*/ 21766 h 171073"/>
                <a:gd name="connsiteX59" fmla="*/ 421389 w 500789"/>
                <a:gd name="connsiteY59" fmla="*/ 8709 h 171073"/>
                <a:gd name="connsiteX60" fmla="*/ 429602 w 500789"/>
                <a:gd name="connsiteY60" fmla="*/ 75 h 171073"/>
                <a:gd name="connsiteX61" fmla="*/ 397803 w 500789"/>
                <a:gd name="connsiteY61" fmla="*/ 6814 h 171073"/>
                <a:gd name="connsiteX62" fmla="*/ 368531 w 500789"/>
                <a:gd name="connsiteY62" fmla="*/ 16291 h 171073"/>
                <a:gd name="connsiteX63" fmla="*/ 358423 w 500789"/>
                <a:gd name="connsiteY63" fmla="*/ 22608 h 171073"/>
                <a:gd name="connsiteX64" fmla="*/ 378639 w 500789"/>
                <a:gd name="connsiteY64" fmla="*/ 20292 h 171073"/>
                <a:gd name="connsiteX65" fmla="*/ 371900 w 500789"/>
                <a:gd name="connsiteY65" fmla="*/ 22608 h 171073"/>
                <a:gd name="connsiteX66" fmla="*/ 356527 w 500789"/>
                <a:gd name="connsiteY66" fmla="*/ 24503 h 171073"/>
                <a:gd name="connsiteX67" fmla="*/ 349788 w 500789"/>
                <a:gd name="connsiteY67" fmla="*/ 28715 h 171073"/>
                <a:gd name="connsiteX68" fmla="*/ 339259 w 500789"/>
                <a:gd name="connsiteY68" fmla="*/ 29136 h 171073"/>
                <a:gd name="connsiteX69" fmla="*/ 318200 w 500789"/>
                <a:gd name="connsiteY69" fmla="*/ 36928 h 171073"/>
                <a:gd name="connsiteX70" fmla="*/ 321991 w 500789"/>
                <a:gd name="connsiteY70" fmla="*/ 43246 h 171073"/>
                <a:gd name="connsiteX71" fmla="*/ 324307 w 500789"/>
                <a:gd name="connsiteY71" fmla="*/ 54828 h 171073"/>
                <a:gd name="connsiteX72" fmla="*/ 309355 w 500789"/>
                <a:gd name="connsiteY72" fmla="*/ 60514 h 171073"/>
                <a:gd name="connsiteX73" fmla="*/ 311251 w 500789"/>
                <a:gd name="connsiteY73" fmla="*/ 55671 h 171073"/>
                <a:gd name="connsiteX74" fmla="*/ 304512 w 500789"/>
                <a:gd name="connsiteY74" fmla="*/ 55671 h 171073"/>
                <a:gd name="connsiteX75" fmla="*/ 301142 w 500789"/>
                <a:gd name="connsiteY75" fmla="*/ 52933 h 171073"/>
                <a:gd name="connsiteX76" fmla="*/ 307460 w 500789"/>
                <a:gd name="connsiteY76" fmla="*/ 47668 h 171073"/>
                <a:gd name="connsiteX77" fmla="*/ 292087 w 500789"/>
                <a:gd name="connsiteY77" fmla="*/ 51038 h 171073"/>
                <a:gd name="connsiteX78" fmla="*/ 271871 w 500789"/>
                <a:gd name="connsiteY78" fmla="*/ 52933 h 171073"/>
                <a:gd name="connsiteX79" fmla="*/ 246810 w 500789"/>
                <a:gd name="connsiteY79" fmla="*/ 59672 h 171073"/>
                <a:gd name="connsiteX80" fmla="*/ 253549 w 500789"/>
                <a:gd name="connsiteY80" fmla="*/ 62620 h 171073"/>
                <a:gd name="connsiteX81" fmla="*/ 234386 w 500789"/>
                <a:gd name="connsiteY81" fmla="*/ 71254 h 171073"/>
                <a:gd name="connsiteX82" fmla="*/ 233964 w 500789"/>
                <a:gd name="connsiteY82" fmla="*/ 67885 h 171073"/>
                <a:gd name="connsiteX83" fmla="*/ 217117 w 500789"/>
                <a:gd name="connsiteY83" fmla="*/ 71254 h 171073"/>
                <a:gd name="connsiteX84" fmla="*/ 185318 w 500789"/>
                <a:gd name="connsiteY84" fmla="*/ 77993 h 171073"/>
                <a:gd name="connsiteX85" fmla="*/ 166576 w 500789"/>
                <a:gd name="connsiteY85" fmla="*/ 86627 h 171073"/>
                <a:gd name="connsiteX86" fmla="*/ 154572 w 500789"/>
                <a:gd name="connsiteY86" fmla="*/ 92945 h 171073"/>
                <a:gd name="connsiteX87" fmla="*/ 142569 w 500789"/>
                <a:gd name="connsiteY87" fmla="*/ 94419 h 171073"/>
                <a:gd name="connsiteX88" fmla="*/ 156889 w 500789"/>
                <a:gd name="connsiteY88" fmla="*/ 87048 h 171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500789" h="171073">
                  <a:moveTo>
                    <a:pt x="156889" y="87048"/>
                  </a:moveTo>
                  <a:cubicBezTo>
                    <a:pt x="159837" y="87048"/>
                    <a:pt x="159205" y="83679"/>
                    <a:pt x="151203" y="83679"/>
                  </a:cubicBezTo>
                  <a:cubicBezTo>
                    <a:pt x="142569" y="83679"/>
                    <a:pt x="127196" y="96525"/>
                    <a:pt x="115613" y="96525"/>
                  </a:cubicBezTo>
                  <a:cubicBezTo>
                    <a:pt x="103610" y="96525"/>
                    <a:pt x="88658" y="110424"/>
                    <a:pt x="79603" y="110424"/>
                  </a:cubicBezTo>
                  <a:cubicBezTo>
                    <a:pt x="68652" y="110424"/>
                    <a:pt x="49278" y="126218"/>
                    <a:pt x="41697" y="126218"/>
                  </a:cubicBezTo>
                  <a:cubicBezTo>
                    <a:pt x="33484" y="126218"/>
                    <a:pt x="16215" y="136326"/>
                    <a:pt x="21059" y="136326"/>
                  </a:cubicBezTo>
                  <a:cubicBezTo>
                    <a:pt x="25902" y="136326"/>
                    <a:pt x="37485" y="134010"/>
                    <a:pt x="33062" y="134010"/>
                  </a:cubicBezTo>
                  <a:cubicBezTo>
                    <a:pt x="37274" y="134010"/>
                    <a:pt x="4212" y="149804"/>
                    <a:pt x="0" y="149804"/>
                  </a:cubicBezTo>
                  <a:cubicBezTo>
                    <a:pt x="4212" y="149804"/>
                    <a:pt x="23586" y="147909"/>
                    <a:pt x="18742" y="147909"/>
                  </a:cubicBezTo>
                  <a:cubicBezTo>
                    <a:pt x="24428" y="147909"/>
                    <a:pt x="21691" y="151278"/>
                    <a:pt x="17689" y="151278"/>
                  </a:cubicBezTo>
                  <a:cubicBezTo>
                    <a:pt x="21059" y="151278"/>
                    <a:pt x="38748" y="142644"/>
                    <a:pt x="46119" y="142644"/>
                  </a:cubicBezTo>
                  <a:cubicBezTo>
                    <a:pt x="48857" y="136958"/>
                    <a:pt x="81077" y="131062"/>
                    <a:pt x="79603" y="131062"/>
                  </a:cubicBezTo>
                  <a:cubicBezTo>
                    <a:pt x="81077" y="131062"/>
                    <a:pt x="75391" y="135905"/>
                    <a:pt x="69073" y="135905"/>
                  </a:cubicBezTo>
                  <a:cubicBezTo>
                    <a:pt x="66125" y="142223"/>
                    <a:pt x="18111" y="157596"/>
                    <a:pt x="12425" y="157596"/>
                  </a:cubicBezTo>
                  <a:cubicBezTo>
                    <a:pt x="18111" y="157596"/>
                    <a:pt x="12425" y="159491"/>
                    <a:pt x="24428" y="159491"/>
                  </a:cubicBezTo>
                  <a:cubicBezTo>
                    <a:pt x="36011" y="159491"/>
                    <a:pt x="64230" y="158017"/>
                    <a:pt x="69494" y="147487"/>
                  </a:cubicBezTo>
                  <a:cubicBezTo>
                    <a:pt x="81498" y="147487"/>
                    <a:pt x="104452" y="131693"/>
                    <a:pt x="117509" y="131693"/>
                  </a:cubicBezTo>
                  <a:cubicBezTo>
                    <a:pt x="129933" y="131693"/>
                    <a:pt x="151203" y="121164"/>
                    <a:pt x="160679" y="121164"/>
                  </a:cubicBezTo>
                  <a:cubicBezTo>
                    <a:pt x="164891" y="112951"/>
                    <a:pt x="184266" y="115899"/>
                    <a:pt x="182791" y="115899"/>
                  </a:cubicBezTo>
                  <a:cubicBezTo>
                    <a:pt x="184266" y="115899"/>
                    <a:pt x="170788" y="126429"/>
                    <a:pt x="155836" y="126429"/>
                  </a:cubicBezTo>
                  <a:cubicBezTo>
                    <a:pt x="141516" y="126429"/>
                    <a:pt x="96871" y="147487"/>
                    <a:pt x="84236" y="147487"/>
                  </a:cubicBezTo>
                  <a:cubicBezTo>
                    <a:pt x="71811" y="147487"/>
                    <a:pt x="38748" y="165177"/>
                    <a:pt x="31799" y="165177"/>
                  </a:cubicBezTo>
                  <a:cubicBezTo>
                    <a:pt x="39591" y="165177"/>
                    <a:pt x="37485" y="171074"/>
                    <a:pt x="33694" y="171074"/>
                  </a:cubicBezTo>
                  <a:cubicBezTo>
                    <a:pt x="40433" y="171074"/>
                    <a:pt x="41907" y="171074"/>
                    <a:pt x="49910" y="171074"/>
                  </a:cubicBezTo>
                  <a:cubicBezTo>
                    <a:pt x="58544" y="171074"/>
                    <a:pt x="63387" y="163913"/>
                    <a:pt x="74338" y="163913"/>
                  </a:cubicBezTo>
                  <a:cubicBezTo>
                    <a:pt x="84446" y="163913"/>
                    <a:pt x="117088" y="153805"/>
                    <a:pt x="111823" y="153805"/>
                  </a:cubicBezTo>
                  <a:cubicBezTo>
                    <a:pt x="117088" y="153805"/>
                    <a:pt x="125300" y="154226"/>
                    <a:pt x="120878" y="154226"/>
                  </a:cubicBezTo>
                  <a:cubicBezTo>
                    <a:pt x="125090" y="154226"/>
                    <a:pt x="117088" y="161386"/>
                    <a:pt x="124669" y="161386"/>
                  </a:cubicBezTo>
                  <a:cubicBezTo>
                    <a:pt x="128038" y="154648"/>
                    <a:pt x="171630" y="144960"/>
                    <a:pt x="179843" y="144960"/>
                  </a:cubicBezTo>
                  <a:cubicBezTo>
                    <a:pt x="187635" y="144960"/>
                    <a:pt x="216907" y="131062"/>
                    <a:pt x="224067" y="131062"/>
                  </a:cubicBezTo>
                  <a:cubicBezTo>
                    <a:pt x="230806" y="131062"/>
                    <a:pt x="269133" y="115689"/>
                    <a:pt x="263447" y="115689"/>
                  </a:cubicBezTo>
                  <a:cubicBezTo>
                    <a:pt x="269765" y="115689"/>
                    <a:pt x="273555" y="110424"/>
                    <a:pt x="281768" y="110424"/>
                  </a:cubicBezTo>
                  <a:cubicBezTo>
                    <a:pt x="289560" y="110424"/>
                    <a:pt x="317779" y="98841"/>
                    <a:pt x="310198" y="98841"/>
                  </a:cubicBezTo>
                  <a:cubicBezTo>
                    <a:pt x="318411" y="98841"/>
                    <a:pt x="330836" y="89154"/>
                    <a:pt x="327045" y="89154"/>
                  </a:cubicBezTo>
                  <a:cubicBezTo>
                    <a:pt x="331467" y="89154"/>
                    <a:pt x="325992" y="92945"/>
                    <a:pt x="334205" y="92945"/>
                  </a:cubicBezTo>
                  <a:cubicBezTo>
                    <a:pt x="342418" y="92945"/>
                    <a:pt x="355896" y="86627"/>
                    <a:pt x="351894" y="86627"/>
                  </a:cubicBezTo>
                  <a:cubicBezTo>
                    <a:pt x="355685" y="86627"/>
                    <a:pt x="353790" y="88523"/>
                    <a:pt x="360529" y="88523"/>
                  </a:cubicBezTo>
                  <a:cubicBezTo>
                    <a:pt x="367689" y="88523"/>
                    <a:pt x="392749" y="82205"/>
                    <a:pt x="386852" y="82205"/>
                  </a:cubicBezTo>
                  <a:cubicBezTo>
                    <a:pt x="392538" y="82205"/>
                    <a:pt x="401804" y="76519"/>
                    <a:pt x="408964" y="76519"/>
                  </a:cubicBezTo>
                  <a:cubicBezTo>
                    <a:pt x="416756" y="76519"/>
                    <a:pt x="436341" y="71254"/>
                    <a:pt x="432129" y="71254"/>
                  </a:cubicBezTo>
                  <a:cubicBezTo>
                    <a:pt x="436341" y="71254"/>
                    <a:pt x="442237" y="63041"/>
                    <a:pt x="450450" y="63041"/>
                  </a:cubicBezTo>
                  <a:cubicBezTo>
                    <a:pt x="458663" y="63041"/>
                    <a:pt x="472562" y="56724"/>
                    <a:pt x="467718" y="56724"/>
                  </a:cubicBezTo>
                  <a:cubicBezTo>
                    <a:pt x="471930" y="56724"/>
                    <a:pt x="475300" y="53354"/>
                    <a:pt x="469614" y="53354"/>
                  </a:cubicBezTo>
                  <a:cubicBezTo>
                    <a:pt x="463296" y="53354"/>
                    <a:pt x="462875" y="53775"/>
                    <a:pt x="459927" y="53775"/>
                  </a:cubicBezTo>
                  <a:cubicBezTo>
                    <a:pt x="462243" y="53775"/>
                    <a:pt x="450240" y="55249"/>
                    <a:pt x="446028" y="55249"/>
                  </a:cubicBezTo>
                  <a:cubicBezTo>
                    <a:pt x="449818" y="55249"/>
                    <a:pt x="447081" y="49985"/>
                    <a:pt x="454241" y="49985"/>
                  </a:cubicBezTo>
                  <a:cubicBezTo>
                    <a:pt x="462032" y="49985"/>
                    <a:pt x="466665" y="51459"/>
                    <a:pt x="469614" y="46194"/>
                  </a:cubicBezTo>
                  <a:cubicBezTo>
                    <a:pt x="474878" y="46194"/>
                    <a:pt x="481617" y="46194"/>
                    <a:pt x="478669" y="46194"/>
                  </a:cubicBezTo>
                  <a:cubicBezTo>
                    <a:pt x="481617" y="46194"/>
                    <a:pt x="489830" y="47668"/>
                    <a:pt x="484987" y="47668"/>
                  </a:cubicBezTo>
                  <a:cubicBezTo>
                    <a:pt x="489830" y="47668"/>
                    <a:pt x="501413" y="38613"/>
                    <a:pt x="497411" y="38613"/>
                  </a:cubicBezTo>
                  <a:cubicBezTo>
                    <a:pt x="500781" y="38613"/>
                    <a:pt x="503097" y="31874"/>
                    <a:pt x="496990" y="31874"/>
                  </a:cubicBezTo>
                  <a:cubicBezTo>
                    <a:pt x="490673" y="31874"/>
                    <a:pt x="477827" y="29979"/>
                    <a:pt x="473826" y="37139"/>
                  </a:cubicBezTo>
                  <a:cubicBezTo>
                    <a:pt x="465612" y="37139"/>
                    <a:pt x="454241" y="40087"/>
                    <a:pt x="446449" y="40087"/>
                  </a:cubicBezTo>
                  <a:cubicBezTo>
                    <a:pt x="443079" y="47247"/>
                    <a:pt x="432550" y="43457"/>
                    <a:pt x="426232" y="43457"/>
                  </a:cubicBezTo>
                  <a:cubicBezTo>
                    <a:pt x="431497" y="43457"/>
                    <a:pt x="419072" y="43878"/>
                    <a:pt x="412755" y="43878"/>
                  </a:cubicBezTo>
                  <a:cubicBezTo>
                    <a:pt x="409806" y="48721"/>
                    <a:pt x="407490" y="43035"/>
                    <a:pt x="404542" y="43035"/>
                  </a:cubicBezTo>
                  <a:cubicBezTo>
                    <a:pt x="407279" y="43035"/>
                    <a:pt x="420757" y="32927"/>
                    <a:pt x="416966" y="32927"/>
                  </a:cubicBezTo>
                  <a:cubicBezTo>
                    <a:pt x="420757" y="32927"/>
                    <a:pt x="407279" y="29979"/>
                    <a:pt x="403489" y="29979"/>
                  </a:cubicBezTo>
                  <a:cubicBezTo>
                    <a:pt x="407279" y="29979"/>
                    <a:pt x="393381" y="33769"/>
                    <a:pt x="399698" y="21766"/>
                  </a:cubicBezTo>
                  <a:cubicBezTo>
                    <a:pt x="408753" y="12079"/>
                    <a:pt x="409806" y="8709"/>
                    <a:pt x="421389" y="8709"/>
                  </a:cubicBezTo>
                  <a:cubicBezTo>
                    <a:pt x="426653" y="-1399"/>
                    <a:pt x="438025" y="75"/>
                    <a:pt x="429602" y="75"/>
                  </a:cubicBezTo>
                  <a:cubicBezTo>
                    <a:pt x="420968" y="75"/>
                    <a:pt x="407490" y="6814"/>
                    <a:pt x="397803" y="6814"/>
                  </a:cubicBezTo>
                  <a:cubicBezTo>
                    <a:pt x="388326" y="6814"/>
                    <a:pt x="377165" y="16291"/>
                    <a:pt x="368531" y="16291"/>
                  </a:cubicBezTo>
                  <a:cubicBezTo>
                    <a:pt x="360318" y="16291"/>
                    <a:pt x="355474" y="28294"/>
                    <a:pt x="358423" y="22608"/>
                  </a:cubicBezTo>
                  <a:cubicBezTo>
                    <a:pt x="364108" y="22608"/>
                    <a:pt x="382851" y="20292"/>
                    <a:pt x="378639" y="20292"/>
                  </a:cubicBezTo>
                  <a:cubicBezTo>
                    <a:pt x="382009" y="20292"/>
                    <a:pt x="378218" y="22608"/>
                    <a:pt x="371900" y="22608"/>
                  </a:cubicBezTo>
                  <a:cubicBezTo>
                    <a:pt x="365793" y="22608"/>
                    <a:pt x="361371" y="24503"/>
                    <a:pt x="356527" y="24503"/>
                  </a:cubicBezTo>
                  <a:cubicBezTo>
                    <a:pt x="361792" y="24503"/>
                    <a:pt x="355053" y="28715"/>
                    <a:pt x="349788" y="28715"/>
                  </a:cubicBezTo>
                  <a:cubicBezTo>
                    <a:pt x="343471" y="28715"/>
                    <a:pt x="344524" y="29136"/>
                    <a:pt x="339259" y="29136"/>
                  </a:cubicBezTo>
                  <a:cubicBezTo>
                    <a:pt x="344945" y="29136"/>
                    <a:pt x="321570" y="36928"/>
                    <a:pt x="318200" y="36928"/>
                  </a:cubicBezTo>
                  <a:cubicBezTo>
                    <a:pt x="321991" y="36928"/>
                    <a:pt x="324939" y="43246"/>
                    <a:pt x="321991" y="43246"/>
                  </a:cubicBezTo>
                  <a:cubicBezTo>
                    <a:pt x="324939" y="43246"/>
                    <a:pt x="329783" y="54828"/>
                    <a:pt x="324307" y="54828"/>
                  </a:cubicBezTo>
                  <a:cubicBezTo>
                    <a:pt x="330625" y="54828"/>
                    <a:pt x="314199" y="60514"/>
                    <a:pt x="309355" y="60514"/>
                  </a:cubicBezTo>
                  <a:cubicBezTo>
                    <a:pt x="307460" y="64937"/>
                    <a:pt x="313567" y="55671"/>
                    <a:pt x="311251" y="55671"/>
                  </a:cubicBezTo>
                  <a:cubicBezTo>
                    <a:pt x="313567" y="55671"/>
                    <a:pt x="307039" y="55671"/>
                    <a:pt x="304512" y="55671"/>
                  </a:cubicBezTo>
                  <a:cubicBezTo>
                    <a:pt x="307460" y="55671"/>
                    <a:pt x="304933" y="52933"/>
                    <a:pt x="301142" y="52933"/>
                  </a:cubicBezTo>
                  <a:cubicBezTo>
                    <a:pt x="304933" y="52933"/>
                    <a:pt x="312725" y="47668"/>
                    <a:pt x="307460" y="47668"/>
                  </a:cubicBezTo>
                  <a:cubicBezTo>
                    <a:pt x="312725" y="47668"/>
                    <a:pt x="299247" y="51038"/>
                    <a:pt x="292087" y="51038"/>
                  </a:cubicBezTo>
                  <a:cubicBezTo>
                    <a:pt x="284506" y="51038"/>
                    <a:pt x="284506" y="52933"/>
                    <a:pt x="271871" y="52933"/>
                  </a:cubicBezTo>
                  <a:cubicBezTo>
                    <a:pt x="265974" y="63884"/>
                    <a:pt x="250601" y="59672"/>
                    <a:pt x="246810" y="59672"/>
                  </a:cubicBezTo>
                  <a:cubicBezTo>
                    <a:pt x="250601" y="59672"/>
                    <a:pt x="261130" y="62620"/>
                    <a:pt x="253549" y="62620"/>
                  </a:cubicBezTo>
                  <a:cubicBezTo>
                    <a:pt x="245336" y="62620"/>
                    <a:pt x="243862" y="71254"/>
                    <a:pt x="234386" y="71254"/>
                  </a:cubicBezTo>
                  <a:cubicBezTo>
                    <a:pt x="224699" y="71254"/>
                    <a:pt x="235860" y="67885"/>
                    <a:pt x="233964" y="67885"/>
                  </a:cubicBezTo>
                  <a:cubicBezTo>
                    <a:pt x="237755" y="67885"/>
                    <a:pt x="227647" y="71254"/>
                    <a:pt x="217117" y="71254"/>
                  </a:cubicBezTo>
                  <a:cubicBezTo>
                    <a:pt x="206588" y="71254"/>
                    <a:pt x="195005" y="77993"/>
                    <a:pt x="185318" y="77993"/>
                  </a:cubicBezTo>
                  <a:cubicBezTo>
                    <a:pt x="174789" y="77993"/>
                    <a:pt x="173315" y="86627"/>
                    <a:pt x="166576" y="86627"/>
                  </a:cubicBezTo>
                  <a:cubicBezTo>
                    <a:pt x="170367" y="86627"/>
                    <a:pt x="164681" y="92945"/>
                    <a:pt x="154572" y="92945"/>
                  </a:cubicBezTo>
                  <a:cubicBezTo>
                    <a:pt x="144043" y="92945"/>
                    <a:pt x="150361" y="94419"/>
                    <a:pt x="142569" y="94419"/>
                  </a:cubicBezTo>
                  <a:cubicBezTo>
                    <a:pt x="150571" y="94630"/>
                    <a:pt x="162575" y="87048"/>
                    <a:pt x="156889" y="8704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7" name="Forme libre : forme 81">
              <a:extLst>
                <a:ext uri="{FF2B5EF4-FFF2-40B4-BE49-F238E27FC236}">
                  <a16:creationId xmlns:a16="http://schemas.microsoft.com/office/drawing/2014/main" id="{18829366-F8AB-4CB5-981B-87432F1F6CB2}"/>
                </a:ext>
              </a:extLst>
            </p:cNvPr>
            <p:cNvSpPr/>
            <p:nvPr/>
          </p:nvSpPr>
          <p:spPr>
            <a:xfrm>
              <a:off x="1607924" y="2171011"/>
              <a:ext cx="222001" cy="83311"/>
            </a:xfrm>
            <a:custGeom>
              <a:avLst/>
              <a:gdLst>
                <a:gd name="connsiteX0" fmla="*/ 203008 w 222001"/>
                <a:gd name="connsiteY0" fmla="*/ 1392 h 83311"/>
                <a:gd name="connsiteX1" fmla="*/ 179422 w 222001"/>
                <a:gd name="connsiteY1" fmla="*/ 9184 h 83311"/>
                <a:gd name="connsiteX2" fmla="*/ 156468 w 222001"/>
                <a:gd name="connsiteY2" fmla="*/ 16765 h 83311"/>
                <a:gd name="connsiteX3" fmla="*/ 122774 w 222001"/>
                <a:gd name="connsiteY3" fmla="*/ 27927 h 83311"/>
                <a:gd name="connsiteX4" fmla="*/ 97292 w 222001"/>
                <a:gd name="connsiteY4" fmla="*/ 39509 h 83311"/>
                <a:gd name="connsiteX5" fmla="*/ 72864 w 222001"/>
                <a:gd name="connsiteY5" fmla="*/ 51092 h 83311"/>
                <a:gd name="connsiteX6" fmla="*/ 46540 w 222001"/>
                <a:gd name="connsiteY6" fmla="*/ 61621 h 83311"/>
                <a:gd name="connsiteX7" fmla="*/ 22533 w 222001"/>
                <a:gd name="connsiteY7" fmla="*/ 71308 h 83311"/>
                <a:gd name="connsiteX8" fmla="*/ 0 w 222001"/>
                <a:gd name="connsiteY8" fmla="*/ 81838 h 83311"/>
                <a:gd name="connsiteX9" fmla="*/ 8634 w 222001"/>
                <a:gd name="connsiteY9" fmla="*/ 83312 h 83311"/>
                <a:gd name="connsiteX10" fmla="*/ 28430 w 222001"/>
                <a:gd name="connsiteY10" fmla="*/ 75730 h 83311"/>
                <a:gd name="connsiteX11" fmla="*/ 41907 w 222001"/>
                <a:gd name="connsiteY11" fmla="*/ 73835 h 83311"/>
                <a:gd name="connsiteX12" fmla="*/ 54964 w 222001"/>
                <a:gd name="connsiteY12" fmla="*/ 68570 h 83311"/>
                <a:gd name="connsiteX13" fmla="*/ 69916 w 222001"/>
                <a:gd name="connsiteY13" fmla="*/ 64780 h 83311"/>
                <a:gd name="connsiteX14" fmla="*/ 90132 w 222001"/>
                <a:gd name="connsiteY14" fmla="*/ 56567 h 83311"/>
                <a:gd name="connsiteX15" fmla="*/ 114561 w 222001"/>
                <a:gd name="connsiteY15" fmla="*/ 46037 h 83311"/>
                <a:gd name="connsiteX16" fmla="*/ 134777 w 222001"/>
                <a:gd name="connsiteY16" fmla="*/ 34034 h 83311"/>
                <a:gd name="connsiteX17" fmla="*/ 135619 w 222001"/>
                <a:gd name="connsiteY17" fmla="*/ 36982 h 83311"/>
                <a:gd name="connsiteX18" fmla="*/ 164049 w 222001"/>
                <a:gd name="connsiteY18" fmla="*/ 30664 h 83311"/>
                <a:gd name="connsiteX19" fmla="*/ 178369 w 222001"/>
                <a:gd name="connsiteY19" fmla="*/ 22030 h 83311"/>
                <a:gd name="connsiteX20" fmla="*/ 198586 w 222001"/>
                <a:gd name="connsiteY20" fmla="*/ 14870 h 83311"/>
                <a:gd name="connsiteX21" fmla="*/ 206377 w 222001"/>
                <a:gd name="connsiteY21" fmla="*/ 8763 h 83311"/>
                <a:gd name="connsiteX22" fmla="*/ 201113 w 222001"/>
                <a:gd name="connsiteY22" fmla="*/ 7289 h 83311"/>
                <a:gd name="connsiteX23" fmla="*/ 221329 w 222001"/>
                <a:gd name="connsiteY23" fmla="*/ 129 h 83311"/>
                <a:gd name="connsiteX24" fmla="*/ 203008 w 222001"/>
                <a:gd name="connsiteY24" fmla="*/ 1392 h 83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22001" h="83311">
                  <a:moveTo>
                    <a:pt x="203008" y="1392"/>
                  </a:moveTo>
                  <a:cubicBezTo>
                    <a:pt x="195848" y="1392"/>
                    <a:pt x="189951" y="9184"/>
                    <a:pt x="179422" y="9184"/>
                  </a:cubicBezTo>
                  <a:cubicBezTo>
                    <a:pt x="168893" y="9184"/>
                    <a:pt x="168471" y="16765"/>
                    <a:pt x="156468" y="16765"/>
                  </a:cubicBezTo>
                  <a:cubicBezTo>
                    <a:pt x="151203" y="27295"/>
                    <a:pt x="133303" y="27927"/>
                    <a:pt x="122774" y="27927"/>
                  </a:cubicBezTo>
                  <a:cubicBezTo>
                    <a:pt x="112665" y="27927"/>
                    <a:pt x="110770" y="39509"/>
                    <a:pt x="97292" y="39509"/>
                  </a:cubicBezTo>
                  <a:cubicBezTo>
                    <a:pt x="83815" y="39509"/>
                    <a:pt x="83815" y="51092"/>
                    <a:pt x="72864" y="51092"/>
                  </a:cubicBezTo>
                  <a:cubicBezTo>
                    <a:pt x="61913" y="51092"/>
                    <a:pt x="53279" y="54882"/>
                    <a:pt x="46540" y="61621"/>
                  </a:cubicBezTo>
                  <a:cubicBezTo>
                    <a:pt x="36853" y="61621"/>
                    <a:pt x="31588" y="71308"/>
                    <a:pt x="22533" y="71308"/>
                  </a:cubicBezTo>
                  <a:cubicBezTo>
                    <a:pt x="12425" y="71308"/>
                    <a:pt x="4212" y="81838"/>
                    <a:pt x="0" y="81838"/>
                  </a:cubicBezTo>
                  <a:cubicBezTo>
                    <a:pt x="4844" y="81838"/>
                    <a:pt x="-421" y="83312"/>
                    <a:pt x="8634" y="83312"/>
                  </a:cubicBezTo>
                  <a:cubicBezTo>
                    <a:pt x="18321" y="83312"/>
                    <a:pt x="20217" y="75730"/>
                    <a:pt x="28430" y="75730"/>
                  </a:cubicBezTo>
                  <a:cubicBezTo>
                    <a:pt x="36011" y="75730"/>
                    <a:pt x="34115" y="73835"/>
                    <a:pt x="41907" y="73835"/>
                  </a:cubicBezTo>
                  <a:cubicBezTo>
                    <a:pt x="44856" y="67096"/>
                    <a:pt x="60229" y="68570"/>
                    <a:pt x="54964" y="68570"/>
                  </a:cubicBezTo>
                  <a:cubicBezTo>
                    <a:pt x="60229" y="68570"/>
                    <a:pt x="61703" y="64780"/>
                    <a:pt x="69916" y="64780"/>
                  </a:cubicBezTo>
                  <a:cubicBezTo>
                    <a:pt x="77076" y="64780"/>
                    <a:pt x="78129" y="56567"/>
                    <a:pt x="90132" y="56567"/>
                  </a:cubicBezTo>
                  <a:cubicBezTo>
                    <a:pt x="102136" y="56567"/>
                    <a:pt x="110770" y="53197"/>
                    <a:pt x="114561" y="46037"/>
                  </a:cubicBezTo>
                  <a:cubicBezTo>
                    <a:pt x="122352" y="46037"/>
                    <a:pt x="138989" y="34034"/>
                    <a:pt x="134777" y="34034"/>
                  </a:cubicBezTo>
                  <a:cubicBezTo>
                    <a:pt x="139621" y="34034"/>
                    <a:pt x="139621" y="36982"/>
                    <a:pt x="135619" y="36982"/>
                  </a:cubicBezTo>
                  <a:cubicBezTo>
                    <a:pt x="139410" y="36982"/>
                    <a:pt x="168682" y="30664"/>
                    <a:pt x="164049" y="30664"/>
                  </a:cubicBezTo>
                  <a:cubicBezTo>
                    <a:pt x="168261" y="30664"/>
                    <a:pt x="171209" y="22030"/>
                    <a:pt x="178369" y="22030"/>
                  </a:cubicBezTo>
                  <a:cubicBezTo>
                    <a:pt x="186161" y="22030"/>
                    <a:pt x="205324" y="14870"/>
                    <a:pt x="198586" y="14870"/>
                  </a:cubicBezTo>
                  <a:cubicBezTo>
                    <a:pt x="205324" y="14870"/>
                    <a:pt x="210168" y="8763"/>
                    <a:pt x="206377" y="8763"/>
                  </a:cubicBezTo>
                  <a:cubicBezTo>
                    <a:pt x="211221" y="8763"/>
                    <a:pt x="193321" y="7289"/>
                    <a:pt x="201113" y="7289"/>
                  </a:cubicBezTo>
                  <a:cubicBezTo>
                    <a:pt x="208905" y="7289"/>
                    <a:pt x="225541" y="129"/>
                    <a:pt x="221329" y="129"/>
                  </a:cubicBezTo>
                  <a:cubicBezTo>
                    <a:pt x="224067" y="-503"/>
                    <a:pt x="208694" y="1392"/>
                    <a:pt x="203008" y="139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8" name="Forme libre : forme 82">
              <a:extLst>
                <a:ext uri="{FF2B5EF4-FFF2-40B4-BE49-F238E27FC236}">
                  <a16:creationId xmlns:a16="http://schemas.microsoft.com/office/drawing/2014/main" id="{2C6AF379-F5D5-4ADA-9BE4-28235E9255D7}"/>
                </a:ext>
              </a:extLst>
            </p:cNvPr>
            <p:cNvSpPr/>
            <p:nvPr/>
          </p:nvSpPr>
          <p:spPr>
            <a:xfrm>
              <a:off x="1698477" y="2206989"/>
              <a:ext cx="58732" cy="23957"/>
            </a:xfrm>
            <a:custGeom>
              <a:avLst/>
              <a:gdLst>
                <a:gd name="connsiteX0" fmla="*/ 0 w 58732"/>
                <a:gd name="connsiteY0" fmla="*/ 23958 h 23957"/>
                <a:gd name="connsiteX1" fmla="*/ 25903 w 58732"/>
                <a:gd name="connsiteY1" fmla="*/ 12375 h 23957"/>
                <a:gd name="connsiteX2" fmla="*/ 46540 w 58732"/>
                <a:gd name="connsiteY2" fmla="*/ 3741 h 23957"/>
                <a:gd name="connsiteX3" fmla="*/ 57070 w 58732"/>
                <a:gd name="connsiteY3" fmla="*/ 1425 h 23957"/>
                <a:gd name="connsiteX4" fmla="*/ 32009 w 58732"/>
                <a:gd name="connsiteY4" fmla="*/ 15745 h 23957"/>
                <a:gd name="connsiteX5" fmla="*/ 13688 w 58732"/>
                <a:gd name="connsiteY5" fmla="*/ 22062 h 23957"/>
                <a:gd name="connsiteX6" fmla="*/ 0 w 58732"/>
                <a:gd name="connsiteY6" fmla="*/ 23958 h 23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732" h="23957">
                  <a:moveTo>
                    <a:pt x="0" y="23958"/>
                  </a:moveTo>
                  <a:cubicBezTo>
                    <a:pt x="8213" y="15323"/>
                    <a:pt x="19164" y="12375"/>
                    <a:pt x="25903" y="12375"/>
                  </a:cubicBezTo>
                  <a:cubicBezTo>
                    <a:pt x="29272" y="5636"/>
                    <a:pt x="39380" y="3741"/>
                    <a:pt x="46540" y="3741"/>
                  </a:cubicBezTo>
                  <a:cubicBezTo>
                    <a:pt x="49910" y="-2998"/>
                    <a:pt x="63387" y="1425"/>
                    <a:pt x="57070" y="1425"/>
                  </a:cubicBezTo>
                  <a:cubicBezTo>
                    <a:pt x="63387" y="1425"/>
                    <a:pt x="37906" y="15745"/>
                    <a:pt x="32009" y="15745"/>
                  </a:cubicBezTo>
                  <a:cubicBezTo>
                    <a:pt x="37274" y="15745"/>
                    <a:pt x="18532" y="22062"/>
                    <a:pt x="13688" y="22062"/>
                  </a:cubicBezTo>
                  <a:cubicBezTo>
                    <a:pt x="17900" y="22062"/>
                    <a:pt x="6739" y="23958"/>
                    <a:pt x="0" y="2395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99" name="Forme libre : forme 83">
              <a:extLst>
                <a:ext uri="{FF2B5EF4-FFF2-40B4-BE49-F238E27FC236}">
                  <a16:creationId xmlns:a16="http://schemas.microsoft.com/office/drawing/2014/main" id="{FDE722D3-6F3B-42B9-9173-2B7EA0A37449}"/>
                </a:ext>
              </a:extLst>
            </p:cNvPr>
            <p:cNvSpPr/>
            <p:nvPr/>
          </p:nvSpPr>
          <p:spPr>
            <a:xfrm>
              <a:off x="1838729" y="2161663"/>
              <a:ext cx="38336" cy="10529"/>
            </a:xfrm>
            <a:custGeom>
              <a:avLst/>
              <a:gdLst>
                <a:gd name="connsiteX0" fmla="*/ 37906 w 38336"/>
                <a:gd name="connsiteY0" fmla="*/ 0 h 10529"/>
                <a:gd name="connsiteX1" fmla="*/ 20638 w 38336"/>
                <a:gd name="connsiteY1" fmla="*/ 3369 h 10529"/>
                <a:gd name="connsiteX2" fmla="*/ 0 w 38336"/>
                <a:gd name="connsiteY2" fmla="*/ 10529 h 10529"/>
                <a:gd name="connsiteX3" fmla="*/ 5265 w 38336"/>
                <a:gd name="connsiteY3" fmla="*/ 10529 h 10529"/>
                <a:gd name="connsiteX4" fmla="*/ 29272 w 38336"/>
                <a:gd name="connsiteY4" fmla="*/ 3791 h 10529"/>
                <a:gd name="connsiteX5" fmla="*/ 37906 w 38336"/>
                <a:gd name="connsiteY5" fmla="*/ 0 h 1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36" h="10529">
                  <a:moveTo>
                    <a:pt x="37906" y="0"/>
                  </a:moveTo>
                  <a:cubicBezTo>
                    <a:pt x="39801" y="0"/>
                    <a:pt x="26324" y="3369"/>
                    <a:pt x="20638" y="3369"/>
                  </a:cubicBezTo>
                  <a:cubicBezTo>
                    <a:pt x="26324" y="3369"/>
                    <a:pt x="2316" y="10529"/>
                    <a:pt x="0" y="10529"/>
                  </a:cubicBezTo>
                  <a:cubicBezTo>
                    <a:pt x="2948" y="10529"/>
                    <a:pt x="-3790" y="10529"/>
                    <a:pt x="5265" y="10529"/>
                  </a:cubicBezTo>
                  <a:cubicBezTo>
                    <a:pt x="13899" y="10529"/>
                    <a:pt x="34537" y="3791"/>
                    <a:pt x="29272" y="3791"/>
                  </a:cubicBezTo>
                  <a:cubicBezTo>
                    <a:pt x="35169" y="4001"/>
                    <a:pt x="39801" y="0"/>
                    <a:pt x="37906"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0" name="Forme libre : forme 84">
              <a:extLst>
                <a:ext uri="{FF2B5EF4-FFF2-40B4-BE49-F238E27FC236}">
                  <a16:creationId xmlns:a16="http://schemas.microsoft.com/office/drawing/2014/main" id="{E2F5AF9C-2F2A-4D81-89D6-C85D6DDBF594}"/>
                </a:ext>
              </a:extLst>
            </p:cNvPr>
            <p:cNvSpPr/>
            <p:nvPr/>
          </p:nvSpPr>
          <p:spPr>
            <a:xfrm>
              <a:off x="1875372" y="2100803"/>
              <a:ext cx="137460" cy="43802"/>
            </a:xfrm>
            <a:custGeom>
              <a:avLst/>
              <a:gdLst>
                <a:gd name="connsiteX0" fmla="*/ 136883 w 137460"/>
                <a:gd name="connsiteY0" fmla="*/ 0 h 43802"/>
                <a:gd name="connsiteX1" fmla="*/ 112033 w 137460"/>
                <a:gd name="connsiteY1" fmla="*/ 3791 h 43802"/>
                <a:gd name="connsiteX2" fmla="*/ 86973 w 137460"/>
                <a:gd name="connsiteY2" fmla="*/ 11582 h 43802"/>
                <a:gd name="connsiteX3" fmla="*/ 57701 w 137460"/>
                <a:gd name="connsiteY3" fmla="*/ 21270 h 43802"/>
                <a:gd name="connsiteX4" fmla="*/ 29272 w 137460"/>
                <a:gd name="connsiteY4" fmla="*/ 31378 h 43802"/>
                <a:gd name="connsiteX5" fmla="*/ 7792 w 137460"/>
                <a:gd name="connsiteY5" fmla="*/ 40012 h 43802"/>
                <a:gd name="connsiteX6" fmla="*/ 0 w 137460"/>
                <a:gd name="connsiteY6" fmla="*/ 43803 h 43802"/>
                <a:gd name="connsiteX7" fmla="*/ 22533 w 137460"/>
                <a:gd name="connsiteY7" fmla="*/ 36642 h 43802"/>
                <a:gd name="connsiteX8" fmla="*/ 46961 w 137460"/>
                <a:gd name="connsiteY8" fmla="*/ 28851 h 43802"/>
                <a:gd name="connsiteX9" fmla="*/ 60439 w 137460"/>
                <a:gd name="connsiteY9" fmla="*/ 25481 h 43802"/>
                <a:gd name="connsiteX10" fmla="*/ 80024 w 137460"/>
                <a:gd name="connsiteY10" fmla="*/ 19164 h 43802"/>
                <a:gd name="connsiteX11" fmla="*/ 93923 w 137460"/>
                <a:gd name="connsiteY11" fmla="*/ 14741 h 43802"/>
                <a:gd name="connsiteX12" fmla="*/ 116877 w 137460"/>
                <a:gd name="connsiteY12" fmla="*/ 9055 h 43802"/>
                <a:gd name="connsiteX13" fmla="*/ 136883 w 137460"/>
                <a:gd name="connsiteY13" fmla="*/ 0 h 43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7460" h="43802">
                  <a:moveTo>
                    <a:pt x="136883" y="0"/>
                  </a:moveTo>
                  <a:cubicBezTo>
                    <a:pt x="139410" y="0"/>
                    <a:pt x="119193" y="3791"/>
                    <a:pt x="112033" y="3791"/>
                  </a:cubicBezTo>
                  <a:cubicBezTo>
                    <a:pt x="104873" y="3791"/>
                    <a:pt x="96239" y="11582"/>
                    <a:pt x="86973" y="11582"/>
                  </a:cubicBezTo>
                  <a:cubicBezTo>
                    <a:pt x="77286" y="11582"/>
                    <a:pt x="68231" y="21270"/>
                    <a:pt x="57701" y="21270"/>
                  </a:cubicBezTo>
                  <a:cubicBezTo>
                    <a:pt x="53490" y="30325"/>
                    <a:pt x="41486" y="31378"/>
                    <a:pt x="29272" y="31378"/>
                  </a:cubicBezTo>
                  <a:cubicBezTo>
                    <a:pt x="17689" y="31378"/>
                    <a:pt x="14320" y="40012"/>
                    <a:pt x="7792" y="40012"/>
                  </a:cubicBezTo>
                  <a:cubicBezTo>
                    <a:pt x="1474" y="40012"/>
                    <a:pt x="2527" y="43803"/>
                    <a:pt x="0" y="43803"/>
                  </a:cubicBezTo>
                  <a:cubicBezTo>
                    <a:pt x="2948" y="43803"/>
                    <a:pt x="28430" y="36642"/>
                    <a:pt x="22533" y="36642"/>
                  </a:cubicBezTo>
                  <a:cubicBezTo>
                    <a:pt x="27798" y="36642"/>
                    <a:pt x="52858" y="28851"/>
                    <a:pt x="46961" y="28851"/>
                  </a:cubicBezTo>
                  <a:cubicBezTo>
                    <a:pt x="52858" y="28851"/>
                    <a:pt x="52226" y="25481"/>
                    <a:pt x="60439" y="25481"/>
                  </a:cubicBezTo>
                  <a:cubicBezTo>
                    <a:pt x="68231" y="25481"/>
                    <a:pt x="84446" y="19164"/>
                    <a:pt x="80024" y="19164"/>
                  </a:cubicBezTo>
                  <a:cubicBezTo>
                    <a:pt x="84446" y="19164"/>
                    <a:pt x="88237" y="14741"/>
                    <a:pt x="93923" y="14741"/>
                  </a:cubicBezTo>
                  <a:cubicBezTo>
                    <a:pt x="98766" y="14741"/>
                    <a:pt x="108243" y="9055"/>
                    <a:pt x="116877" y="9055"/>
                  </a:cubicBezTo>
                  <a:cubicBezTo>
                    <a:pt x="124879" y="9055"/>
                    <a:pt x="140674" y="0"/>
                    <a:pt x="136883"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1" name="Forme libre : forme 85">
              <a:extLst>
                <a:ext uri="{FF2B5EF4-FFF2-40B4-BE49-F238E27FC236}">
                  <a16:creationId xmlns:a16="http://schemas.microsoft.com/office/drawing/2014/main" id="{4148054E-C028-4C14-A784-FDCC32FADFE4}"/>
                </a:ext>
              </a:extLst>
            </p:cNvPr>
            <p:cNvSpPr/>
            <p:nvPr/>
          </p:nvSpPr>
          <p:spPr>
            <a:xfrm>
              <a:off x="1840625" y="2110701"/>
              <a:ext cx="157785" cy="47171"/>
            </a:xfrm>
            <a:custGeom>
              <a:avLst/>
              <a:gdLst>
                <a:gd name="connsiteX0" fmla="*/ 136041 w 157785"/>
                <a:gd name="connsiteY0" fmla="*/ 13057 h 47171"/>
                <a:gd name="connsiteX1" fmla="*/ 98134 w 157785"/>
                <a:gd name="connsiteY1" fmla="*/ 25902 h 47171"/>
                <a:gd name="connsiteX2" fmla="*/ 62124 w 157785"/>
                <a:gd name="connsiteY2" fmla="*/ 35590 h 47171"/>
                <a:gd name="connsiteX3" fmla="*/ 49067 w 157785"/>
                <a:gd name="connsiteY3" fmla="*/ 36642 h 47171"/>
                <a:gd name="connsiteX4" fmla="*/ 40854 w 157785"/>
                <a:gd name="connsiteY4" fmla="*/ 37064 h 47171"/>
                <a:gd name="connsiteX5" fmla="*/ 19164 w 157785"/>
                <a:gd name="connsiteY5" fmla="*/ 45277 h 47171"/>
                <a:gd name="connsiteX6" fmla="*/ 0 w 157785"/>
                <a:gd name="connsiteY6" fmla="*/ 47172 h 47171"/>
                <a:gd name="connsiteX7" fmla="*/ 14320 w 157785"/>
                <a:gd name="connsiteY7" fmla="*/ 40433 h 47171"/>
                <a:gd name="connsiteX8" fmla="*/ 36853 w 157785"/>
                <a:gd name="connsiteY8" fmla="*/ 35168 h 47171"/>
                <a:gd name="connsiteX9" fmla="*/ 48857 w 157785"/>
                <a:gd name="connsiteY9" fmla="*/ 33273 h 47171"/>
                <a:gd name="connsiteX10" fmla="*/ 71390 w 157785"/>
                <a:gd name="connsiteY10" fmla="*/ 25060 h 47171"/>
                <a:gd name="connsiteX11" fmla="*/ 93923 w 157785"/>
                <a:gd name="connsiteY11" fmla="*/ 18321 h 47171"/>
                <a:gd name="connsiteX12" fmla="*/ 113086 w 157785"/>
                <a:gd name="connsiteY12" fmla="*/ 12004 h 47171"/>
                <a:gd name="connsiteX13" fmla="*/ 137094 w 157785"/>
                <a:gd name="connsiteY13" fmla="*/ 4844 h 47171"/>
                <a:gd name="connsiteX14" fmla="*/ 157310 w 157785"/>
                <a:gd name="connsiteY14" fmla="*/ 0 h 47171"/>
                <a:gd name="connsiteX15" fmla="*/ 146359 w 157785"/>
                <a:gd name="connsiteY15" fmla="*/ 5265 h 47171"/>
                <a:gd name="connsiteX16" fmla="*/ 121720 w 157785"/>
                <a:gd name="connsiteY16" fmla="*/ 12004 h 47171"/>
                <a:gd name="connsiteX17" fmla="*/ 132882 w 157785"/>
                <a:gd name="connsiteY17" fmla="*/ 10529 h 47171"/>
                <a:gd name="connsiteX18" fmla="*/ 136041 w 157785"/>
                <a:gd name="connsiteY18" fmla="*/ 13057 h 47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57785" h="47171">
                  <a:moveTo>
                    <a:pt x="136041" y="13057"/>
                  </a:moveTo>
                  <a:cubicBezTo>
                    <a:pt x="132250" y="20848"/>
                    <a:pt x="106769" y="25902"/>
                    <a:pt x="98134" y="25902"/>
                  </a:cubicBezTo>
                  <a:cubicBezTo>
                    <a:pt x="94765" y="33062"/>
                    <a:pt x="66336" y="35590"/>
                    <a:pt x="62124" y="35590"/>
                  </a:cubicBezTo>
                  <a:cubicBezTo>
                    <a:pt x="66336" y="35590"/>
                    <a:pt x="50963" y="36642"/>
                    <a:pt x="49067" y="36642"/>
                  </a:cubicBezTo>
                  <a:cubicBezTo>
                    <a:pt x="50963" y="36642"/>
                    <a:pt x="46751" y="37064"/>
                    <a:pt x="40854" y="37064"/>
                  </a:cubicBezTo>
                  <a:cubicBezTo>
                    <a:pt x="46540" y="37064"/>
                    <a:pt x="22533" y="38959"/>
                    <a:pt x="19164" y="45277"/>
                  </a:cubicBezTo>
                  <a:cubicBezTo>
                    <a:pt x="12846" y="45277"/>
                    <a:pt x="842" y="47172"/>
                    <a:pt x="0" y="47172"/>
                  </a:cubicBezTo>
                  <a:cubicBezTo>
                    <a:pt x="1474" y="47172"/>
                    <a:pt x="11582" y="46119"/>
                    <a:pt x="14320" y="40433"/>
                  </a:cubicBezTo>
                  <a:cubicBezTo>
                    <a:pt x="20006" y="40433"/>
                    <a:pt x="40854" y="35168"/>
                    <a:pt x="36853" y="35168"/>
                  </a:cubicBezTo>
                  <a:cubicBezTo>
                    <a:pt x="41697" y="35168"/>
                    <a:pt x="54121" y="33273"/>
                    <a:pt x="48857" y="33273"/>
                  </a:cubicBezTo>
                  <a:cubicBezTo>
                    <a:pt x="54121" y="33273"/>
                    <a:pt x="61913" y="25060"/>
                    <a:pt x="71390" y="25060"/>
                  </a:cubicBezTo>
                  <a:cubicBezTo>
                    <a:pt x="81077" y="25060"/>
                    <a:pt x="86763" y="18321"/>
                    <a:pt x="93923" y="18321"/>
                  </a:cubicBezTo>
                  <a:cubicBezTo>
                    <a:pt x="100662" y="18321"/>
                    <a:pt x="105926" y="12004"/>
                    <a:pt x="113086" y="12004"/>
                  </a:cubicBezTo>
                  <a:cubicBezTo>
                    <a:pt x="120246" y="12004"/>
                    <a:pt x="132250" y="9687"/>
                    <a:pt x="137094" y="4844"/>
                  </a:cubicBezTo>
                  <a:cubicBezTo>
                    <a:pt x="143832" y="4844"/>
                    <a:pt x="159627" y="0"/>
                    <a:pt x="157310" y="0"/>
                  </a:cubicBezTo>
                  <a:cubicBezTo>
                    <a:pt x="159205" y="0"/>
                    <a:pt x="155415" y="5265"/>
                    <a:pt x="146359" y="5265"/>
                  </a:cubicBezTo>
                  <a:cubicBezTo>
                    <a:pt x="136672" y="5265"/>
                    <a:pt x="123826" y="12004"/>
                    <a:pt x="121720" y="12004"/>
                  </a:cubicBezTo>
                  <a:cubicBezTo>
                    <a:pt x="123616" y="12004"/>
                    <a:pt x="136041" y="10529"/>
                    <a:pt x="132882" y="10529"/>
                  </a:cubicBezTo>
                  <a:cubicBezTo>
                    <a:pt x="136883" y="10740"/>
                    <a:pt x="149940" y="13057"/>
                    <a:pt x="136041" y="1305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2" name="Forme libre : forme 86">
              <a:extLst>
                <a:ext uri="{FF2B5EF4-FFF2-40B4-BE49-F238E27FC236}">
                  <a16:creationId xmlns:a16="http://schemas.microsoft.com/office/drawing/2014/main" id="{7781B0FC-5DF7-4AED-B665-63DD482FCFD3}"/>
                </a:ext>
              </a:extLst>
            </p:cNvPr>
            <p:cNvSpPr/>
            <p:nvPr/>
          </p:nvSpPr>
          <p:spPr>
            <a:xfrm>
              <a:off x="1739542" y="2111543"/>
              <a:ext cx="355196" cy="113086"/>
            </a:xfrm>
            <a:custGeom>
              <a:avLst/>
              <a:gdLst>
                <a:gd name="connsiteX0" fmla="*/ 220276 w 355196"/>
                <a:gd name="connsiteY0" fmla="*/ 42539 h 113086"/>
                <a:gd name="connsiteX1" fmla="*/ 191426 w 355196"/>
                <a:gd name="connsiteY1" fmla="*/ 50331 h 113086"/>
                <a:gd name="connsiteX2" fmla="*/ 175210 w 355196"/>
                <a:gd name="connsiteY2" fmla="*/ 50752 h 113086"/>
                <a:gd name="connsiteX3" fmla="*/ 156889 w 355196"/>
                <a:gd name="connsiteY3" fmla="*/ 54121 h 113086"/>
                <a:gd name="connsiteX4" fmla="*/ 139199 w 355196"/>
                <a:gd name="connsiteY4" fmla="*/ 57491 h 113086"/>
                <a:gd name="connsiteX5" fmla="*/ 115614 w 355196"/>
                <a:gd name="connsiteY5" fmla="*/ 64651 h 113086"/>
                <a:gd name="connsiteX6" fmla="*/ 101293 w 355196"/>
                <a:gd name="connsiteY6" fmla="*/ 65493 h 113086"/>
                <a:gd name="connsiteX7" fmla="*/ 64861 w 355196"/>
                <a:gd name="connsiteY7" fmla="*/ 77076 h 113086"/>
                <a:gd name="connsiteX8" fmla="*/ 53279 w 355196"/>
                <a:gd name="connsiteY8" fmla="*/ 83393 h 113086"/>
                <a:gd name="connsiteX9" fmla="*/ 39801 w 355196"/>
                <a:gd name="connsiteY9" fmla="*/ 88658 h 113086"/>
                <a:gd name="connsiteX10" fmla="*/ 31167 w 355196"/>
                <a:gd name="connsiteY10" fmla="*/ 94765 h 113086"/>
                <a:gd name="connsiteX11" fmla="*/ 18742 w 355196"/>
                <a:gd name="connsiteY11" fmla="*/ 101083 h 113086"/>
                <a:gd name="connsiteX12" fmla="*/ 9687 w 355196"/>
                <a:gd name="connsiteY12" fmla="*/ 106348 h 113086"/>
                <a:gd name="connsiteX13" fmla="*/ 0 w 355196"/>
                <a:gd name="connsiteY13" fmla="*/ 113086 h 113086"/>
                <a:gd name="connsiteX14" fmla="*/ 29693 w 355196"/>
                <a:gd name="connsiteY14" fmla="*/ 104452 h 113086"/>
                <a:gd name="connsiteX15" fmla="*/ 41697 w 355196"/>
                <a:gd name="connsiteY15" fmla="*/ 102557 h 113086"/>
                <a:gd name="connsiteX16" fmla="*/ 58544 w 355196"/>
                <a:gd name="connsiteY16" fmla="*/ 97292 h 113086"/>
                <a:gd name="connsiteX17" fmla="*/ 70126 w 355196"/>
                <a:gd name="connsiteY17" fmla="*/ 93502 h 113086"/>
                <a:gd name="connsiteX18" fmla="*/ 84025 w 355196"/>
                <a:gd name="connsiteY18" fmla="*/ 90553 h 113086"/>
                <a:gd name="connsiteX19" fmla="*/ 109085 w 355196"/>
                <a:gd name="connsiteY19" fmla="*/ 77497 h 113086"/>
                <a:gd name="connsiteX20" fmla="*/ 102346 w 355196"/>
                <a:gd name="connsiteY20" fmla="*/ 82762 h 113086"/>
                <a:gd name="connsiteX21" fmla="*/ 119194 w 355196"/>
                <a:gd name="connsiteY21" fmla="*/ 78550 h 113086"/>
                <a:gd name="connsiteX22" fmla="*/ 151835 w 355196"/>
                <a:gd name="connsiteY22" fmla="*/ 68020 h 113086"/>
                <a:gd name="connsiteX23" fmla="*/ 177737 w 355196"/>
                <a:gd name="connsiteY23" fmla="*/ 60228 h 113086"/>
                <a:gd name="connsiteX24" fmla="*/ 161522 w 355196"/>
                <a:gd name="connsiteY24" fmla="*/ 66546 h 113086"/>
                <a:gd name="connsiteX25" fmla="*/ 122142 w 355196"/>
                <a:gd name="connsiteY25" fmla="*/ 79603 h 113086"/>
                <a:gd name="connsiteX26" fmla="*/ 86973 w 355196"/>
                <a:gd name="connsiteY26" fmla="*/ 91606 h 113086"/>
                <a:gd name="connsiteX27" fmla="*/ 101293 w 355196"/>
                <a:gd name="connsiteY27" fmla="*/ 92449 h 113086"/>
                <a:gd name="connsiteX28" fmla="*/ 145938 w 355196"/>
                <a:gd name="connsiteY28" fmla="*/ 78971 h 113086"/>
                <a:gd name="connsiteX29" fmla="*/ 182791 w 355196"/>
                <a:gd name="connsiteY29" fmla="*/ 65493 h 113086"/>
                <a:gd name="connsiteX30" fmla="*/ 210168 w 355196"/>
                <a:gd name="connsiteY30" fmla="*/ 54964 h 113086"/>
                <a:gd name="connsiteX31" fmla="*/ 244705 w 355196"/>
                <a:gd name="connsiteY31" fmla="*/ 44856 h 113086"/>
                <a:gd name="connsiteX32" fmla="*/ 275030 w 355196"/>
                <a:gd name="connsiteY32" fmla="*/ 36221 h 113086"/>
                <a:gd name="connsiteX33" fmla="*/ 302827 w 355196"/>
                <a:gd name="connsiteY33" fmla="*/ 28008 h 113086"/>
                <a:gd name="connsiteX34" fmla="*/ 329783 w 355196"/>
                <a:gd name="connsiteY34" fmla="*/ 17900 h 113086"/>
                <a:gd name="connsiteX35" fmla="*/ 349367 w 355196"/>
                <a:gd name="connsiteY35" fmla="*/ 6318 h 113086"/>
                <a:gd name="connsiteX36" fmla="*/ 352316 w 355196"/>
                <a:gd name="connsiteY36" fmla="*/ 0 h 113086"/>
                <a:gd name="connsiteX37" fmla="*/ 327256 w 355196"/>
                <a:gd name="connsiteY37" fmla="*/ 5686 h 113086"/>
                <a:gd name="connsiteX38" fmla="*/ 308513 w 355196"/>
                <a:gd name="connsiteY38" fmla="*/ 12425 h 113086"/>
                <a:gd name="connsiteX39" fmla="*/ 298826 w 355196"/>
                <a:gd name="connsiteY39" fmla="*/ 15373 h 113086"/>
                <a:gd name="connsiteX40" fmla="*/ 288718 w 355196"/>
                <a:gd name="connsiteY40" fmla="*/ 16847 h 113086"/>
                <a:gd name="connsiteX41" fmla="*/ 275661 w 355196"/>
                <a:gd name="connsiteY41" fmla="*/ 19164 h 113086"/>
                <a:gd name="connsiteX42" fmla="*/ 281979 w 355196"/>
                <a:gd name="connsiteY42" fmla="*/ 14952 h 113086"/>
                <a:gd name="connsiteX43" fmla="*/ 271871 w 355196"/>
                <a:gd name="connsiteY43" fmla="*/ 15794 h 113086"/>
                <a:gd name="connsiteX44" fmla="*/ 275240 w 355196"/>
                <a:gd name="connsiteY44" fmla="*/ 11372 h 113086"/>
                <a:gd name="connsiteX45" fmla="*/ 266185 w 355196"/>
                <a:gd name="connsiteY45" fmla="*/ 11372 h 113086"/>
                <a:gd name="connsiteX46" fmla="*/ 254602 w 355196"/>
                <a:gd name="connsiteY46" fmla="*/ 13267 h 113086"/>
                <a:gd name="connsiteX47" fmla="*/ 240282 w 355196"/>
                <a:gd name="connsiteY47" fmla="*/ 21480 h 113086"/>
                <a:gd name="connsiteX48" fmla="*/ 220066 w 355196"/>
                <a:gd name="connsiteY48" fmla="*/ 29693 h 113086"/>
                <a:gd name="connsiteX49" fmla="*/ 219223 w 355196"/>
                <a:gd name="connsiteY49" fmla="*/ 33484 h 113086"/>
                <a:gd name="connsiteX50" fmla="*/ 237966 w 355196"/>
                <a:gd name="connsiteY50" fmla="*/ 30114 h 113086"/>
                <a:gd name="connsiteX51" fmla="*/ 222593 w 355196"/>
                <a:gd name="connsiteY51" fmla="*/ 35800 h 113086"/>
                <a:gd name="connsiteX52" fmla="*/ 233122 w 355196"/>
                <a:gd name="connsiteY52" fmla="*/ 36221 h 113086"/>
                <a:gd name="connsiteX53" fmla="*/ 248495 w 355196"/>
                <a:gd name="connsiteY53" fmla="*/ 32852 h 113086"/>
                <a:gd name="connsiteX54" fmla="*/ 220276 w 355196"/>
                <a:gd name="connsiteY54" fmla="*/ 42539 h 113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55196" h="113086">
                  <a:moveTo>
                    <a:pt x="220276" y="42539"/>
                  </a:moveTo>
                  <a:cubicBezTo>
                    <a:pt x="212063" y="42539"/>
                    <a:pt x="197743" y="50331"/>
                    <a:pt x="191426" y="50331"/>
                  </a:cubicBezTo>
                  <a:cubicBezTo>
                    <a:pt x="185108" y="50331"/>
                    <a:pt x="180264" y="46119"/>
                    <a:pt x="175210" y="50752"/>
                  </a:cubicBezTo>
                  <a:cubicBezTo>
                    <a:pt x="168050" y="50752"/>
                    <a:pt x="159416" y="54121"/>
                    <a:pt x="156889" y="54121"/>
                  </a:cubicBezTo>
                  <a:cubicBezTo>
                    <a:pt x="158784" y="54121"/>
                    <a:pt x="149308" y="57491"/>
                    <a:pt x="139199" y="57491"/>
                  </a:cubicBezTo>
                  <a:cubicBezTo>
                    <a:pt x="128249" y="57491"/>
                    <a:pt x="118562" y="64651"/>
                    <a:pt x="115614" y="64651"/>
                  </a:cubicBezTo>
                  <a:cubicBezTo>
                    <a:pt x="118562" y="64651"/>
                    <a:pt x="117088" y="65493"/>
                    <a:pt x="101293" y="65493"/>
                  </a:cubicBezTo>
                  <a:cubicBezTo>
                    <a:pt x="93712" y="80024"/>
                    <a:pt x="74338" y="77076"/>
                    <a:pt x="64861" y="77076"/>
                  </a:cubicBezTo>
                  <a:cubicBezTo>
                    <a:pt x="68231" y="77076"/>
                    <a:pt x="62966" y="83393"/>
                    <a:pt x="53279" y="83393"/>
                  </a:cubicBezTo>
                  <a:cubicBezTo>
                    <a:pt x="46540" y="83393"/>
                    <a:pt x="44013" y="88658"/>
                    <a:pt x="39801" y="88658"/>
                  </a:cubicBezTo>
                  <a:cubicBezTo>
                    <a:pt x="44645" y="88658"/>
                    <a:pt x="36011" y="94765"/>
                    <a:pt x="31167" y="94765"/>
                  </a:cubicBezTo>
                  <a:cubicBezTo>
                    <a:pt x="35590" y="94765"/>
                    <a:pt x="20217" y="101083"/>
                    <a:pt x="18742" y="101083"/>
                  </a:cubicBezTo>
                  <a:cubicBezTo>
                    <a:pt x="20638" y="101083"/>
                    <a:pt x="15373" y="106348"/>
                    <a:pt x="9687" y="106348"/>
                  </a:cubicBezTo>
                  <a:cubicBezTo>
                    <a:pt x="15373" y="106348"/>
                    <a:pt x="3791" y="113086"/>
                    <a:pt x="0" y="113086"/>
                  </a:cubicBezTo>
                  <a:cubicBezTo>
                    <a:pt x="4212" y="113086"/>
                    <a:pt x="35590" y="104452"/>
                    <a:pt x="29693" y="104452"/>
                  </a:cubicBezTo>
                  <a:cubicBezTo>
                    <a:pt x="34958" y="104452"/>
                    <a:pt x="35379" y="102557"/>
                    <a:pt x="41697" y="102557"/>
                  </a:cubicBezTo>
                  <a:cubicBezTo>
                    <a:pt x="47593" y="102557"/>
                    <a:pt x="63387" y="97292"/>
                    <a:pt x="58544" y="97292"/>
                  </a:cubicBezTo>
                  <a:cubicBezTo>
                    <a:pt x="63809" y="97292"/>
                    <a:pt x="73917" y="93502"/>
                    <a:pt x="70126" y="93502"/>
                  </a:cubicBezTo>
                  <a:cubicBezTo>
                    <a:pt x="73917" y="93502"/>
                    <a:pt x="92238" y="90553"/>
                    <a:pt x="84025" y="90553"/>
                  </a:cubicBezTo>
                  <a:cubicBezTo>
                    <a:pt x="92238" y="90553"/>
                    <a:pt x="110349" y="77497"/>
                    <a:pt x="109085" y="77497"/>
                  </a:cubicBezTo>
                  <a:cubicBezTo>
                    <a:pt x="110559" y="77497"/>
                    <a:pt x="105295" y="82762"/>
                    <a:pt x="102346" y="82762"/>
                  </a:cubicBezTo>
                  <a:cubicBezTo>
                    <a:pt x="105716" y="82762"/>
                    <a:pt x="111612" y="78550"/>
                    <a:pt x="119194" y="78550"/>
                  </a:cubicBezTo>
                  <a:cubicBezTo>
                    <a:pt x="126985" y="78550"/>
                    <a:pt x="142780" y="68020"/>
                    <a:pt x="151835" y="68020"/>
                  </a:cubicBezTo>
                  <a:cubicBezTo>
                    <a:pt x="160890" y="68020"/>
                    <a:pt x="179211" y="60228"/>
                    <a:pt x="177737" y="60228"/>
                  </a:cubicBezTo>
                  <a:cubicBezTo>
                    <a:pt x="179633" y="60228"/>
                    <a:pt x="165313" y="58754"/>
                    <a:pt x="161522" y="66546"/>
                  </a:cubicBezTo>
                  <a:cubicBezTo>
                    <a:pt x="151835" y="66546"/>
                    <a:pt x="130776" y="79603"/>
                    <a:pt x="122142" y="79603"/>
                  </a:cubicBezTo>
                  <a:cubicBezTo>
                    <a:pt x="113086" y="79603"/>
                    <a:pt x="92870" y="91606"/>
                    <a:pt x="86973" y="91606"/>
                  </a:cubicBezTo>
                  <a:cubicBezTo>
                    <a:pt x="92870" y="91606"/>
                    <a:pt x="90343" y="92449"/>
                    <a:pt x="101293" y="92449"/>
                  </a:cubicBezTo>
                  <a:cubicBezTo>
                    <a:pt x="111823" y="92449"/>
                    <a:pt x="134988" y="78971"/>
                    <a:pt x="145938" y="78971"/>
                  </a:cubicBezTo>
                  <a:cubicBezTo>
                    <a:pt x="151203" y="68863"/>
                    <a:pt x="170367" y="65493"/>
                    <a:pt x="182791" y="65493"/>
                  </a:cubicBezTo>
                  <a:cubicBezTo>
                    <a:pt x="194795" y="65493"/>
                    <a:pt x="199639" y="54964"/>
                    <a:pt x="210168" y="54964"/>
                  </a:cubicBezTo>
                  <a:cubicBezTo>
                    <a:pt x="215433" y="45277"/>
                    <a:pt x="227015" y="44856"/>
                    <a:pt x="244705" y="44856"/>
                  </a:cubicBezTo>
                  <a:cubicBezTo>
                    <a:pt x="256708" y="32431"/>
                    <a:pt x="267869" y="43381"/>
                    <a:pt x="275030" y="36221"/>
                  </a:cubicBezTo>
                  <a:cubicBezTo>
                    <a:pt x="285559" y="36221"/>
                    <a:pt x="290824" y="28008"/>
                    <a:pt x="302827" y="28008"/>
                  </a:cubicBezTo>
                  <a:cubicBezTo>
                    <a:pt x="314410" y="28008"/>
                    <a:pt x="337996" y="17900"/>
                    <a:pt x="329783" y="17900"/>
                  </a:cubicBezTo>
                  <a:cubicBezTo>
                    <a:pt x="333573" y="9687"/>
                    <a:pt x="356106" y="6318"/>
                    <a:pt x="349367" y="6318"/>
                  </a:cubicBezTo>
                  <a:cubicBezTo>
                    <a:pt x="355053" y="6318"/>
                    <a:pt x="357580" y="0"/>
                    <a:pt x="352316" y="0"/>
                  </a:cubicBezTo>
                  <a:cubicBezTo>
                    <a:pt x="349367" y="5265"/>
                    <a:pt x="334626" y="5686"/>
                    <a:pt x="327256" y="5686"/>
                  </a:cubicBezTo>
                  <a:cubicBezTo>
                    <a:pt x="320096" y="5686"/>
                    <a:pt x="311461" y="12425"/>
                    <a:pt x="308513" y="12425"/>
                  </a:cubicBezTo>
                  <a:cubicBezTo>
                    <a:pt x="310830" y="12425"/>
                    <a:pt x="303670" y="15373"/>
                    <a:pt x="298826" y="15373"/>
                  </a:cubicBezTo>
                  <a:cubicBezTo>
                    <a:pt x="304091" y="15373"/>
                    <a:pt x="290613" y="16847"/>
                    <a:pt x="288718" y="16847"/>
                  </a:cubicBezTo>
                  <a:cubicBezTo>
                    <a:pt x="291666" y="16847"/>
                    <a:pt x="280084" y="19164"/>
                    <a:pt x="275661" y="19164"/>
                  </a:cubicBezTo>
                  <a:cubicBezTo>
                    <a:pt x="279031" y="19164"/>
                    <a:pt x="283243" y="14952"/>
                    <a:pt x="281979" y="14952"/>
                  </a:cubicBezTo>
                  <a:cubicBezTo>
                    <a:pt x="283453" y="14952"/>
                    <a:pt x="273345" y="15794"/>
                    <a:pt x="271871" y="15794"/>
                  </a:cubicBezTo>
                  <a:cubicBezTo>
                    <a:pt x="273345" y="15794"/>
                    <a:pt x="280084" y="11372"/>
                    <a:pt x="275240" y="11372"/>
                  </a:cubicBezTo>
                  <a:cubicBezTo>
                    <a:pt x="280505" y="11372"/>
                    <a:pt x="270397" y="11372"/>
                    <a:pt x="266185" y="11372"/>
                  </a:cubicBezTo>
                  <a:cubicBezTo>
                    <a:pt x="269975" y="11372"/>
                    <a:pt x="260920" y="13267"/>
                    <a:pt x="254602" y="13267"/>
                  </a:cubicBezTo>
                  <a:cubicBezTo>
                    <a:pt x="260709" y="13267"/>
                    <a:pt x="249338" y="21480"/>
                    <a:pt x="240282" y="21480"/>
                  </a:cubicBezTo>
                  <a:cubicBezTo>
                    <a:pt x="231227" y="21480"/>
                    <a:pt x="228700" y="29693"/>
                    <a:pt x="220066" y="29693"/>
                  </a:cubicBezTo>
                  <a:cubicBezTo>
                    <a:pt x="211010" y="29693"/>
                    <a:pt x="215643" y="39801"/>
                    <a:pt x="219223" y="33484"/>
                  </a:cubicBezTo>
                  <a:cubicBezTo>
                    <a:pt x="226383" y="33484"/>
                    <a:pt x="241756" y="30114"/>
                    <a:pt x="237966" y="30114"/>
                  </a:cubicBezTo>
                  <a:cubicBezTo>
                    <a:pt x="241756" y="30114"/>
                    <a:pt x="228279" y="35800"/>
                    <a:pt x="222593" y="35800"/>
                  </a:cubicBezTo>
                  <a:cubicBezTo>
                    <a:pt x="227436" y="35800"/>
                    <a:pt x="225962" y="36221"/>
                    <a:pt x="233122" y="36221"/>
                  </a:cubicBezTo>
                  <a:cubicBezTo>
                    <a:pt x="236492" y="29061"/>
                    <a:pt x="250812" y="32852"/>
                    <a:pt x="248495" y="32852"/>
                  </a:cubicBezTo>
                  <a:cubicBezTo>
                    <a:pt x="251022" y="33484"/>
                    <a:pt x="227857" y="42539"/>
                    <a:pt x="220276" y="4253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3" name="Forme libre : forme 87">
              <a:extLst>
                <a:ext uri="{FF2B5EF4-FFF2-40B4-BE49-F238E27FC236}">
                  <a16:creationId xmlns:a16="http://schemas.microsoft.com/office/drawing/2014/main" id="{86EA95A0-9960-4097-A727-BFB5DD223725}"/>
                </a:ext>
              </a:extLst>
            </p:cNvPr>
            <p:cNvSpPr/>
            <p:nvPr/>
          </p:nvSpPr>
          <p:spPr>
            <a:xfrm>
              <a:off x="2100071" y="2109016"/>
              <a:ext cx="35707" cy="10950"/>
            </a:xfrm>
            <a:custGeom>
              <a:avLst/>
              <a:gdLst>
                <a:gd name="connsiteX0" fmla="*/ 34115 w 35707"/>
                <a:gd name="connsiteY0" fmla="*/ 0 h 10950"/>
                <a:gd name="connsiteX1" fmla="*/ 16426 w 35707"/>
                <a:gd name="connsiteY1" fmla="*/ 2738 h 10950"/>
                <a:gd name="connsiteX2" fmla="*/ 0 w 35707"/>
                <a:gd name="connsiteY2" fmla="*/ 10951 h 10950"/>
                <a:gd name="connsiteX3" fmla="*/ 13057 w 35707"/>
                <a:gd name="connsiteY3" fmla="*/ 9898 h 10950"/>
                <a:gd name="connsiteX4" fmla="*/ 31167 w 35707"/>
                <a:gd name="connsiteY4" fmla="*/ 4212 h 10950"/>
                <a:gd name="connsiteX5" fmla="*/ 34115 w 35707"/>
                <a:gd name="connsiteY5" fmla="*/ 0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707" h="10950">
                  <a:moveTo>
                    <a:pt x="34115" y="0"/>
                  </a:moveTo>
                  <a:cubicBezTo>
                    <a:pt x="38327" y="0"/>
                    <a:pt x="22112" y="2738"/>
                    <a:pt x="16426" y="2738"/>
                  </a:cubicBezTo>
                  <a:cubicBezTo>
                    <a:pt x="22112" y="2738"/>
                    <a:pt x="1895" y="10951"/>
                    <a:pt x="0" y="10951"/>
                  </a:cubicBezTo>
                  <a:cubicBezTo>
                    <a:pt x="1474" y="10951"/>
                    <a:pt x="5265" y="9898"/>
                    <a:pt x="13057" y="9898"/>
                  </a:cubicBezTo>
                  <a:cubicBezTo>
                    <a:pt x="16847" y="2316"/>
                    <a:pt x="34115" y="4212"/>
                    <a:pt x="31167" y="4212"/>
                  </a:cubicBezTo>
                  <a:cubicBezTo>
                    <a:pt x="34115" y="4212"/>
                    <a:pt x="37906" y="0"/>
                    <a:pt x="3411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4" name="Forme libre : forme 88">
              <a:extLst>
                <a:ext uri="{FF2B5EF4-FFF2-40B4-BE49-F238E27FC236}">
                  <a16:creationId xmlns:a16="http://schemas.microsoft.com/office/drawing/2014/main" id="{F7079076-A2B3-45BC-8C98-817F1C907703}"/>
                </a:ext>
              </a:extLst>
            </p:cNvPr>
            <p:cNvSpPr/>
            <p:nvPr/>
          </p:nvSpPr>
          <p:spPr>
            <a:xfrm>
              <a:off x="2089762" y="2081008"/>
              <a:ext cx="60860" cy="9265"/>
            </a:xfrm>
            <a:custGeom>
              <a:avLst/>
              <a:gdLst>
                <a:gd name="connsiteX0" fmla="*/ 52005 w 60860"/>
                <a:gd name="connsiteY0" fmla="*/ 0 h 9265"/>
                <a:gd name="connsiteX1" fmla="*/ 35790 w 60860"/>
                <a:gd name="connsiteY1" fmla="*/ 421 h 9265"/>
                <a:gd name="connsiteX2" fmla="*/ 13678 w 60860"/>
                <a:gd name="connsiteY2" fmla="*/ 2948 h 9265"/>
                <a:gd name="connsiteX3" fmla="*/ 622 w 60860"/>
                <a:gd name="connsiteY3" fmla="*/ 7792 h 9265"/>
                <a:gd name="connsiteX4" fmla="*/ 11572 w 60860"/>
                <a:gd name="connsiteY4" fmla="*/ 9266 h 9265"/>
                <a:gd name="connsiteX5" fmla="*/ 23997 w 60860"/>
                <a:gd name="connsiteY5" fmla="*/ 8845 h 9265"/>
                <a:gd name="connsiteX6" fmla="*/ 39791 w 60860"/>
                <a:gd name="connsiteY6" fmla="*/ 5475 h 9265"/>
                <a:gd name="connsiteX7" fmla="*/ 57060 w 60860"/>
                <a:gd name="connsiteY7" fmla="*/ 1685 h 9265"/>
                <a:gd name="connsiteX8" fmla="*/ 52005 w 60860"/>
                <a:gd name="connsiteY8" fmla="*/ 0 h 9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0860" h="9265">
                  <a:moveTo>
                    <a:pt x="52005" y="0"/>
                  </a:moveTo>
                  <a:cubicBezTo>
                    <a:pt x="44424" y="0"/>
                    <a:pt x="43371" y="421"/>
                    <a:pt x="35790" y="421"/>
                  </a:cubicBezTo>
                  <a:cubicBezTo>
                    <a:pt x="28209" y="421"/>
                    <a:pt x="19575" y="2948"/>
                    <a:pt x="13678" y="2948"/>
                  </a:cubicBezTo>
                  <a:cubicBezTo>
                    <a:pt x="18943" y="2948"/>
                    <a:pt x="-4011" y="7792"/>
                    <a:pt x="622" y="7792"/>
                  </a:cubicBezTo>
                  <a:cubicBezTo>
                    <a:pt x="5886" y="7792"/>
                    <a:pt x="14099" y="9266"/>
                    <a:pt x="11572" y="9266"/>
                  </a:cubicBezTo>
                  <a:cubicBezTo>
                    <a:pt x="13889" y="9266"/>
                    <a:pt x="14942" y="8845"/>
                    <a:pt x="23997" y="8845"/>
                  </a:cubicBezTo>
                  <a:cubicBezTo>
                    <a:pt x="27788" y="1053"/>
                    <a:pt x="44635" y="5475"/>
                    <a:pt x="39791" y="5475"/>
                  </a:cubicBezTo>
                  <a:cubicBezTo>
                    <a:pt x="45056" y="5475"/>
                    <a:pt x="49899" y="1685"/>
                    <a:pt x="57060" y="1685"/>
                  </a:cubicBezTo>
                  <a:cubicBezTo>
                    <a:pt x="64641" y="1474"/>
                    <a:pt x="59797" y="0"/>
                    <a:pt x="5200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5" name="Forme libre : forme 89">
              <a:extLst>
                <a:ext uri="{FF2B5EF4-FFF2-40B4-BE49-F238E27FC236}">
                  <a16:creationId xmlns:a16="http://schemas.microsoft.com/office/drawing/2014/main" id="{2C4CF44F-C162-4D9B-A79F-0FCA8B59FAF5}"/>
                </a:ext>
              </a:extLst>
            </p:cNvPr>
            <p:cNvSpPr/>
            <p:nvPr/>
          </p:nvSpPr>
          <p:spPr>
            <a:xfrm>
              <a:off x="2155245" y="2185249"/>
              <a:ext cx="26157" cy="12003"/>
            </a:xfrm>
            <a:custGeom>
              <a:avLst/>
              <a:gdLst>
                <a:gd name="connsiteX0" fmla="*/ 6318 w 26157"/>
                <a:gd name="connsiteY0" fmla="*/ 12004 h 12003"/>
                <a:gd name="connsiteX1" fmla="*/ 20217 w 26157"/>
                <a:gd name="connsiteY1" fmla="*/ 5265 h 12003"/>
                <a:gd name="connsiteX2" fmla="*/ 22533 w 26157"/>
                <a:gd name="connsiteY2" fmla="*/ 0 h 12003"/>
                <a:gd name="connsiteX3" fmla="*/ 0 w 26157"/>
                <a:gd name="connsiteY3" fmla="*/ 8634 h 12003"/>
                <a:gd name="connsiteX4" fmla="*/ 6318 w 26157"/>
                <a:gd name="connsiteY4" fmla="*/ 12004 h 120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157" h="12003">
                  <a:moveTo>
                    <a:pt x="6318" y="12004"/>
                  </a:moveTo>
                  <a:cubicBezTo>
                    <a:pt x="12004" y="12004"/>
                    <a:pt x="25060" y="5265"/>
                    <a:pt x="20217" y="5265"/>
                  </a:cubicBezTo>
                  <a:cubicBezTo>
                    <a:pt x="24428" y="5265"/>
                    <a:pt x="29904" y="0"/>
                    <a:pt x="22533" y="0"/>
                  </a:cubicBezTo>
                  <a:cubicBezTo>
                    <a:pt x="17268" y="5265"/>
                    <a:pt x="3369" y="8634"/>
                    <a:pt x="0" y="8634"/>
                  </a:cubicBezTo>
                  <a:cubicBezTo>
                    <a:pt x="3369" y="8634"/>
                    <a:pt x="0" y="12004"/>
                    <a:pt x="6318" y="1200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6" name="Forme libre : forme 90">
              <a:extLst>
                <a:ext uri="{FF2B5EF4-FFF2-40B4-BE49-F238E27FC236}">
                  <a16:creationId xmlns:a16="http://schemas.microsoft.com/office/drawing/2014/main" id="{D5EDC3A2-C445-4CA2-85DC-B3FFE04CF607}"/>
                </a:ext>
              </a:extLst>
            </p:cNvPr>
            <p:cNvSpPr/>
            <p:nvPr/>
          </p:nvSpPr>
          <p:spPr>
            <a:xfrm>
              <a:off x="2173566" y="2159768"/>
              <a:ext cx="16476" cy="9833"/>
            </a:xfrm>
            <a:custGeom>
              <a:avLst/>
              <a:gdLst>
                <a:gd name="connsiteX0" fmla="*/ 15794 w 16476"/>
                <a:gd name="connsiteY0" fmla="*/ 0 h 9833"/>
                <a:gd name="connsiteX1" fmla="*/ 0 w 16476"/>
                <a:gd name="connsiteY1" fmla="*/ 3791 h 9833"/>
                <a:gd name="connsiteX2" fmla="*/ 4844 w 16476"/>
                <a:gd name="connsiteY2" fmla="*/ 7581 h 9833"/>
                <a:gd name="connsiteX3" fmla="*/ 15794 w 16476"/>
                <a:gd name="connsiteY3" fmla="*/ 0 h 9833"/>
              </a:gdLst>
              <a:ahLst/>
              <a:cxnLst>
                <a:cxn ang="0">
                  <a:pos x="connsiteX0" y="connsiteY0"/>
                </a:cxn>
                <a:cxn ang="0">
                  <a:pos x="connsiteX1" y="connsiteY1"/>
                </a:cxn>
                <a:cxn ang="0">
                  <a:pos x="connsiteX2" y="connsiteY2"/>
                </a:cxn>
                <a:cxn ang="0">
                  <a:pos x="connsiteX3" y="connsiteY3"/>
                </a:cxn>
              </a:cxnLst>
              <a:rect l="l" t="t" r="r" b="b"/>
              <a:pathLst>
                <a:path w="16476" h="9833">
                  <a:moveTo>
                    <a:pt x="15794" y="0"/>
                  </a:moveTo>
                  <a:cubicBezTo>
                    <a:pt x="19585" y="0"/>
                    <a:pt x="3791" y="3791"/>
                    <a:pt x="0" y="3791"/>
                  </a:cubicBezTo>
                  <a:cubicBezTo>
                    <a:pt x="3370" y="3791"/>
                    <a:pt x="1474" y="14320"/>
                    <a:pt x="4844" y="7581"/>
                  </a:cubicBezTo>
                  <a:cubicBezTo>
                    <a:pt x="11582" y="7792"/>
                    <a:pt x="18742" y="0"/>
                    <a:pt x="15794"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7" name="Forme libre : forme 91">
              <a:extLst>
                <a:ext uri="{FF2B5EF4-FFF2-40B4-BE49-F238E27FC236}">
                  <a16:creationId xmlns:a16="http://schemas.microsoft.com/office/drawing/2014/main" id="{4ABE132B-EC3D-4E0B-87A2-377BB47C8C08}"/>
                </a:ext>
              </a:extLst>
            </p:cNvPr>
            <p:cNvSpPr/>
            <p:nvPr/>
          </p:nvSpPr>
          <p:spPr>
            <a:xfrm>
              <a:off x="2103440" y="2205887"/>
              <a:ext cx="21089" cy="6738"/>
            </a:xfrm>
            <a:custGeom>
              <a:avLst/>
              <a:gdLst>
                <a:gd name="connsiteX0" fmla="*/ 19585 w 21089"/>
                <a:gd name="connsiteY0" fmla="*/ 0 h 6738"/>
                <a:gd name="connsiteX1" fmla="*/ 0 w 21089"/>
                <a:gd name="connsiteY1" fmla="*/ 6739 h 6738"/>
                <a:gd name="connsiteX2" fmla="*/ 11582 w 21089"/>
                <a:gd name="connsiteY2" fmla="*/ 5686 h 6738"/>
                <a:gd name="connsiteX3" fmla="*/ 19585 w 21089"/>
                <a:gd name="connsiteY3" fmla="*/ 0 h 6738"/>
              </a:gdLst>
              <a:ahLst/>
              <a:cxnLst>
                <a:cxn ang="0">
                  <a:pos x="connsiteX0" y="connsiteY0"/>
                </a:cxn>
                <a:cxn ang="0">
                  <a:pos x="connsiteX1" y="connsiteY1"/>
                </a:cxn>
                <a:cxn ang="0">
                  <a:pos x="connsiteX2" y="connsiteY2"/>
                </a:cxn>
                <a:cxn ang="0">
                  <a:pos x="connsiteX3" y="connsiteY3"/>
                </a:cxn>
              </a:cxnLst>
              <a:rect l="l" t="t" r="r" b="b"/>
              <a:pathLst>
                <a:path w="21089" h="6738">
                  <a:moveTo>
                    <a:pt x="19585" y="0"/>
                  </a:moveTo>
                  <a:cubicBezTo>
                    <a:pt x="22533" y="0"/>
                    <a:pt x="2738" y="6739"/>
                    <a:pt x="0" y="6739"/>
                  </a:cubicBezTo>
                  <a:cubicBezTo>
                    <a:pt x="3369" y="6739"/>
                    <a:pt x="18321" y="5686"/>
                    <a:pt x="11582" y="5686"/>
                  </a:cubicBezTo>
                  <a:cubicBezTo>
                    <a:pt x="19164" y="5896"/>
                    <a:pt x="23586" y="0"/>
                    <a:pt x="1958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8" name="Forme libre : forme 92">
              <a:extLst>
                <a:ext uri="{FF2B5EF4-FFF2-40B4-BE49-F238E27FC236}">
                  <a16:creationId xmlns:a16="http://schemas.microsoft.com/office/drawing/2014/main" id="{235EFD6D-F535-4021-8228-D96166E42AA8}"/>
                </a:ext>
              </a:extLst>
            </p:cNvPr>
            <p:cNvSpPr/>
            <p:nvPr/>
          </p:nvSpPr>
          <p:spPr>
            <a:xfrm>
              <a:off x="2134942" y="2083114"/>
              <a:ext cx="187848" cy="62904"/>
            </a:xfrm>
            <a:custGeom>
              <a:avLst/>
              <a:gdLst>
                <a:gd name="connsiteX0" fmla="*/ 111488 w 187848"/>
                <a:gd name="connsiteY0" fmla="*/ 53279 h 62904"/>
                <a:gd name="connsiteX1" fmla="*/ 94219 w 187848"/>
                <a:gd name="connsiteY1" fmla="*/ 58123 h 62904"/>
                <a:gd name="connsiteX2" fmla="*/ 76951 w 187848"/>
                <a:gd name="connsiteY2" fmla="*/ 55806 h 62904"/>
                <a:gd name="connsiteX3" fmla="*/ 58630 w 187848"/>
                <a:gd name="connsiteY3" fmla="*/ 56648 h 62904"/>
                <a:gd name="connsiteX4" fmla="*/ 41783 w 187848"/>
                <a:gd name="connsiteY4" fmla="*/ 58123 h 62904"/>
                <a:gd name="connsiteX5" fmla="*/ 31675 w 187848"/>
                <a:gd name="connsiteY5" fmla="*/ 59597 h 62904"/>
                <a:gd name="connsiteX6" fmla="*/ 14827 w 187848"/>
                <a:gd name="connsiteY6" fmla="*/ 61913 h 62904"/>
                <a:gd name="connsiteX7" fmla="*/ 4719 w 187848"/>
                <a:gd name="connsiteY7" fmla="*/ 61492 h 62904"/>
                <a:gd name="connsiteX8" fmla="*/ 6193 w 187848"/>
                <a:gd name="connsiteY8" fmla="*/ 56227 h 62904"/>
                <a:gd name="connsiteX9" fmla="*/ 27884 w 187848"/>
                <a:gd name="connsiteY9" fmla="*/ 49488 h 62904"/>
                <a:gd name="connsiteX10" fmla="*/ 50417 w 187848"/>
                <a:gd name="connsiteY10" fmla="*/ 47172 h 62904"/>
                <a:gd name="connsiteX11" fmla="*/ 67685 w 187848"/>
                <a:gd name="connsiteY11" fmla="*/ 42328 h 62904"/>
                <a:gd name="connsiteX12" fmla="*/ 67264 w 187848"/>
                <a:gd name="connsiteY12" fmla="*/ 37485 h 62904"/>
                <a:gd name="connsiteX13" fmla="*/ 47048 w 187848"/>
                <a:gd name="connsiteY13" fmla="*/ 40854 h 62904"/>
                <a:gd name="connsiteX14" fmla="*/ 45152 w 187848"/>
                <a:gd name="connsiteY14" fmla="*/ 37064 h 62904"/>
                <a:gd name="connsiteX15" fmla="*/ 61999 w 187848"/>
                <a:gd name="connsiteY15" fmla="*/ 29483 h 62904"/>
                <a:gd name="connsiteX16" fmla="*/ 79268 w 187848"/>
                <a:gd name="connsiteY16" fmla="*/ 24639 h 62904"/>
                <a:gd name="connsiteX17" fmla="*/ 96957 w 187848"/>
                <a:gd name="connsiteY17" fmla="*/ 18321 h 62904"/>
                <a:gd name="connsiteX18" fmla="*/ 125808 w 187848"/>
                <a:gd name="connsiteY18" fmla="*/ 10108 h 62904"/>
                <a:gd name="connsiteX19" fmla="*/ 151710 w 187848"/>
                <a:gd name="connsiteY19" fmla="*/ 1895 h 62904"/>
                <a:gd name="connsiteX20" fmla="*/ 162661 w 187848"/>
                <a:gd name="connsiteY20" fmla="*/ 0 h 62904"/>
                <a:gd name="connsiteX21" fmla="*/ 172348 w 187848"/>
                <a:gd name="connsiteY21" fmla="*/ 421 h 62904"/>
                <a:gd name="connsiteX22" fmla="*/ 180982 w 187848"/>
                <a:gd name="connsiteY22" fmla="*/ 842 h 62904"/>
                <a:gd name="connsiteX23" fmla="*/ 173401 w 187848"/>
                <a:gd name="connsiteY23" fmla="*/ 8002 h 62904"/>
                <a:gd name="connsiteX24" fmla="*/ 182456 w 187848"/>
                <a:gd name="connsiteY24" fmla="*/ 9477 h 62904"/>
                <a:gd name="connsiteX25" fmla="*/ 182456 w 187848"/>
                <a:gd name="connsiteY25" fmla="*/ 15373 h 62904"/>
                <a:gd name="connsiteX26" fmla="*/ 186247 w 187848"/>
                <a:gd name="connsiteY26" fmla="*/ 18742 h 62904"/>
                <a:gd name="connsiteX27" fmla="*/ 177192 w 187848"/>
                <a:gd name="connsiteY27" fmla="*/ 22954 h 62904"/>
                <a:gd name="connsiteX28" fmla="*/ 171927 w 187848"/>
                <a:gd name="connsiteY28" fmla="*/ 30114 h 62904"/>
                <a:gd name="connsiteX29" fmla="*/ 155712 w 187848"/>
                <a:gd name="connsiteY29" fmla="*/ 36432 h 62904"/>
                <a:gd name="connsiteX30" fmla="*/ 135495 w 187848"/>
                <a:gd name="connsiteY30" fmla="*/ 42118 h 62904"/>
                <a:gd name="connsiteX31" fmla="*/ 121175 w 187848"/>
                <a:gd name="connsiteY31" fmla="*/ 46330 h 62904"/>
                <a:gd name="connsiteX32" fmla="*/ 124544 w 187848"/>
                <a:gd name="connsiteY32" fmla="*/ 47804 h 62904"/>
                <a:gd name="connsiteX33" fmla="*/ 111488 w 187848"/>
                <a:gd name="connsiteY33" fmla="*/ 53279 h 62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187848" h="62904">
                  <a:moveTo>
                    <a:pt x="111488" y="53279"/>
                  </a:moveTo>
                  <a:cubicBezTo>
                    <a:pt x="102854" y="53279"/>
                    <a:pt x="101801" y="58123"/>
                    <a:pt x="94219" y="58123"/>
                  </a:cubicBezTo>
                  <a:cubicBezTo>
                    <a:pt x="86006" y="58123"/>
                    <a:pt x="82637" y="55806"/>
                    <a:pt x="76951" y="55806"/>
                  </a:cubicBezTo>
                  <a:cubicBezTo>
                    <a:pt x="71265" y="55806"/>
                    <a:pt x="66001" y="56648"/>
                    <a:pt x="58630" y="56648"/>
                  </a:cubicBezTo>
                  <a:cubicBezTo>
                    <a:pt x="51891" y="56648"/>
                    <a:pt x="44310" y="58123"/>
                    <a:pt x="41783" y="58123"/>
                  </a:cubicBezTo>
                  <a:cubicBezTo>
                    <a:pt x="44099" y="58123"/>
                    <a:pt x="38413" y="59597"/>
                    <a:pt x="31675" y="59597"/>
                  </a:cubicBezTo>
                  <a:cubicBezTo>
                    <a:pt x="28726" y="65283"/>
                    <a:pt x="16302" y="61913"/>
                    <a:pt x="14827" y="61913"/>
                  </a:cubicBezTo>
                  <a:cubicBezTo>
                    <a:pt x="16723" y="61913"/>
                    <a:pt x="10405" y="61492"/>
                    <a:pt x="4719" y="61492"/>
                  </a:cubicBezTo>
                  <a:cubicBezTo>
                    <a:pt x="-1599" y="61492"/>
                    <a:pt x="-2020" y="56227"/>
                    <a:pt x="6193" y="56227"/>
                  </a:cubicBezTo>
                  <a:cubicBezTo>
                    <a:pt x="9984" y="49067"/>
                    <a:pt x="31675" y="49488"/>
                    <a:pt x="27884" y="49488"/>
                  </a:cubicBezTo>
                  <a:cubicBezTo>
                    <a:pt x="32727" y="49488"/>
                    <a:pt x="42204" y="47172"/>
                    <a:pt x="50417" y="47172"/>
                  </a:cubicBezTo>
                  <a:cubicBezTo>
                    <a:pt x="58630" y="47172"/>
                    <a:pt x="61368" y="42328"/>
                    <a:pt x="67685" y="42328"/>
                  </a:cubicBezTo>
                  <a:cubicBezTo>
                    <a:pt x="74003" y="42328"/>
                    <a:pt x="70002" y="37485"/>
                    <a:pt x="67264" y="37485"/>
                  </a:cubicBezTo>
                  <a:cubicBezTo>
                    <a:pt x="70634" y="37485"/>
                    <a:pt x="51470" y="40854"/>
                    <a:pt x="47048" y="40854"/>
                  </a:cubicBezTo>
                  <a:cubicBezTo>
                    <a:pt x="51470" y="40854"/>
                    <a:pt x="36097" y="37064"/>
                    <a:pt x="45152" y="37064"/>
                  </a:cubicBezTo>
                  <a:cubicBezTo>
                    <a:pt x="54208" y="37064"/>
                    <a:pt x="68106" y="29483"/>
                    <a:pt x="61999" y="29483"/>
                  </a:cubicBezTo>
                  <a:cubicBezTo>
                    <a:pt x="68738" y="29483"/>
                    <a:pt x="85585" y="24639"/>
                    <a:pt x="79268" y="24639"/>
                  </a:cubicBezTo>
                  <a:cubicBezTo>
                    <a:pt x="86428" y="24639"/>
                    <a:pt x="90429" y="18321"/>
                    <a:pt x="96957" y="18321"/>
                  </a:cubicBezTo>
                  <a:cubicBezTo>
                    <a:pt x="104117" y="18321"/>
                    <a:pt x="116121" y="10108"/>
                    <a:pt x="125808" y="10108"/>
                  </a:cubicBezTo>
                  <a:cubicBezTo>
                    <a:pt x="130230" y="1895"/>
                    <a:pt x="156554" y="1895"/>
                    <a:pt x="151710" y="1895"/>
                  </a:cubicBezTo>
                  <a:cubicBezTo>
                    <a:pt x="156554" y="1895"/>
                    <a:pt x="165609" y="0"/>
                    <a:pt x="162661" y="0"/>
                  </a:cubicBezTo>
                  <a:cubicBezTo>
                    <a:pt x="165609" y="0"/>
                    <a:pt x="176139" y="421"/>
                    <a:pt x="172348" y="421"/>
                  </a:cubicBezTo>
                  <a:cubicBezTo>
                    <a:pt x="176139" y="421"/>
                    <a:pt x="186668" y="842"/>
                    <a:pt x="180982" y="842"/>
                  </a:cubicBezTo>
                  <a:cubicBezTo>
                    <a:pt x="186247" y="842"/>
                    <a:pt x="166662" y="8002"/>
                    <a:pt x="173401" y="8002"/>
                  </a:cubicBezTo>
                  <a:cubicBezTo>
                    <a:pt x="180140" y="8002"/>
                    <a:pt x="185405" y="9477"/>
                    <a:pt x="182456" y="9477"/>
                  </a:cubicBezTo>
                  <a:cubicBezTo>
                    <a:pt x="185405" y="9477"/>
                    <a:pt x="177192" y="15373"/>
                    <a:pt x="182456" y="15373"/>
                  </a:cubicBezTo>
                  <a:cubicBezTo>
                    <a:pt x="184773" y="10529"/>
                    <a:pt x="190669" y="18742"/>
                    <a:pt x="186247" y="18742"/>
                  </a:cubicBezTo>
                  <a:cubicBezTo>
                    <a:pt x="189616" y="18742"/>
                    <a:pt x="179929" y="22954"/>
                    <a:pt x="177192" y="22954"/>
                  </a:cubicBezTo>
                  <a:cubicBezTo>
                    <a:pt x="179508" y="22954"/>
                    <a:pt x="178245" y="30114"/>
                    <a:pt x="171927" y="30114"/>
                  </a:cubicBezTo>
                  <a:cubicBezTo>
                    <a:pt x="178245" y="30114"/>
                    <a:pt x="161397" y="36432"/>
                    <a:pt x="155712" y="36432"/>
                  </a:cubicBezTo>
                  <a:cubicBezTo>
                    <a:pt x="162029" y="36432"/>
                    <a:pt x="136969" y="42118"/>
                    <a:pt x="135495" y="42118"/>
                  </a:cubicBezTo>
                  <a:cubicBezTo>
                    <a:pt x="136969" y="42118"/>
                    <a:pt x="122438" y="46330"/>
                    <a:pt x="121175" y="46330"/>
                  </a:cubicBezTo>
                  <a:cubicBezTo>
                    <a:pt x="123070" y="46330"/>
                    <a:pt x="127914" y="47804"/>
                    <a:pt x="124544" y="47804"/>
                  </a:cubicBezTo>
                  <a:cubicBezTo>
                    <a:pt x="127493" y="48014"/>
                    <a:pt x="114857" y="53279"/>
                    <a:pt x="111488" y="5327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09" name="Forme libre : forme 93">
              <a:extLst>
                <a:ext uri="{FF2B5EF4-FFF2-40B4-BE49-F238E27FC236}">
                  <a16:creationId xmlns:a16="http://schemas.microsoft.com/office/drawing/2014/main" id="{66274A0D-9F33-477E-B5F2-2A54D8927818}"/>
                </a:ext>
              </a:extLst>
            </p:cNvPr>
            <p:cNvSpPr/>
            <p:nvPr/>
          </p:nvSpPr>
          <p:spPr>
            <a:xfrm>
              <a:off x="2119866" y="2043523"/>
              <a:ext cx="206824" cy="58543"/>
            </a:xfrm>
            <a:custGeom>
              <a:avLst/>
              <a:gdLst>
                <a:gd name="connsiteX0" fmla="*/ 83393 w 206824"/>
                <a:gd name="connsiteY0" fmla="*/ 30746 h 58543"/>
                <a:gd name="connsiteX1" fmla="*/ 69073 w 206824"/>
                <a:gd name="connsiteY1" fmla="*/ 37064 h 58543"/>
                <a:gd name="connsiteX2" fmla="*/ 73917 w 206824"/>
                <a:gd name="connsiteY2" fmla="*/ 39801 h 58543"/>
                <a:gd name="connsiteX3" fmla="*/ 65283 w 206824"/>
                <a:gd name="connsiteY3" fmla="*/ 41697 h 58543"/>
                <a:gd name="connsiteX4" fmla="*/ 54332 w 206824"/>
                <a:gd name="connsiteY4" fmla="*/ 40223 h 58543"/>
                <a:gd name="connsiteX5" fmla="*/ 46119 w 206824"/>
                <a:gd name="connsiteY5" fmla="*/ 41065 h 58543"/>
                <a:gd name="connsiteX6" fmla="*/ 35589 w 206824"/>
                <a:gd name="connsiteY6" fmla="*/ 42960 h 58543"/>
                <a:gd name="connsiteX7" fmla="*/ 29272 w 206824"/>
                <a:gd name="connsiteY7" fmla="*/ 42960 h 58543"/>
                <a:gd name="connsiteX8" fmla="*/ 7160 w 206824"/>
                <a:gd name="connsiteY8" fmla="*/ 48225 h 58543"/>
                <a:gd name="connsiteX9" fmla="*/ 0 w 206824"/>
                <a:gd name="connsiteY9" fmla="*/ 52437 h 58543"/>
                <a:gd name="connsiteX10" fmla="*/ 2948 w 206824"/>
                <a:gd name="connsiteY10" fmla="*/ 56227 h 58543"/>
                <a:gd name="connsiteX11" fmla="*/ 3791 w 206824"/>
                <a:gd name="connsiteY11" fmla="*/ 58544 h 58543"/>
                <a:gd name="connsiteX12" fmla="*/ 11372 w 206824"/>
                <a:gd name="connsiteY12" fmla="*/ 57070 h 58543"/>
                <a:gd name="connsiteX13" fmla="*/ 18111 w 206824"/>
                <a:gd name="connsiteY13" fmla="*/ 57491 h 58543"/>
                <a:gd name="connsiteX14" fmla="*/ 28219 w 206824"/>
                <a:gd name="connsiteY14" fmla="*/ 55596 h 58543"/>
                <a:gd name="connsiteX15" fmla="*/ 40644 w 206824"/>
                <a:gd name="connsiteY15" fmla="*/ 52226 h 58543"/>
                <a:gd name="connsiteX16" fmla="*/ 44013 w 206824"/>
                <a:gd name="connsiteY16" fmla="*/ 54543 h 58543"/>
                <a:gd name="connsiteX17" fmla="*/ 70968 w 206824"/>
                <a:gd name="connsiteY17" fmla="*/ 47383 h 58543"/>
                <a:gd name="connsiteX18" fmla="*/ 90132 w 206824"/>
                <a:gd name="connsiteY18" fmla="*/ 42118 h 58543"/>
                <a:gd name="connsiteX19" fmla="*/ 100240 w 206824"/>
                <a:gd name="connsiteY19" fmla="*/ 41697 h 58543"/>
                <a:gd name="connsiteX20" fmla="*/ 113086 w 206824"/>
                <a:gd name="connsiteY20" fmla="*/ 43171 h 58543"/>
                <a:gd name="connsiteX21" fmla="*/ 157310 w 206824"/>
                <a:gd name="connsiteY21" fmla="*/ 32220 h 58543"/>
                <a:gd name="connsiteX22" fmla="*/ 180475 w 206824"/>
                <a:gd name="connsiteY22" fmla="*/ 25902 h 58543"/>
                <a:gd name="connsiteX23" fmla="*/ 192478 w 206824"/>
                <a:gd name="connsiteY23" fmla="*/ 20638 h 58543"/>
                <a:gd name="connsiteX24" fmla="*/ 192057 w 206824"/>
                <a:gd name="connsiteY24" fmla="*/ 17689 h 58543"/>
                <a:gd name="connsiteX25" fmla="*/ 200691 w 206824"/>
                <a:gd name="connsiteY25" fmla="*/ 16215 h 58543"/>
                <a:gd name="connsiteX26" fmla="*/ 205956 w 206824"/>
                <a:gd name="connsiteY26" fmla="*/ 10951 h 58543"/>
                <a:gd name="connsiteX27" fmla="*/ 197322 w 206824"/>
                <a:gd name="connsiteY27" fmla="*/ 8634 h 58543"/>
                <a:gd name="connsiteX28" fmla="*/ 205535 w 206824"/>
                <a:gd name="connsiteY28" fmla="*/ 1053 h 58543"/>
                <a:gd name="connsiteX29" fmla="*/ 194374 w 206824"/>
                <a:gd name="connsiteY29" fmla="*/ 0 h 58543"/>
                <a:gd name="connsiteX30" fmla="*/ 172262 w 206824"/>
                <a:gd name="connsiteY30" fmla="*/ 4422 h 58543"/>
                <a:gd name="connsiteX31" fmla="*/ 158363 w 206824"/>
                <a:gd name="connsiteY31" fmla="*/ 8213 h 58543"/>
                <a:gd name="connsiteX32" fmla="*/ 151624 w 206824"/>
                <a:gd name="connsiteY32" fmla="*/ 11582 h 58543"/>
                <a:gd name="connsiteX33" fmla="*/ 139199 w 206824"/>
                <a:gd name="connsiteY33" fmla="*/ 12004 h 58543"/>
                <a:gd name="connsiteX34" fmla="*/ 118562 w 206824"/>
                <a:gd name="connsiteY34" fmla="*/ 17689 h 58543"/>
                <a:gd name="connsiteX35" fmla="*/ 99819 w 206824"/>
                <a:gd name="connsiteY35" fmla="*/ 23375 h 58543"/>
                <a:gd name="connsiteX36" fmla="*/ 84446 w 206824"/>
                <a:gd name="connsiteY36" fmla="*/ 27798 h 58543"/>
                <a:gd name="connsiteX37" fmla="*/ 101714 w 206824"/>
                <a:gd name="connsiteY37" fmla="*/ 25481 h 58543"/>
                <a:gd name="connsiteX38" fmla="*/ 117930 w 206824"/>
                <a:gd name="connsiteY38" fmla="*/ 25481 h 58543"/>
                <a:gd name="connsiteX39" fmla="*/ 108875 w 206824"/>
                <a:gd name="connsiteY39" fmla="*/ 26955 h 58543"/>
                <a:gd name="connsiteX40" fmla="*/ 83393 w 206824"/>
                <a:gd name="connsiteY40" fmla="*/ 30746 h 58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206824" h="58543">
                  <a:moveTo>
                    <a:pt x="83393" y="30746"/>
                  </a:moveTo>
                  <a:cubicBezTo>
                    <a:pt x="76654" y="30746"/>
                    <a:pt x="72443" y="37064"/>
                    <a:pt x="69073" y="37064"/>
                  </a:cubicBezTo>
                  <a:cubicBezTo>
                    <a:pt x="72021" y="37064"/>
                    <a:pt x="78129" y="39801"/>
                    <a:pt x="73917" y="39801"/>
                  </a:cubicBezTo>
                  <a:cubicBezTo>
                    <a:pt x="77286" y="39801"/>
                    <a:pt x="72864" y="41697"/>
                    <a:pt x="65283" y="41697"/>
                  </a:cubicBezTo>
                  <a:cubicBezTo>
                    <a:pt x="58544" y="41697"/>
                    <a:pt x="59597" y="40223"/>
                    <a:pt x="54332" y="40223"/>
                  </a:cubicBezTo>
                  <a:cubicBezTo>
                    <a:pt x="60018" y="40223"/>
                    <a:pt x="48014" y="41065"/>
                    <a:pt x="46119" y="41065"/>
                  </a:cubicBezTo>
                  <a:cubicBezTo>
                    <a:pt x="49067" y="41065"/>
                    <a:pt x="38959" y="42960"/>
                    <a:pt x="35589" y="42960"/>
                  </a:cubicBezTo>
                  <a:cubicBezTo>
                    <a:pt x="39380" y="42960"/>
                    <a:pt x="32641" y="42960"/>
                    <a:pt x="29272" y="42960"/>
                  </a:cubicBezTo>
                  <a:cubicBezTo>
                    <a:pt x="33062" y="42960"/>
                    <a:pt x="12004" y="48225"/>
                    <a:pt x="7160" y="48225"/>
                  </a:cubicBezTo>
                  <a:cubicBezTo>
                    <a:pt x="12425" y="48225"/>
                    <a:pt x="4212" y="52437"/>
                    <a:pt x="0" y="52437"/>
                  </a:cubicBezTo>
                  <a:cubicBezTo>
                    <a:pt x="4212" y="52437"/>
                    <a:pt x="5265" y="56227"/>
                    <a:pt x="2948" y="56227"/>
                  </a:cubicBezTo>
                  <a:cubicBezTo>
                    <a:pt x="5265" y="56227"/>
                    <a:pt x="6739" y="58544"/>
                    <a:pt x="3791" y="58544"/>
                  </a:cubicBezTo>
                  <a:cubicBezTo>
                    <a:pt x="7160" y="58544"/>
                    <a:pt x="13899" y="57070"/>
                    <a:pt x="11372" y="57070"/>
                  </a:cubicBezTo>
                  <a:cubicBezTo>
                    <a:pt x="13688" y="57070"/>
                    <a:pt x="22533" y="57491"/>
                    <a:pt x="18111" y="57491"/>
                  </a:cubicBezTo>
                  <a:cubicBezTo>
                    <a:pt x="22322" y="57491"/>
                    <a:pt x="22954" y="55596"/>
                    <a:pt x="28219" y="55596"/>
                  </a:cubicBezTo>
                  <a:cubicBezTo>
                    <a:pt x="33484" y="55596"/>
                    <a:pt x="42539" y="52226"/>
                    <a:pt x="40644" y="52226"/>
                  </a:cubicBezTo>
                  <a:cubicBezTo>
                    <a:pt x="42539" y="52226"/>
                    <a:pt x="48857" y="54543"/>
                    <a:pt x="44013" y="54543"/>
                  </a:cubicBezTo>
                  <a:cubicBezTo>
                    <a:pt x="48857" y="54543"/>
                    <a:pt x="66967" y="54543"/>
                    <a:pt x="70968" y="47383"/>
                  </a:cubicBezTo>
                  <a:cubicBezTo>
                    <a:pt x="78760" y="47383"/>
                    <a:pt x="95397" y="42118"/>
                    <a:pt x="90132" y="42118"/>
                  </a:cubicBezTo>
                  <a:cubicBezTo>
                    <a:pt x="95818" y="42118"/>
                    <a:pt x="103610" y="41697"/>
                    <a:pt x="100240" y="41697"/>
                  </a:cubicBezTo>
                  <a:cubicBezTo>
                    <a:pt x="103610" y="41697"/>
                    <a:pt x="118562" y="43171"/>
                    <a:pt x="113086" y="43171"/>
                  </a:cubicBezTo>
                  <a:cubicBezTo>
                    <a:pt x="118983" y="43171"/>
                    <a:pt x="150571" y="32220"/>
                    <a:pt x="157310" y="32220"/>
                  </a:cubicBezTo>
                  <a:cubicBezTo>
                    <a:pt x="165102" y="32220"/>
                    <a:pt x="172683" y="25902"/>
                    <a:pt x="180475" y="25902"/>
                  </a:cubicBezTo>
                  <a:cubicBezTo>
                    <a:pt x="188056" y="25902"/>
                    <a:pt x="193953" y="20638"/>
                    <a:pt x="192478" y="20638"/>
                  </a:cubicBezTo>
                  <a:cubicBezTo>
                    <a:pt x="193953" y="20638"/>
                    <a:pt x="196690" y="17689"/>
                    <a:pt x="192057" y="17689"/>
                  </a:cubicBezTo>
                  <a:cubicBezTo>
                    <a:pt x="196269" y="17689"/>
                    <a:pt x="203218" y="16215"/>
                    <a:pt x="200691" y="16215"/>
                  </a:cubicBezTo>
                  <a:cubicBezTo>
                    <a:pt x="203640" y="16215"/>
                    <a:pt x="208904" y="10951"/>
                    <a:pt x="205956" y="10951"/>
                  </a:cubicBezTo>
                  <a:cubicBezTo>
                    <a:pt x="209326" y="10951"/>
                    <a:pt x="200270" y="8634"/>
                    <a:pt x="197322" y="8634"/>
                  </a:cubicBezTo>
                  <a:cubicBezTo>
                    <a:pt x="200270" y="8634"/>
                    <a:pt x="207851" y="1053"/>
                    <a:pt x="205535" y="1053"/>
                  </a:cubicBezTo>
                  <a:cubicBezTo>
                    <a:pt x="207430" y="1053"/>
                    <a:pt x="198796" y="0"/>
                    <a:pt x="194374" y="0"/>
                  </a:cubicBezTo>
                  <a:cubicBezTo>
                    <a:pt x="199217" y="0"/>
                    <a:pt x="178158" y="4422"/>
                    <a:pt x="172262" y="4422"/>
                  </a:cubicBezTo>
                  <a:cubicBezTo>
                    <a:pt x="165523" y="4422"/>
                    <a:pt x="159205" y="8213"/>
                    <a:pt x="158363" y="8213"/>
                  </a:cubicBezTo>
                  <a:cubicBezTo>
                    <a:pt x="159837" y="8213"/>
                    <a:pt x="157942" y="11582"/>
                    <a:pt x="151624" y="11582"/>
                  </a:cubicBezTo>
                  <a:cubicBezTo>
                    <a:pt x="146359" y="11582"/>
                    <a:pt x="146781" y="12004"/>
                    <a:pt x="139199" y="12004"/>
                  </a:cubicBezTo>
                  <a:cubicBezTo>
                    <a:pt x="131408" y="12004"/>
                    <a:pt x="122352" y="9687"/>
                    <a:pt x="118562" y="17689"/>
                  </a:cubicBezTo>
                  <a:cubicBezTo>
                    <a:pt x="109506" y="17689"/>
                    <a:pt x="109506" y="23375"/>
                    <a:pt x="99819" y="23375"/>
                  </a:cubicBezTo>
                  <a:cubicBezTo>
                    <a:pt x="89711" y="23375"/>
                    <a:pt x="91185" y="27798"/>
                    <a:pt x="84446" y="27798"/>
                  </a:cubicBezTo>
                  <a:cubicBezTo>
                    <a:pt x="89711" y="27798"/>
                    <a:pt x="96450" y="25481"/>
                    <a:pt x="101714" y="25481"/>
                  </a:cubicBezTo>
                  <a:cubicBezTo>
                    <a:pt x="107400" y="25481"/>
                    <a:pt x="113297" y="25481"/>
                    <a:pt x="117930" y="25481"/>
                  </a:cubicBezTo>
                  <a:cubicBezTo>
                    <a:pt x="120246" y="20638"/>
                    <a:pt x="113086" y="26955"/>
                    <a:pt x="108875" y="26955"/>
                  </a:cubicBezTo>
                  <a:cubicBezTo>
                    <a:pt x="113086" y="27587"/>
                    <a:pt x="94976" y="30746"/>
                    <a:pt x="83393" y="3074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0" name="Forme libre : forme 94">
              <a:extLst>
                <a:ext uri="{FF2B5EF4-FFF2-40B4-BE49-F238E27FC236}">
                  <a16:creationId xmlns:a16="http://schemas.microsoft.com/office/drawing/2014/main" id="{759BB256-79EE-45BD-B727-4A5230696087}"/>
                </a:ext>
              </a:extLst>
            </p:cNvPr>
            <p:cNvSpPr/>
            <p:nvPr/>
          </p:nvSpPr>
          <p:spPr>
            <a:xfrm>
              <a:off x="2115044" y="2023727"/>
              <a:ext cx="184910" cy="44434"/>
            </a:xfrm>
            <a:custGeom>
              <a:avLst/>
              <a:gdLst>
                <a:gd name="connsiteX0" fmla="*/ 130965 w 184910"/>
                <a:gd name="connsiteY0" fmla="*/ 5475 h 44434"/>
                <a:gd name="connsiteX1" fmla="*/ 106326 w 184910"/>
                <a:gd name="connsiteY1" fmla="*/ 11161 h 44434"/>
                <a:gd name="connsiteX2" fmla="*/ 92006 w 184910"/>
                <a:gd name="connsiteY2" fmla="*/ 14952 h 44434"/>
                <a:gd name="connsiteX3" fmla="*/ 74738 w 184910"/>
                <a:gd name="connsiteY3" fmla="*/ 16426 h 44434"/>
                <a:gd name="connsiteX4" fmla="*/ 36410 w 184910"/>
                <a:gd name="connsiteY4" fmla="*/ 26534 h 44434"/>
                <a:gd name="connsiteX5" fmla="*/ 7560 w 184910"/>
                <a:gd name="connsiteY5" fmla="*/ 35168 h 44434"/>
                <a:gd name="connsiteX6" fmla="*/ 3769 w 184910"/>
                <a:gd name="connsiteY6" fmla="*/ 40433 h 44434"/>
                <a:gd name="connsiteX7" fmla="*/ 23354 w 184910"/>
                <a:gd name="connsiteY7" fmla="*/ 35590 h 44434"/>
                <a:gd name="connsiteX8" fmla="*/ 21880 w 184910"/>
                <a:gd name="connsiteY8" fmla="*/ 38538 h 44434"/>
                <a:gd name="connsiteX9" fmla="*/ 37253 w 184910"/>
                <a:gd name="connsiteY9" fmla="*/ 33273 h 44434"/>
                <a:gd name="connsiteX10" fmla="*/ 43570 w 184910"/>
                <a:gd name="connsiteY10" fmla="*/ 32431 h 44434"/>
                <a:gd name="connsiteX11" fmla="*/ 49888 w 184910"/>
                <a:gd name="connsiteY11" fmla="*/ 32431 h 44434"/>
                <a:gd name="connsiteX12" fmla="*/ 38306 w 184910"/>
                <a:gd name="connsiteY12" fmla="*/ 37274 h 44434"/>
                <a:gd name="connsiteX13" fmla="*/ 13246 w 184910"/>
                <a:gd name="connsiteY13" fmla="*/ 44013 h 44434"/>
                <a:gd name="connsiteX14" fmla="*/ 21459 w 184910"/>
                <a:gd name="connsiteY14" fmla="*/ 44434 h 44434"/>
                <a:gd name="connsiteX15" fmla="*/ 44413 w 184910"/>
                <a:gd name="connsiteY15" fmla="*/ 39591 h 44434"/>
                <a:gd name="connsiteX16" fmla="*/ 64629 w 184910"/>
                <a:gd name="connsiteY16" fmla="*/ 32431 h 44434"/>
                <a:gd name="connsiteX17" fmla="*/ 59786 w 184910"/>
                <a:gd name="connsiteY17" fmla="*/ 36221 h 44434"/>
                <a:gd name="connsiteX18" fmla="*/ 71789 w 184910"/>
                <a:gd name="connsiteY18" fmla="*/ 33273 h 44434"/>
                <a:gd name="connsiteX19" fmla="*/ 93059 w 184910"/>
                <a:gd name="connsiteY19" fmla="*/ 26113 h 44434"/>
                <a:gd name="connsiteX20" fmla="*/ 106115 w 184910"/>
                <a:gd name="connsiteY20" fmla="*/ 24218 h 44434"/>
                <a:gd name="connsiteX21" fmla="*/ 121067 w 184910"/>
                <a:gd name="connsiteY21" fmla="*/ 20006 h 44434"/>
                <a:gd name="connsiteX22" fmla="*/ 131176 w 184910"/>
                <a:gd name="connsiteY22" fmla="*/ 21059 h 44434"/>
                <a:gd name="connsiteX23" fmla="*/ 159394 w 184910"/>
                <a:gd name="connsiteY23" fmla="*/ 14741 h 44434"/>
                <a:gd name="connsiteX24" fmla="*/ 178979 w 184910"/>
                <a:gd name="connsiteY24" fmla="*/ 8424 h 44434"/>
                <a:gd name="connsiteX25" fmla="*/ 181927 w 184910"/>
                <a:gd name="connsiteY25" fmla="*/ 4212 h 44434"/>
                <a:gd name="connsiteX26" fmla="*/ 166976 w 184910"/>
                <a:gd name="connsiteY26" fmla="*/ 5686 h 44434"/>
                <a:gd name="connsiteX27" fmla="*/ 175610 w 184910"/>
                <a:gd name="connsiteY27" fmla="*/ 0 h 44434"/>
                <a:gd name="connsiteX28" fmla="*/ 163606 w 184910"/>
                <a:gd name="connsiteY28" fmla="*/ 842 h 44434"/>
                <a:gd name="connsiteX29" fmla="*/ 144443 w 184910"/>
                <a:gd name="connsiteY29" fmla="*/ 4212 h 44434"/>
                <a:gd name="connsiteX30" fmla="*/ 130965 w 184910"/>
                <a:gd name="connsiteY30" fmla="*/ 5475 h 444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84910" h="44434">
                  <a:moveTo>
                    <a:pt x="130965" y="5475"/>
                  </a:moveTo>
                  <a:cubicBezTo>
                    <a:pt x="132439" y="5475"/>
                    <a:pt x="114539" y="11161"/>
                    <a:pt x="106326" y="11161"/>
                  </a:cubicBezTo>
                  <a:cubicBezTo>
                    <a:pt x="99166" y="11161"/>
                    <a:pt x="97271" y="14952"/>
                    <a:pt x="92006" y="14952"/>
                  </a:cubicBezTo>
                  <a:cubicBezTo>
                    <a:pt x="86320" y="14952"/>
                    <a:pt x="86320" y="16426"/>
                    <a:pt x="74738" y="16426"/>
                  </a:cubicBezTo>
                  <a:cubicBezTo>
                    <a:pt x="63155" y="16426"/>
                    <a:pt x="43149" y="26534"/>
                    <a:pt x="36410" y="26534"/>
                  </a:cubicBezTo>
                  <a:cubicBezTo>
                    <a:pt x="33462" y="32220"/>
                    <a:pt x="10929" y="35168"/>
                    <a:pt x="7560" y="35168"/>
                  </a:cubicBezTo>
                  <a:cubicBezTo>
                    <a:pt x="11350" y="35168"/>
                    <a:pt x="-7813" y="40433"/>
                    <a:pt x="3769" y="40433"/>
                  </a:cubicBezTo>
                  <a:cubicBezTo>
                    <a:pt x="15352" y="40433"/>
                    <a:pt x="31146" y="35590"/>
                    <a:pt x="23354" y="35590"/>
                  </a:cubicBezTo>
                  <a:cubicBezTo>
                    <a:pt x="31146" y="35590"/>
                    <a:pt x="18510" y="44856"/>
                    <a:pt x="21880" y="38538"/>
                  </a:cubicBezTo>
                  <a:cubicBezTo>
                    <a:pt x="28619" y="38538"/>
                    <a:pt x="29040" y="33273"/>
                    <a:pt x="37253" y="33273"/>
                  </a:cubicBezTo>
                  <a:cubicBezTo>
                    <a:pt x="41043" y="25692"/>
                    <a:pt x="45045" y="32431"/>
                    <a:pt x="43570" y="32431"/>
                  </a:cubicBezTo>
                  <a:cubicBezTo>
                    <a:pt x="45466" y="32431"/>
                    <a:pt x="52205" y="32431"/>
                    <a:pt x="49888" y="32431"/>
                  </a:cubicBezTo>
                  <a:cubicBezTo>
                    <a:pt x="52836" y="32431"/>
                    <a:pt x="45676" y="37274"/>
                    <a:pt x="38306" y="37274"/>
                  </a:cubicBezTo>
                  <a:cubicBezTo>
                    <a:pt x="31988" y="37274"/>
                    <a:pt x="16194" y="44013"/>
                    <a:pt x="13246" y="44013"/>
                  </a:cubicBezTo>
                  <a:cubicBezTo>
                    <a:pt x="16615" y="44013"/>
                    <a:pt x="16615" y="44434"/>
                    <a:pt x="21459" y="44434"/>
                  </a:cubicBezTo>
                  <a:cubicBezTo>
                    <a:pt x="26723" y="44434"/>
                    <a:pt x="37674" y="39591"/>
                    <a:pt x="44413" y="39591"/>
                  </a:cubicBezTo>
                  <a:cubicBezTo>
                    <a:pt x="47782" y="33273"/>
                    <a:pt x="67578" y="32431"/>
                    <a:pt x="64629" y="32431"/>
                  </a:cubicBezTo>
                  <a:cubicBezTo>
                    <a:pt x="67999" y="32431"/>
                    <a:pt x="63155" y="36221"/>
                    <a:pt x="59786" y="36221"/>
                  </a:cubicBezTo>
                  <a:cubicBezTo>
                    <a:pt x="63155" y="36221"/>
                    <a:pt x="64629" y="33273"/>
                    <a:pt x="71789" y="33273"/>
                  </a:cubicBezTo>
                  <a:cubicBezTo>
                    <a:pt x="79581" y="33273"/>
                    <a:pt x="98324" y="26113"/>
                    <a:pt x="93059" y="26113"/>
                  </a:cubicBezTo>
                  <a:cubicBezTo>
                    <a:pt x="98745" y="26113"/>
                    <a:pt x="98745" y="24218"/>
                    <a:pt x="106115" y="24218"/>
                  </a:cubicBezTo>
                  <a:cubicBezTo>
                    <a:pt x="113697" y="24218"/>
                    <a:pt x="115802" y="20006"/>
                    <a:pt x="121067" y="20006"/>
                  </a:cubicBezTo>
                  <a:cubicBezTo>
                    <a:pt x="126753" y="20006"/>
                    <a:pt x="134124" y="21059"/>
                    <a:pt x="131176" y="21059"/>
                  </a:cubicBezTo>
                  <a:cubicBezTo>
                    <a:pt x="134966" y="21059"/>
                    <a:pt x="155604" y="22533"/>
                    <a:pt x="159394" y="14741"/>
                  </a:cubicBezTo>
                  <a:cubicBezTo>
                    <a:pt x="166976" y="14741"/>
                    <a:pt x="181506" y="8424"/>
                    <a:pt x="178979" y="8424"/>
                  </a:cubicBezTo>
                  <a:cubicBezTo>
                    <a:pt x="182349" y="8424"/>
                    <a:pt x="188666" y="4212"/>
                    <a:pt x="181927" y="4212"/>
                  </a:cubicBezTo>
                  <a:cubicBezTo>
                    <a:pt x="174768" y="4212"/>
                    <a:pt x="168450" y="5686"/>
                    <a:pt x="166976" y="5686"/>
                  </a:cubicBezTo>
                  <a:cubicBezTo>
                    <a:pt x="168871" y="5686"/>
                    <a:pt x="178137" y="0"/>
                    <a:pt x="175610" y="0"/>
                  </a:cubicBezTo>
                  <a:cubicBezTo>
                    <a:pt x="177926" y="0"/>
                    <a:pt x="169292" y="842"/>
                    <a:pt x="163606" y="842"/>
                  </a:cubicBezTo>
                  <a:cubicBezTo>
                    <a:pt x="161290" y="6107"/>
                    <a:pt x="150550" y="4212"/>
                    <a:pt x="144443" y="4212"/>
                  </a:cubicBezTo>
                  <a:cubicBezTo>
                    <a:pt x="150760" y="4001"/>
                    <a:pt x="132860" y="5475"/>
                    <a:pt x="130965" y="547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1" name="Forme libre : forme 95">
              <a:extLst>
                <a:ext uri="{FF2B5EF4-FFF2-40B4-BE49-F238E27FC236}">
                  <a16:creationId xmlns:a16="http://schemas.microsoft.com/office/drawing/2014/main" id="{E19C8FF1-8BBD-4748-BF9A-C2AC5E598F55}"/>
                </a:ext>
              </a:extLst>
            </p:cNvPr>
            <p:cNvSpPr/>
            <p:nvPr/>
          </p:nvSpPr>
          <p:spPr>
            <a:xfrm>
              <a:off x="2192730" y="2048156"/>
              <a:ext cx="46259" cy="10950"/>
            </a:xfrm>
            <a:custGeom>
              <a:avLst/>
              <a:gdLst>
                <a:gd name="connsiteX0" fmla="*/ 15373 w 46259"/>
                <a:gd name="connsiteY0" fmla="*/ 6107 h 10950"/>
                <a:gd name="connsiteX1" fmla="*/ 0 w 46259"/>
                <a:gd name="connsiteY1" fmla="*/ 10951 h 10950"/>
                <a:gd name="connsiteX2" fmla="*/ 13899 w 46259"/>
                <a:gd name="connsiteY2" fmla="*/ 10108 h 10950"/>
                <a:gd name="connsiteX3" fmla="*/ 38959 w 46259"/>
                <a:gd name="connsiteY3" fmla="*/ 3369 h 10950"/>
                <a:gd name="connsiteX4" fmla="*/ 43803 w 46259"/>
                <a:gd name="connsiteY4" fmla="*/ 0 h 10950"/>
                <a:gd name="connsiteX5" fmla="*/ 15373 w 46259"/>
                <a:gd name="connsiteY5" fmla="*/ 6107 h 10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259" h="10950">
                  <a:moveTo>
                    <a:pt x="15373" y="6107"/>
                  </a:moveTo>
                  <a:cubicBezTo>
                    <a:pt x="9476" y="6107"/>
                    <a:pt x="1474" y="10951"/>
                    <a:pt x="0" y="10951"/>
                  </a:cubicBezTo>
                  <a:cubicBezTo>
                    <a:pt x="1474" y="10951"/>
                    <a:pt x="5265" y="10108"/>
                    <a:pt x="13899" y="10108"/>
                  </a:cubicBezTo>
                  <a:cubicBezTo>
                    <a:pt x="17268" y="2948"/>
                    <a:pt x="44224" y="3369"/>
                    <a:pt x="38959" y="3369"/>
                  </a:cubicBezTo>
                  <a:cubicBezTo>
                    <a:pt x="44224" y="3369"/>
                    <a:pt x="49488" y="0"/>
                    <a:pt x="43803" y="0"/>
                  </a:cubicBezTo>
                  <a:cubicBezTo>
                    <a:pt x="40854" y="5054"/>
                    <a:pt x="22954" y="6107"/>
                    <a:pt x="15373" y="610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2" name="Forme libre : forme 96">
              <a:extLst>
                <a:ext uri="{FF2B5EF4-FFF2-40B4-BE49-F238E27FC236}">
                  <a16:creationId xmlns:a16="http://schemas.microsoft.com/office/drawing/2014/main" id="{49DDA6B2-56A9-4A25-9E8C-A099DCC7B77B}"/>
                </a:ext>
              </a:extLst>
            </p:cNvPr>
            <p:cNvSpPr/>
            <p:nvPr/>
          </p:nvSpPr>
          <p:spPr>
            <a:xfrm>
              <a:off x="2282029" y="1996561"/>
              <a:ext cx="47353" cy="12003"/>
            </a:xfrm>
            <a:custGeom>
              <a:avLst/>
              <a:gdLst>
                <a:gd name="connsiteX0" fmla="*/ 46530 w 47353"/>
                <a:gd name="connsiteY0" fmla="*/ 0 h 12003"/>
                <a:gd name="connsiteX1" fmla="*/ 26314 w 47353"/>
                <a:gd name="connsiteY1" fmla="*/ 2948 h 12003"/>
                <a:gd name="connsiteX2" fmla="*/ 3781 w 47353"/>
                <a:gd name="connsiteY2" fmla="*/ 8634 h 12003"/>
                <a:gd name="connsiteX3" fmla="*/ 1886 w 47353"/>
                <a:gd name="connsiteY3" fmla="*/ 12004 h 12003"/>
                <a:gd name="connsiteX4" fmla="*/ 20207 w 47353"/>
                <a:gd name="connsiteY4" fmla="*/ 7792 h 12003"/>
                <a:gd name="connsiteX5" fmla="*/ 29894 w 47353"/>
                <a:gd name="connsiteY5" fmla="*/ 7371 h 12003"/>
                <a:gd name="connsiteX6" fmla="*/ 46530 w 47353"/>
                <a:gd name="connsiteY6" fmla="*/ 0 h 12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353" h="12003">
                  <a:moveTo>
                    <a:pt x="46530" y="0"/>
                  </a:moveTo>
                  <a:cubicBezTo>
                    <a:pt x="42319" y="0"/>
                    <a:pt x="33474" y="2948"/>
                    <a:pt x="26314" y="2948"/>
                  </a:cubicBezTo>
                  <a:cubicBezTo>
                    <a:pt x="18101" y="2948"/>
                    <a:pt x="8624" y="8634"/>
                    <a:pt x="3781" y="8634"/>
                  </a:cubicBezTo>
                  <a:cubicBezTo>
                    <a:pt x="9045" y="8634"/>
                    <a:pt x="-4853" y="12004"/>
                    <a:pt x="1886" y="12004"/>
                  </a:cubicBezTo>
                  <a:cubicBezTo>
                    <a:pt x="8624" y="12004"/>
                    <a:pt x="24840" y="7792"/>
                    <a:pt x="20207" y="7792"/>
                  </a:cubicBezTo>
                  <a:cubicBezTo>
                    <a:pt x="25050" y="7792"/>
                    <a:pt x="23155" y="7371"/>
                    <a:pt x="29894" y="7371"/>
                  </a:cubicBezTo>
                  <a:cubicBezTo>
                    <a:pt x="36422" y="7160"/>
                    <a:pt x="50953" y="0"/>
                    <a:pt x="46530"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3" name="Forme libre : forme 97">
              <a:extLst>
                <a:ext uri="{FF2B5EF4-FFF2-40B4-BE49-F238E27FC236}">
                  <a16:creationId xmlns:a16="http://schemas.microsoft.com/office/drawing/2014/main" id="{93D71AD5-907A-449B-80DD-AAD42E095B2B}"/>
                </a:ext>
              </a:extLst>
            </p:cNvPr>
            <p:cNvSpPr/>
            <p:nvPr/>
          </p:nvSpPr>
          <p:spPr>
            <a:xfrm>
              <a:off x="2320136" y="1990033"/>
              <a:ext cx="147842" cy="32508"/>
            </a:xfrm>
            <a:custGeom>
              <a:avLst/>
              <a:gdLst>
                <a:gd name="connsiteX0" fmla="*/ 48857 w 147842"/>
                <a:gd name="connsiteY0" fmla="*/ 11372 h 32508"/>
                <a:gd name="connsiteX1" fmla="*/ 2316 w 147842"/>
                <a:gd name="connsiteY1" fmla="*/ 22954 h 32508"/>
                <a:gd name="connsiteX2" fmla="*/ 0 w 147842"/>
                <a:gd name="connsiteY2" fmla="*/ 28640 h 32508"/>
                <a:gd name="connsiteX3" fmla="*/ 9055 w 147842"/>
                <a:gd name="connsiteY3" fmla="*/ 29061 h 32508"/>
                <a:gd name="connsiteX4" fmla="*/ 16637 w 147842"/>
                <a:gd name="connsiteY4" fmla="*/ 29904 h 32508"/>
                <a:gd name="connsiteX5" fmla="*/ 32010 w 147842"/>
                <a:gd name="connsiteY5" fmla="*/ 29061 h 32508"/>
                <a:gd name="connsiteX6" fmla="*/ 47383 w 147842"/>
                <a:gd name="connsiteY6" fmla="*/ 25271 h 32508"/>
                <a:gd name="connsiteX7" fmla="*/ 52647 w 147842"/>
                <a:gd name="connsiteY7" fmla="*/ 26745 h 32508"/>
                <a:gd name="connsiteX8" fmla="*/ 81077 w 147842"/>
                <a:gd name="connsiteY8" fmla="*/ 20638 h 32508"/>
                <a:gd name="connsiteX9" fmla="*/ 125722 w 147842"/>
                <a:gd name="connsiteY9" fmla="*/ 10108 h 32508"/>
                <a:gd name="connsiteX10" fmla="*/ 139621 w 147842"/>
                <a:gd name="connsiteY10" fmla="*/ 4212 h 32508"/>
                <a:gd name="connsiteX11" fmla="*/ 146781 w 147842"/>
                <a:gd name="connsiteY11" fmla="*/ 0 h 32508"/>
                <a:gd name="connsiteX12" fmla="*/ 90132 w 147842"/>
                <a:gd name="connsiteY12" fmla="*/ 13057 h 32508"/>
                <a:gd name="connsiteX13" fmla="*/ 91606 w 147842"/>
                <a:gd name="connsiteY13" fmla="*/ 11161 h 32508"/>
                <a:gd name="connsiteX14" fmla="*/ 101293 w 147842"/>
                <a:gd name="connsiteY14" fmla="*/ 5897 h 32508"/>
                <a:gd name="connsiteX15" fmla="*/ 116666 w 147842"/>
                <a:gd name="connsiteY15" fmla="*/ 2106 h 32508"/>
                <a:gd name="connsiteX16" fmla="*/ 101715 w 147842"/>
                <a:gd name="connsiteY16" fmla="*/ 2527 h 32508"/>
                <a:gd name="connsiteX17" fmla="*/ 84868 w 147842"/>
                <a:gd name="connsiteY17" fmla="*/ 4844 h 32508"/>
                <a:gd name="connsiteX18" fmla="*/ 65704 w 147842"/>
                <a:gd name="connsiteY18" fmla="*/ 7792 h 32508"/>
                <a:gd name="connsiteX19" fmla="*/ 48857 w 147842"/>
                <a:gd name="connsiteY19" fmla="*/ 11372 h 32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47842" h="32508">
                  <a:moveTo>
                    <a:pt x="48857" y="11372"/>
                  </a:moveTo>
                  <a:cubicBezTo>
                    <a:pt x="39170" y="11372"/>
                    <a:pt x="9477" y="22954"/>
                    <a:pt x="2316" y="22954"/>
                  </a:cubicBezTo>
                  <a:cubicBezTo>
                    <a:pt x="9055" y="22954"/>
                    <a:pt x="1895" y="28640"/>
                    <a:pt x="0" y="28640"/>
                  </a:cubicBezTo>
                  <a:cubicBezTo>
                    <a:pt x="1895" y="28640"/>
                    <a:pt x="13057" y="29061"/>
                    <a:pt x="9055" y="29061"/>
                  </a:cubicBezTo>
                  <a:cubicBezTo>
                    <a:pt x="12425" y="29061"/>
                    <a:pt x="13899" y="36221"/>
                    <a:pt x="16637" y="29904"/>
                  </a:cubicBezTo>
                  <a:cubicBezTo>
                    <a:pt x="23797" y="29904"/>
                    <a:pt x="37274" y="29061"/>
                    <a:pt x="32010" y="29061"/>
                  </a:cubicBezTo>
                  <a:cubicBezTo>
                    <a:pt x="37274" y="29061"/>
                    <a:pt x="50752" y="25271"/>
                    <a:pt x="47383" y="25271"/>
                  </a:cubicBezTo>
                  <a:cubicBezTo>
                    <a:pt x="51594" y="25271"/>
                    <a:pt x="49699" y="33063"/>
                    <a:pt x="52647" y="26745"/>
                  </a:cubicBezTo>
                  <a:cubicBezTo>
                    <a:pt x="59386" y="26745"/>
                    <a:pt x="69494" y="20638"/>
                    <a:pt x="81077" y="20638"/>
                  </a:cubicBezTo>
                  <a:cubicBezTo>
                    <a:pt x="93081" y="20638"/>
                    <a:pt x="118141" y="10108"/>
                    <a:pt x="125722" y="10108"/>
                  </a:cubicBezTo>
                  <a:cubicBezTo>
                    <a:pt x="133514" y="10108"/>
                    <a:pt x="144043" y="4212"/>
                    <a:pt x="139621" y="4212"/>
                  </a:cubicBezTo>
                  <a:cubicBezTo>
                    <a:pt x="144885" y="4212"/>
                    <a:pt x="150150" y="0"/>
                    <a:pt x="146781" y="0"/>
                  </a:cubicBezTo>
                  <a:cubicBezTo>
                    <a:pt x="150150" y="0"/>
                    <a:pt x="96450" y="13057"/>
                    <a:pt x="90132" y="13057"/>
                  </a:cubicBezTo>
                  <a:cubicBezTo>
                    <a:pt x="81919" y="13057"/>
                    <a:pt x="94344" y="11161"/>
                    <a:pt x="91606" y="11161"/>
                  </a:cubicBezTo>
                  <a:cubicBezTo>
                    <a:pt x="95397" y="11161"/>
                    <a:pt x="94555" y="5897"/>
                    <a:pt x="101293" y="5897"/>
                  </a:cubicBezTo>
                  <a:cubicBezTo>
                    <a:pt x="108032" y="5897"/>
                    <a:pt x="118141" y="2106"/>
                    <a:pt x="116666" y="2106"/>
                  </a:cubicBezTo>
                  <a:cubicBezTo>
                    <a:pt x="118983" y="2106"/>
                    <a:pt x="106558" y="2527"/>
                    <a:pt x="101715" y="2527"/>
                  </a:cubicBezTo>
                  <a:cubicBezTo>
                    <a:pt x="106558" y="2527"/>
                    <a:pt x="93081" y="4844"/>
                    <a:pt x="84868" y="4844"/>
                  </a:cubicBezTo>
                  <a:cubicBezTo>
                    <a:pt x="77707" y="4844"/>
                    <a:pt x="67178" y="7792"/>
                    <a:pt x="65704" y="7792"/>
                  </a:cubicBezTo>
                  <a:cubicBezTo>
                    <a:pt x="67599" y="7371"/>
                    <a:pt x="54121" y="11372"/>
                    <a:pt x="48857" y="1137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4" name="Forme libre : forme 98">
              <a:extLst>
                <a:ext uri="{FF2B5EF4-FFF2-40B4-BE49-F238E27FC236}">
                  <a16:creationId xmlns:a16="http://schemas.microsoft.com/office/drawing/2014/main" id="{B4A068CB-7A99-4605-99D3-61CBA25E6E02}"/>
                </a:ext>
              </a:extLst>
            </p:cNvPr>
            <p:cNvSpPr/>
            <p:nvPr/>
          </p:nvSpPr>
          <p:spPr>
            <a:xfrm>
              <a:off x="2333403" y="2033415"/>
              <a:ext cx="96379" cy="28446"/>
            </a:xfrm>
            <a:custGeom>
              <a:avLst/>
              <a:gdLst>
                <a:gd name="connsiteX0" fmla="*/ 81077 w 96379"/>
                <a:gd name="connsiteY0" fmla="*/ 0 h 28446"/>
                <a:gd name="connsiteX1" fmla="*/ 94976 w 96379"/>
                <a:gd name="connsiteY1" fmla="*/ 0 h 28446"/>
                <a:gd name="connsiteX2" fmla="*/ 94554 w 96379"/>
                <a:gd name="connsiteY2" fmla="*/ 4844 h 28446"/>
                <a:gd name="connsiteX3" fmla="*/ 87816 w 96379"/>
                <a:gd name="connsiteY3" fmla="*/ 10108 h 28446"/>
                <a:gd name="connsiteX4" fmla="*/ 54753 w 96379"/>
                <a:gd name="connsiteY4" fmla="*/ 18742 h 28446"/>
                <a:gd name="connsiteX5" fmla="*/ 28851 w 96379"/>
                <a:gd name="connsiteY5" fmla="*/ 22533 h 28446"/>
                <a:gd name="connsiteX6" fmla="*/ 6318 w 96379"/>
                <a:gd name="connsiteY6" fmla="*/ 26745 h 28446"/>
                <a:gd name="connsiteX7" fmla="*/ 5896 w 96379"/>
                <a:gd name="connsiteY7" fmla="*/ 23375 h 28446"/>
                <a:gd name="connsiteX8" fmla="*/ 18321 w 96379"/>
                <a:gd name="connsiteY8" fmla="*/ 17689 h 28446"/>
                <a:gd name="connsiteX9" fmla="*/ 5265 w 96379"/>
                <a:gd name="connsiteY9" fmla="*/ 21059 h 28446"/>
                <a:gd name="connsiteX10" fmla="*/ 0 w 96379"/>
                <a:gd name="connsiteY10" fmla="*/ 20217 h 28446"/>
                <a:gd name="connsiteX11" fmla="*/ 15373 w 96379"/>
                <a:gd name="connsiteY11" fmla="*/ 13057 h 28446"/>
                <a:gd name="connsiteX12" fmla="*/ 28851 w 96379"/>
                <a:gd name="connsiteY12" fmla="*/ 12004 h 28446"/>
                <a:gd name="connsiteX13" fmla="*/ 45066 w 96379"/>
                <a:gd name="connsiteY13" fmla="*/ 7160 h 28446"/>
                <a:gd name="connsiteX14" fmla="*/ 65704 w 96379"/>
                <a:gd name="connsiteY14" fmla="*/ 2316 h 28446"/>
                <a:gd name="connsiteX15" fmla="*/ 81077 w 96379"/>
                <a:gd name="connsiteY15" fmla="*/ 0 h 2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6379" h="28446">
                  <a:moveTo>
                    <a:pt x="81077" y="0"/>
                  </a:moveTo>
                  <a:cubicBezTo>
                    <a:pt x="86342" y="0"/>
                    <a:pt x="97924" y="0"/>
                    <a:pt x="94976" y="0"/>
                  </a:cubicBezTo>
                  <a:cubicBezTo>
                    <a:pt x="97292" y="0"/>
                    <a:pt x="96450" y="4844"/>
                    <a:pt x="94554" y="4844"/>
                  </a:cubicBezTo>
                  <a:cubicBezTo>
                    <a:pt x="96871" y="4844"/>
                    <a:pt x="96450" y="10108"/>
                    <a:pt x="87816" y="10108"/>
                  </a:cubicBezTo>
                  <a:cubicBezTo>
                    <a:pt x="84025" y="17689"/>
                    <a:pt x="62755" y="18742"/>
                    <a:pt x="54753" y="18742"/>
                  </a:cubicBezTo>
                  <a:cubicBezTo>
                    <a:pt x="46540" y="18742"/>
                    <a:pt x="32641" y="15794"/>
                    <a:pt x="28851" y="22533"/>
                  </a:cubicBezTo>
                  <a:cubicBezTo>
                    <a:pt x="21691" y="22533"/>
                    <a:pt x="11161" y="26745"/>
                    <a:pt x="6318" y="26745"/>
                  </a:cubicBezTo>
                  <a:cubicBezTo>
                    <a:pt x="4001" y="32010"/>
                    <a:pt x="12425" y="23375"/>
                    <a:pt x="5896" y="23375"/>
                  </a:cubicBezTo>
                  <a:cubicBezTo>
                    <a:pt x="13688" y="23375"/>
                    <a:pt x="21269" y="17689"/>
                    <a:pt x="18321" y="17689"/>
                  </a:cubicBezTo>
                  <a:cubicBezTo>
                    <a:pt x="21269" y="17689"/>
                    <a:pt x="12635" y="21059"/>
                    <a:pt x="5265" y="21059"/>
                  </a:cubicBezTo>
                  <a:cubicBezTo>
                    <a:pt x="-2948" y="21059"/>
                    <a:pt x="6739" y="20217"/>
                    <a:pt x="0" y="20217"/>
                  </a:cubicBezTo>
                  <a:cubicBezTo>
                    <a:pt x="6739" y="20217"/>
                    <a:pt x="12004" y="19795"/>
                    <a:pt x="15373" y="13057"/>
                  </a:cubicBezTo>
                  <a:cubicBezTo>
                    <a:pt x="22954" y="13057"/>
                    <a:pt x="33062" y="12004"/>
                    <a:pt x="28851" y="12004"/>
                  </a:cubicBezTo>
                  <a:cubicBezTo>
                    <a:pt x="32220" y="12004"/>
                    <a:pt x="37485" y="7160"/>
                    <a:pt x="45066" y="7160"/>
                  </a:cubicBezTo>
                  <a:cubicBezTo>
                    <a:pt x="51805" y="7160"/>
                    <a:pt x="69073" y="2316"/>
                    <a:pt x="65704" y="2316"/>
                  </a:cubicBezTo>
                  <a:cubicBezTo>
                    <a:pt x="70126" y="2527"/>
                    <a:pt x="84657" y="0"/>
                    <a:pt x="81077"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5" name="Forme libre : forme 99">
              <a:extLst>
                <a:ext uri="{FF2B5EF4-FFF2-40B4-BE49-F238E27FC236}">
                  <a16:creationId xmlns:a16="http://schemas.microsoft.com/office/drawing/2014/main" id="{BF2712C0-D18D-43F1-A77E-26FC6C2D0983}"/>
                </a:ext>
              </a:extLst>
            </p:cNvPr>
            <p:cNvSpPr/>
            <p:nvPr/>
          </p:nvSpPr>
          <p:spPr>
            <a:xfrm>
              <a:off x="2331298" y="1934859"/>
              <a:ext cx="518306" cy="100872"/>
            </a:xfrm>
            <a:custGeom>
              <a:avLst/>
              <a:gdLst>
                <a:gd name="connsiteX0" fmla="*/ 125932 w 518306"/>
                <a:gd name="connsiteY0" fmla="*/ 72232 h 100872"/>
                <a:gd name="connsiteX1" fmla="*/ 107822 w 518306"/>
                <a:gd name="connsiteY1" fmla="*/ 72653 h 100872"/>
                <a:gd name="connsiteX2" fmla="*/ 76654 w 518306"/>
                <a:gd name="connsiteY2" fmla="*/ 79813 h 100872"/>
                <a:gd name="connsiteX3" fmla="*/ 61281 w 518306"/>
                <a:gd name="connsiteY3" fmla="*/ 80234 h 100872"/>
                <a:gd name="connsiteX4" fmla="*/ 46961 w 518306"/>
                <a:gd name="connsiteY4" fmla="*/ 86131 h 100872"/>
                <a:gd name="connsiteX5" fmla="*/ 22954 w 518306"/>
                <a:gd name="connsiteY5" fmla="*/ 92870 h 100872"/>
                <a:gd name="connsiteX6" fmla="*/ 0 w 518306"/>
                <a:gd name="connsiteY6" fmla="*/ 98556 h 100872"/>
                <a:gd name="connsiteX7" fmla="*/ 12004 w 518306"/>
                <a:gd name="connsiteY7" fmla="*/ 100872 h 100872"/>
                <a:gd name="connsiteX8" fmla="*/ 37064 w 518306"/>
                <a:gd name="connsiteY8" fmla="*/ 97924 h 100872"/>
                <a:gd name="connsiteX9" fmla="*/ 52437 w 518306"/>
                <a:gd name="connsiteY9" fmla="*/ 96029 h 100872"/>
                <a:gd name="connsiteX10" fmla="*/ 62545 w 518306"/>
                <a:gd name="connsiteY10" fmla="*/ 99398 h 100872"/>
                <a:gd name="connsiteX11" fmla="*/ 76023 w 518306"/>
                <a:gd name="connsiteY11" fmla="*/ 96660 h 100872"/>
                <a:gd name="connsiteX12" fmla="*/ 72232 w 518306"/>
                <a:gd name="connsiteY12" fmla="*/ 93712 h 100872"/>
                <a:gd name="connsiteX13" fmla="*/ 69284 w 518306"/>
                <a:gd name="connsiteY13" fmla="*/ 91817 h 100872"/>
                <a:gd name="connsiteX14" fmla="*/ 92870 w 518306"/>
                <a:gd name="connsiteY14" fmla="*/ 86131 h 100872"/>
                <a:gd name="connsiteX15" fmla="*/ 110559 w 518306"/>
                <a:gd name="connsiteY15" fmla="*/ 80234 h 100872"/>
                <a:gd name="connsiteX16" fmla="*/ 123616 w 518306"/>
                <a:gd name="connsiteY16" fmla="*/ 79813 h 100872"/>
                <a:gd name="connsiteX17" fmla="*/ 139410 w 518306"/>
                <a:gd name="connsiteY17" fmla="*/ 80234 h 100872"/>
                <a:gd name="connsiteX18" fmla="*/ 137515 w 518306"/>
                <a:gd name="connsiteY18" fmla="*/ 85499 h 100872"/>
                <a:gd name="connsiteX19" fmla="*/ 133724 w 518306"/>
                <a:gd name="connsiteY19" fmla="*/ 91817 h 100872"/>
                <a:gd name="connsiteX20" fmla="*/ 139410 w 518306"/>
                <a:gd name="connsiteY20" fmla="*/ 96029 h 100872"/>
                <a:gd name="connsiteX21" fmla="*/ 165312 w 518306"/>
                <a:gd name="connsiteY21" fmla="*/ 91185 h 100872"/>
                <a:gd name="connsiteX22" fmla="*/ 185529 w 518306"/>
                <a:gd name="connsiteY22" fmla="*/ 87394 h 100872"/>
                <a:gd name="connsiteX23" fmla="*/ 207641 w 518306"/>
                <a:gd name="connsiteY23" fmla="*/ 82551 h 100872"/>
                <a:gd name="connsiteX24" fmla="*/ 228700 w 518306"/>
                <a:gd name="connsiteY24" fmla="*/ 74338 h 100872"/>
                <a:gd name="connsiteX25" fmla="*/ 237334 w 518306"/>
                <a:gd name="connsiteY25" fmla="*/ 72864 h 100872"/>
                <a:gd name="connsiteX26" fmla="*/ 245968 w 518306"/>
                <a:gd name="connsiteY26" fmla="*/ 74338 h 100872"/>
                <a:gd name="connsiteX27" fmla="*/ 285769 w 518306"/>
                <a:gd name="connsiteY27" fmla="*/ 64861 h 100872"/>
                <a:gd name="connsiteX28" fmla="*/ 308302 w 518306"/>
                <a:gd name="connsiteY28" fmla="*/ 58965 h 100872"/>
                <a:gd name="connsiteX29" fmla="*/ 323254 w 518306"/>
                <a:gd name="connsiteY29" fmla="*/ 57070 h 100872"/>
                <a:gd name="connsiteX30" fmla="*/ 336732 w 518306"/>
                <a:gd name="connsiteY30" fmla="*/ 52858 h 100872"/>
                <a:gd name="connsiteX31" fmla="*/ 353579 w 518306"/>
                <a:gd name="connsiteY31" fmla="*/ 49067 h 100872"/>
                <a:gd name="connsiteX32" fmla="*/ 382430 w 518306"/>
                <a:gd name="connsiteY32" fmla="*/ 41907 h 100872"/>
                <a:gd name="connsiteX33" fmla="*/ 391064 w 518306"/>
                <a:gd name="connsiteY33" fmla="*/ 38959 h 100872"/>
                <a:gd name="connsiteX34" fmla="*/ 398856 w 518306"/>
                <a:gd name="connsiteY34" fmla="*/ 36011 h 100872"/>
                <a:gd name="connsiteX35" fmla="*/ 410017 w 518306"/>
                <a:gd name="connsiteY35" fmla="*/ 36432 h 100872"/>
                <a:gd name="connsiteX36" fmla="*/ 425811 w 518306"/>
                <a:gd name="connsiteY36" fmla="*/ 33062 h 100872"/>
                <a:gd name="connsiteX37" fmla="*/ 442658 w 518306"/>
                <a:gd name="connsiteY37" fmla="*/ 30114 h 100872"/>
                <a:gd name="connsiteX38" fmla="*/ 459506 w 518306"/>
                <a:gd name="connsiteY38" fmla="*/ 24428 h 100872"/>
                <a:gd name="connsiteX39" fmla="*/ 481617 w 518306"/>
                <a:gd name="connsiteY39" fmla="*/ 19585 h 100872"/>
                <a:gd name="connsiteX40" fmla="*/ 490251 w 518306"/>
                <a:gd name="connsiteY40" fmla="*/ 15794 h 100872"/>
                <a:gd name="connsiteX41" fmla="*/ 504150 w 518306"/>
                <a:gd name="connsiteY41" fmla="*/ 11582 h 100872"/>
                <a:gd name="connsiteX42" fmla="*/ 512785 w 518306"/>
                <a:gd name="connsiteY42" fmla="*/ 7160 h 100872"/>
                <a:gd name="connsiteX43" fmla="*/ 516575 w 518306"/>
                <a:gd name="connsiteY43" fmla="*/ 2316 h 100872"/>
                <a:gd name="connsiteX44" fmla="*/ 514680 w 518306"/>
                <a:gd name="connsiteY44" fmla="*/ 0 h 100872"/>
                <a:gd name="connsiteX45" fmla="*/ 500781 w 518306"/>
                <a:gd name="connsiteY45" fmla="*/ 1895 h 100872"/>
                <a:gd name="connsiteX46" fmla="*/ 489199 w 518306"/>
                <a:gd name="connsiteY46" fmla="*/ 1895 h 100872"/>
                <a:gd name="connsiteX47" fmla="*/ 467087 w 518306"/>
                <a:gd name="connsiteY47" fmla="*/ 6739 h 100872"/>
                <a:gd name="connsiteX48" fmla="*/ 458452 w 518306"/>
                <a:gd name="connsiteY48" fmla="*/ 6318 h 100872"/>
                <a:gd name="connsiteX49" fmla="*/ 418019 w 518306"/>
                <a:gd name="connsiteY49" fmla="*/ 14952 h 100872"/>
                <a:gd name="connsiteX50" fmla="*/ 403067 w 518306"/>
                <a:gd name="connsiteY50" fmla="*/ 20217 h 100872"/>
                <a:gd name="connsiteX51" fmla="*/ 377586 w 518306"/>
                <a:gd name="connsiteY51" fmla="*/ 25481 h 100872"/>
                <a:gd name="connsiteX52" fmla="*/ 349157 w 518306"/>
                <a:gd name="connsiteY52" fmla="*/ 32641 h 100872"/>
                <a:gd name="connsiteX53" fmla="*/ 323254 w 518306"/>
                <a:gd name="connsiteY53" fmla="*/ 41275 h 100872"/>
                <a:gd name="connsiteX54" fmla="*/ 306407 w 518306"/>
                <a:gd name="connsiteY54" fmla="*/ 45698 h 100872"/>
                <a:gd name="connsiteX55" fmla="*/ 283874 w 518306"/>
                <a:gd name="connsiteY55" fmla="*/ 49067 h 100872"/>
                <a:gd name="connsiteX56" fmla="*/ 263658 w 518306"/>
                <a:gd name="connsiteY56" fmla="*/ 53911 h 100872"/>
                <a:gd name="connsiteX57" fmla="*/ 243862 w 518306"/>
                <a:gd name="connsiteY57" fmla="*/ 58123 h 100872"/>
                <a:gd name="connsiteX58" fmla="*/ 233333 w 518306"/>
                <a:gd name="connsiteY58" fmla="*/ 61913 h 100872"/>
                <a:gd name="connsiteX59" fmla="*/ 231437 w 518306"/>
                <a:gd name="connsiteY59" fmla="*/ 60018 h 100872"/>
                <a:gd name="connsiteX60" fmla="*/ 224277 w 518306"/>
                <a:gd name="connsiteY60" fmla="*/ 58965 h 100872"/>
                <a:gd name="connsiteX61" fmla="*/ 205956 w 518306"/>
                <a:gd name="connsiteY61" fmla="*/ 60860 h 100872"/>
                <a:gd name="connsiteX62" fmla="*/ 231859 w 518306"/>
                <a:gd name="connsiteY62" fmla="*/ 53700 h 100872"/>
                <a:gd name="connsiteX63" fmla="*/ 225751 w 518306"/>
                <a:gd name="connsiteY63" fmla="*/ 52226 h 100872"/>
                <a:gd name="connsiteX64" fmla="*/ 199849 w 518306"/>
                <a:gd name="connsiteY64" fmla="*/ 56438 h 100872"/>
                <a:gd name="connsiteX65" fmla="*/ 182159 w 518306"/>
                <a:gd name="connsiteY65" fmla="*/ 57491 h 100872"/>
                <a:gd name="connsiteX66" fmla="*/ 155204 w 518306"/>
                <a:gd name="connsiteY66" fmla="*/ 64230 h 100872"/>
                <a:gd name="connsiteX67" fmla="*/ 125932 w 518306"/>
                <a:gd name="connsiteY67" fmla="*/ 72232 h 1008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518306" h="100872">
                  <a:moveTo>
                    <a:pt x="125932" y="72232"/>
                  </a:moveTo>
                  <a:cubicBezTo>
                    <a:pt x="123616" y="77497"/>
                    <a:pt x="119193" y="72653"/>
                    <a:pt x="107822" y="72653"/>
                  </a:cubicBezTo>
                  <a:cubicBezTo>
                    <a:pt x="96239" y="72653"/>
                    <a:pt x="84657" y="79813"/>
                    <a:pt x="76654" y="79813"/>
                  </a:cubicBezTo>
                  <a:cubicBezTo>
                    <a:pt x="68020" y="79813"/>
                    <a:pt x="65072" y="72021"/>
                    <a:pt x="61281" y="80234"/>
                  </a:cubicBezTo>
                  <a:cubicBezTo>
                    <a:pt x="52226" y="80234"/>
                    <a:pt x="52647" y="86131"/>
                    <a:pt x="46961" y="86131"/>
                  </a:cubicBezTo>
                  <a:cubicBezTo>
                    <a:pt x="52647" y="86131"/>
                    <a:pt x="32641" y="92870"/>
                    <a:pt x="22954" y="92870"/>
                  </a:cubicBezTo>
                  <a:cubicBezTo>
                    <a:pt x="19164" y="101083"/>
                    <a:pt x="4843" y="98556"/>
                    <a:pt x="0" y="98556"/>
                  </a:cubicBezTo>
                  <a:cubicBezTo>
                    <a:pt x="4843" y="98556"/>
                    <a:pt x="4843" y="100872"/>
                    <a:pt x="12004" y="100872"/>
                  </a:cubicBezTo>
                  <a:cubicBezTo>
                    <a:pt x="18111" y="100872"/>
                    <a:pt x="30746" y="97924"/>
                    <a:pt x="37064" y="97924"/>
                  </a:cubicBezTo>
                  <a:cubicBezTo>
                    <a:pt x="42750" y="97924"/>
                    <a:pt x="47593" y="96029"/>
                    <a:pt x="52437" y="96029"/>
                  </a:cubicBezTo>
                  <a:cubicBezTo>
                    <a:pt x="57701" y="96029"/>
                    <a:pt x="67388" y="99398"/>
                    <a:pt x="62545" y="99398"/>
                  </a:cubicBezTo>
                  <a:cubicBezTo>
                    <a:pt x="67810" y="99398"/>
                    <a:pt x="80234" y="96660"/>
                    <a:pt x="76023" y="96660"/>
                  </a:cubicBezTo>
                  <a:cubicBezTo>
                    <a:pt x="80234" y="96660"/>
                    <a:pt x="76023" y="93712"/>
                    <a:pt x="72232" y="93712"/>
                  </a:cubicBezTo>
                  <a:cubicBezTo>
                    <a:pt x="76023" y="93712"/>
                    <a:pt x="74127" y="91817"/>
                    <a:pt x="69284" y="91817"/>
                  </a:cubicBezTo>
                  <a:cubicBezTo>
                    <a:pt x="74127" y="91817"/>
                    <a:pt x="84657" y="86131"/>
                    <a:pt x="92870" y="86131"/>
                  </a:cubicBezTo>
                  <a:cubicBezTo>
                    <a:pt x="101504" y="86131"/>
                    <a:pt x="104452" y="80234"/>
                    <a:pt x="110559" y="80234"/>
                  </a:cubicBezTo>
                  <a:cubicBezTo>
                    <a:pt x="116666" y="80234"/>
                    <a:pt x="117298" y="79813"/>
                    <a:pt x="123616" y="79813"/>
                  </a:cubicBezTo>
                  <a:cubicBezTo>
                    <a:pt x="129302" y="79813"/>
                    <a:pt x="133724" y="80234"/>
                    <a:pt x="139410" y="80234"/>
                  </a:cubicBezTo>
                  <a:cubicBezTo>
                    <a:pt x="144254" y="80234"/>
                    <a:pt x="144254" y="85499"/>
                    <a:pt x="137515" y="85499"/>
                  </a:cubicBezTo>
                  <a:cubicBezTo>
                    <a:pt x="143201" y="85499"/>
                    <a:pt x="137093" y="91817"/>
                    <a:pt x="133724" y="91817"/>
                  </a:cubicBezTo>
                  <a:cubicBezTo>
                    <a:pt x="137093" y="91817"/>
                    <a:pt x="143832" y="96029"/>
                    <a:pt x="139410" y="96029"/>
                  </a:cubicBezTo>
                  <a:cubicBezTo>
                    <a:pt x="144254" y="96029"/>
                    <a:pt x="161522" y="99398"/>
                    <a:pt x="165312" y="91185"/>
                  </a:cubicBezTo>
                  <a:cubicBezTo>
                    <a:pt x="174789" y="91185"/>
                    <a:pt x="177737" y="87394"/>
                    <a:pt x="185529" y="87394"/>
                  </a:cubicBezTo>
                  <a:cubicBezTo>
                    <a:pt x="188898" y="80656"/>
                    <a:pt x="197111" y="82551"/>
                    <a:pt x="207641" y="82551"/>
                  </a:cubicBezTo>
                  <a:cubicBezTo>
                    <a:pt x="218591" y="82551"/>
                    <a:pt x="234175" y="74338"/>
                    <a:pt x="228700" y="74338"/>
                  </a:cubicBezTo>
                  <a:cubicBezTo>
                    <a:pt x="233543" y="74338"/>
                    <a:pt x="241756" y="72864"/>
                    <a:pt x="237334" y="72864"/>
                  </a:cubicBezTo>
                  <a:cubicBezTo>
                    <a:pt x="242177" y="72864"/>
                    <a:pt x="242177" y="81498"/>
                    <a:pt x="245968" y="74338"/>
                  </a:cubicBezTo>
                  <a:cubicBezTo>
                    <a:pt x="254181" y="74338"/>
                    <a:pt x="278610" y="64861"/>
                    <a:pt x="285769" y="64861"/>
                  </a:cubicBezTo>
                  <a:cubicBezTo>
                    <a:pt x="293982" y="64861"/>
                    <a:pt x="313567" y="58965"/>
                    <a:pt x="308302" y="58965"/>
                  </a:cubicBezTo>
                  <a:cubicBezTo>
                    <a:pt x="313567" y="58965"/>
                    <a:pt x="319885" y="64230"/>
                    <a:pt x="323254" y="57070"/>
                  </a:cubicBezTo>
                  <a:cubicBezTo>
                    <a:pt x="331046" y="57070"/>
                    <a:pt x="341997" y="52858"/>
                    <a:pt x="336732" y="52858"/>
                  </a:cubicBezTo>
                  <a:cubicBezTo>
                    <a:pt x="341997" y="52858"/>
                    <a:pt x="345366" y="49067"/>
                    <a:pt x="353579" y="49067"/>
                  </a:cubicBezTo>
                  <a:cubicBezTo>
                    <a:pt x="362213" y="49067"/>
                    <a:pt x="386642" y="41907"/>
                    <a:pt x="382430" y="41907"/>
                  </a:cubicBezTo>
                  <a:cubicBezTo>
                    <a:pt x="386642" y="41907"/>
                    <a:pt x="394434" y="38959"/>
                    <a:pt x="391064" y="38959"/>
                  </a:cubicBezTo>
                  <a:cubicBezTo>
                    <a:pt x="394434" y="38959"/>
                    <a:pt x="402647" y="36011"/>
                    <a:pt x="398856" y="36011"/>
                  </a:cubicBezTo>
                  <a:cubicBezTo>
                    <a:pt x="403067" y="36011"/>
                    <a:pt x="403067" y="36432"/>
                    <a:pt x="410017" y="36432"/>
                  </a:cubicBezTo>
                  <a:cubicBezTo>
                    <a:pt x="416756" y="36432"/>
                    <a:pt x="420125" y="33062"/>
                    <a:pt x="425811" y="33062"/>
                  </a:cubicBezTo>
                  <a:cubicBezTo>
                    <a:pt x="432129" y="33062"/>
                    <a:pt x="448344" y="30114"/>
                    <a:pt x="442658" y="30114"/>
                  </a:cubicBezTo>
                  <a:cubicBezTo>
                    <a:pt x="448344" y="30114"/>
                    <a:pt x="451293" y="24428"/>
                    <a:pt x="459506" y="24428"/>
                  </a:cubicBezTo>
                  <a:cubicBezTo>
                    <a:pt x="467087" y="24428"/>
                    <a:pt x="487724" y="19585"/>
                    <a:pt x="481617" y="19585"/>
                  </a:cubicBezTo>
                  <a:cubicBezTo>
                    <a:pt x="488356" y="19585"/>
                    <a:pt x="496569" y="15794"/>
                    <a:pt x="490251" y="15794"/>
                  </a:cubicBezTo>
                  <a:cubicBezTo>
                    <a:pt x="496569" y="15794"/>
                    <a:pt x="509836" y="11582"/>
                    <a:pt x="504150" y="11582"/>
                  </a:cubicBezTo>
                  <a:cubicBezTo>
                    <a:pt x="509415" y="11582"/>
                    <a:pt x="515311" y="7160"/>
                    <a:pt x="512785" y="7160"/>
                  </a:cubicBezTo>
                  <a:cubicBezTo>
                    <a:pt x="515101" y="7160"/>
                    <a:pt x="519523" y="2316"/>
                    <a:pt x="516575" y="2316"/>
                  </a:cubicBezTo>
                  <a:cubicBezTo>
                    <a:pt x="519313" y="2316"/>
                    <a:pt x="518891" y="0"/>
                    <a:pt x="514680" y="0"/>
                  </a:cubicBezTo>
                  <a:cubicBezTo>
                    <a:pt x="519102" y="0"/>
                    <a:pt x="504150" y="1895"/>
                    <a:pt x="500781" y="1895"/>
                  </a:cubicBezTo>
                  <a:cubicBezTo>
                    <a:pt x="505203" y="1895"/>
                    <a:pt x="498886" y="1895"/>
                    <a:pt x="489199" y="1895"/>
                  </a:cubicBezTo>
                  <a:cubicBezTo>
                    <a:pt x="485408" y="10108"/>
                    <a:pt x="469403" y="6739"/>
                    <a:pt x="467087" y="6739"/>
                  </a:cubicBezTo>
                  <a:cubicBezTo>
                    <a:pt x="468982" y="6739"/>
                    <a:pt x="464770" y="-5686"/>
                    <a:pt x="458452" y="6318"/>
                  </a:cubicBezTo>
                  <a:cubicBezTo>
                    <a:pt x="444975" y="6318"/>
                    <a:pt x="423284" y="14952"/>
                    <a:pt x="418019" y="14952"/>
                  </a:cubicBezTo>
                  <a:cubicBezTo>
                    <a:pt x="423284" y="14952"/>
                    <a:pt x="407490" y="20217"/>
                    <a:pt x="403067" y="20217"/>
                  </a:cubicBezTo>
                  <a:cubicBezTo>
                    <a:pt x="407490" y="20217"/>
                    <a:pt x="387273" y="25481"/>
                    <a:pt x="377586" y="25481"/>
                  </a:cubicBezTo>
                  <a:cubicBezTo>
                    <a:pt x="367899" y="25481"/>
                    <a:pt x="356317" y="32641"/>
                    <a:pt x="349157" y="32641"/>
                  </a:cubicBezTo>
                  <a:cubicBezTo>
                    <a:pt x="345366" y="40223"/>
                    <a:pt x="328940" y="41275"/>
                    <a:pt x="323254" y="41275"/>
                  </a:cubicBezTo>
                  <a:cubicBezTo>
                    <a:pt x="328098" y="41275"/>
                    <a:pt x="313146" y="45698"/>
                    <a:pt x="306407" y="45698"/>
                  </a:cubicBezTo>
                  <a:cubicBezTo>
                    <a:pt x="299668" y="45698"/>
                    <a:pt x="291876" y="49067"/>
                    <a:pt x="283874" y="49067"/>
                  </a:cubicBezTo>
                  <a:cubicBezTo>
                    <a:pt x="275661" y="49067"/>
                    <a:pt x="275661" y="53911"/>
                    <a:pt x="263658" y="53911"/>
                  </a:cubicBezTo>
                  <a:cubicBezTo>
                    <a:pt x="252075" y="53911"/>
                    <a:pt x="251654" y="58123"/>
                    <a:pt x="243862" y="58123"/>
                  </a:cubicBezTo>
                  <a:cubicBezTo>
                    <a:pt x="235649" y="58123"/>
                    <a:pt x="240493" y="61913"/>
                    <a:pt x="233333" y="61913"/>
                  </a:cubicBezTo>
                  <a:cubicBezTo>
                    <a:pt x="240072" y="61913"/>
                    <a:pt x="233333" y="60018"/>
                    <a:pt x="231437" y="60018"/>
                  </a:cubicBezTo>
                  <a:cubicBezTo>
                    <a:pt x="233333" y="60018"/>
                    <a:pt x="232280" y="58965"/>
                    <a:pt x="224277" y="58965"/>
                  </a:cubicBezTo>
                  <a:cubicBezTo>
                    <a:pt x="215643" y="58965"/>
                    <a:pt x="198375" y="60860"/>
                    <a:pt x="205956" y="60860"/>
                  </a:cubicBezTo>
                  <a:cubicBezTo>
                    <a:pt x="209326" y="53700"/>
                    <a:pt x="234386" y="53700"/>
                    <a:pt x="231859" y="53700"/>
                  </a:cubicBezTo>
                  <a:cubicBezTo>
                    <a:pt x="234807" y="53700"/>
                    <a:pt x="234175" y="52226"/>
                    <a:pt x="225751" y="52226"/>
                  </a:cubicBezTo>
                  <a:cubicBezTo>
                    <a:pt x="217538" y="52226"/>
                    <a:pt x="204482" y="56438"/>
                    <a:pt x="199849" y="56438"/>
                  </a:cubicBezTo>
                  <a:cubicBezTo>
                    <a:pt x="203640" y="56438"/>
                    <a:pt x="192689" y="57491"/>
                    <a:pt x="182159" y="57491"/>
                  </a:cubicBezTo>
                  <a:cubicBezTo>
                    <a:pt x="170577" y="57491"/>
                    <a:pt x="161101" y="64230"/>
                    <a:pt x="155204" y="64230"/>
                  </a:cubicBezTo>
                  <a:cubicBezTo>
                    <a:pt x="160679" y="64651"/>
                    <a:pt x="136672" y="72232"/>
                    <a:pt x="125932" y="7223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6" name="Forme libre : forme 100">
              <a:extLst>
                <a:ext uri="{FF2B5EF4-FFF2-40B4-BE49-F238E27FC236}">
                  <a16:creationId xmlns:a16="http://schemas.microsoft.com/office/drawing/2014/main" id="{FCF911EF-67F1-4047-AC78-8E48DD035A3D}"/>
                </a:ext>
              </a:extLst>
            </p:cNvPr>
            <p:cNvSpPr/>
            <p:nvPr/>
          </p:nvSpPr>
          <p:spPr>
            <a:xfrm>
              <a:off x="2510021" y="1970659"/>
              <a:ext cx="55963" cy="16215"/>
            </a:xfrm>
            <a:custGeom>
              <a:avLst/>
              <a:gdLst>
                <a:gd name="connsiteX0" fmla="*/ 54399 w 55963"/>
                <a:gd name="connsiteY0" fmla="*/ 0 h 16215"/>
                <a:gd name="connsiteX1" fmla="*/ 41974 w 55963"/>
                <a:gd name="connsiteY1" fmla="*/ 1053 h 16215"/>
                <a:gd name="connsiteX2" fmla="*/ 26601 w 55963"/>
                <a:gd name="connsiteY2" fmla="*/ 2948 h 16215"/>
                <a:gd name="connsiteX3" fmla="*/ 4910 w 55963"/>
                <a:gd name="connsiteY3" fmla="*/ 9055 h 16215"/>
                <a:gd name="connsiteX4" fmla="*/ 4910 w 55963"/>
                <a:gd name="connsiteY4" fmla="*/ 12846 h 16215"/>
                <a:gd name="connsiteX5" fmla="*/ 1962 w 55963"/>
                <a:gd name="connsiteY5" fmla="*/ 16215 h 16215"/>
                <a:gd name="connsiteX6" fmla="*/ 19230 w 55963"/>
                <a:gd name="connsiteY6" fmla="*/ 12425 h 16215"/>
                <a:gd name="connsiteX7" fmla="*/ 26812 w 55963"/>
                <a:gd name="connsiteY7" fmla="*/ 9477 h 16215"/>
                <a:gd name="connsiteX8" fmla="*/ 41342 w 55963"/>
                <a:gd name="connsiteY8" fmla="*/ 6107 h 16215"/>
                <a:gd name="connsiteX9" fmla="*/ 54399 w 55963"/>
                <a:gd name="connsiteY9" fmla="*/ 0 h 162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63" h="16215">
                  <a:moveTo>
                    <a:pt x="54399" y="0"/>
                  </a:moveTo>
                  <a:cubicBezTo>
                    <a:pt x="56715" y="0"/>
                    <a:pt x="45343" y="1053"/>
                    <a:pt x="41974" y="1053"/>
                  </a:cubicBezTo>
                  <a:cubicBezTo>
                    <a:pt x="45765" y="1053"/>
                    <a:pt x="33761" y="2948"/>
                    <a:pt x="26601" y="2948"/>
                  </a:cubicBezTo>
                  <a:cubicBezTo>
                    <a:pt x="20283" y="2948"/>
                    <a:pt x="8280" y="9055"/>
                    <a:pt x="4910" y="9055"/>
                  </a:cubicBezTo>
                  <a:cubicBezTo>
                    <a:pt x="8280" y="9055"/>
                    <a:pt x="8701" y="12846"/>
                    <a:pt x="4910" y="12846"/>
                  </a:cubicBezTo>
                  <a:cubicBezTo>
                    <a:pt x="8280" y="12846"/>
                    <a:pt x="-4777" y="16215"/>
                    <a:pt x="1962" y="16215"/>
                  </a:cubicBezTo>
                  <a:cubicBezTo>
                    <a:pt x="7648" y="16215"/>
                    <a:pt x="22600" y="12425"/>
                    <a:pt x="19230" y="12425"/>
                  </a:cubicBezTo>
                  <a:cubicBezTo>
                    <a:pt x="22600" y="12425"/>
                    <a:pt x="30181" y="9477"/>
                    <a:pt x="26812" y="9477"/>
                  </a:cubicBezTo>
                  <a:cubicBezTo>
                    <a:pt x="30181" y="9477"/>
                    <a:pt x="45975" y="6107"/>
                    <a:pt x="41342" y="6107"/>
                  </a:cubicBezTo>
                  <a:cubicBezTo>
                    <a:pt x="46186" y="6107"/>
                    <a:pt x="60717" y="0"/>
                    <a:pt x="54399"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7" name="Forme libre : forme 101">
              <a:extLst>
                <a:ext uri="{FF2B5EF4-FFF2-40B4-BE49-F238E27FC236}">
                  <a16:creationId xmlns:a16="http://schemas.microsoft.com/office/drawing/2014/main" id="{5EC85BC4-13F5-4963-9039-560B68EDAD51}"/>
                </a:ext>
              </a:extLst>
            </p:cNvPr>
            <p:cNvSpPr/>
            <p:nvPr/>
          </p:nvSpPr>
          <p:spPr>
            <a:xfrm>
              <a:off x="2379312" y="1908535"/>
              <a:ext cx="341244" cy="75390"/>
            </a:xfrm>
            <a:custGeom>
              <a:avLst/>
              <a:gdLst>
                <a:gd name="connsiteX0" fmla="*/ 207220 w 341244"/>
                <a:gd name="connsiteY0" fmla="*/ 16426 h 75390"/>
                <a:gd name="connsiteX1" fmla="*/ 179843 w 341244"/>
                <a:gd name="connsiteY1" fmla="*/ 23165 h 75390"/>
                <a:gd name="connsiteX2" fmla="*/ 154994 w 341244"/>
                <a:gd name="connsiteY2" fmla="*/ 22744 h 75390"/>
                <a:gd name="connsiteX3" fmla="*/ 117088 w 341244"/>
                <a:gd name="connsiteY3" fmla="*/ 27166 h 75390"/>
                <a:gd name="connsiteX4" fmla="*/ 81498 w 341244"/>
                <a:gd name="connsiteY4" fmla="*/ 36853 h 75390"/>
                <a:gd name="connsiteX5" fmla="*/ 111191 w 341244"/>
                <a:gd name="connsiteY5" fmla="*/ 31588 h 75390"/>
                <a:gd name="connsiteX6" fmla="*/ 76654 w 341244"/>
                <a:gd name="connsiteY6" fmla="*/ 40644 h 75390"/>
                <a:gd name="connsiteX7" fmla="*/ 44434 w 341244"/>
                <a:gd name="connsiteY7" fmla="*/ 50752 h 75390"/>
                <a:gd name="connsiteX8" fmla="*/ 77076 w 341244"/>
                <a:gd name="connsiteY8" fmla="*/ 46961 h 75390"/>
                <a:gd name="connsiteX9" fmla="*/ 27166 w 341244"/>
                <a:gd name="connsiteY9" fmla="*/ 60439 h 75390"/>
                <a:gd name="connsiteX10" fmla="*/ 14109 w 341244"/>
                <a:gd name="connsiteY10" fmla="*/ 66546 h 75390"/>
                <a:gd name="connsiteX11" fmla="*/ 38538 w 341244"/>
                <a:gd name="connsiteY11" fmla="*/ 61281 h 75390"/>
                <a:gd name="connsiteX12" fmla="*/ 59597 w 341244"/>
                <a:gd name="connsiteY12" fmla="*/ 57491 h 75390"/>
                <a:gd name="connsiteX13" fmla="*/ 0 w 341244"/>
                <a:gd name="connsiteY13" fmla="*/ 74338 h 75390"/>
                <a:gd name="connsiteX14" fmla="*/ 17689 w 341244"/>
                <a:gd name="connsiteY14" fmla="*/ 73917 h 75390"/>
                <a:gd name="connsiteX15" fmla="*/ 29272 w 341244"/>
                <a:gd name="connsiteY15" fmla="*/ 75391 h 75390"/>
                <a:gd name="connsiteX16" fmla="*/ 58122 w 341244"/>
                <a:gd name="connsiteY16" fmla="*/ 68231 h 75390"/>
                <a:gd name="connsiteX17" fmla="*/ 100451 w 341244"/>
                <a:gd name="connsiteY17" fmla="*/ 57280 h 75390"/>
                <a:gd name="connsiteX18" fmla="*/ 111402 w 341244"/>
                <a:gd name="connsiteY18" fmla="*/ 56438 h 75390"/>
                <a:gd name="connsiteX19" fmla="*/ 62966 w 341244"/>
                <a:gd name="connsiteY19" fmla="*/ 71390 h 75390"/>
                <a:gd name="connsiteX20" fmla="*/ 80234 w 341244"/>
                <a:gd name="connsiteY20" fmla="*/ 70969 h 75390"/>
                <a:gd name="connsiteX21" fmla="*/ 97503 w 341244"/>
                <a:gd name="connsiteY21" fmla="*/ 69494 h 75390"/>
                <a:gd name="connsiteX22" fmla="*/ 111823 w 341244"/>
                <a:gd name="connsiteY22" fmla="*/ 70547 h 75390"/>
                <a:gd name="connsiteX23" fmla="*/ 158363 w 341244"/>
                <a:gd name="connsiteY23" fmla="*/ 60018 h 75390"/>
                <a:gd name="connsiteX24" fmla="*/ 174157 w 341244"/>
                <a:gd name="connsiteY24" fmla="*/ 53700 h 75390"/>
                <a:gd name="connsiteX25" fmla="*/ 195216 w 341244"/>
                <a:gd name="connsiteY25" fmla="*/ 50331 h 75390"/>
                <a:gd name="connsiteX26" fmla="*/ 208272 w 341244"/>
                <a:gd name="connsiteY26" fmla="*/ 46961 h 75390"/>
                <a:gd name="connsiteX27" fmla="*/ 223224 w 341244"/>
                <a:gd name="connsiteY27" fmla="*/ 42539 h 75390"/>
                <a:gd name="connsiteX28" fmla="*/ 239440 w 341244"/>
                <a:gd name="connsiteY28" fmla="*/ 36221 h 75390"/>
                <a:gd name="connsiteX29" fmla="*/ 260078 w 341244"/>
                <a:gd name="connsiteY29" fmla="*/ 27587 h 75390"/>
                <a:gd name="connsiteX30" fmla="*/ 296088 w 341244"/>
                <a:gd name="connsiteY30" fmla="*/ 14531 h 75390"/>
                <a:gd name="connsiteX31" fmla="*/ 330625 w 341244"/>
                <a:gd name="connsiteY31" fmla="*/ 5265 h 75390"/>
                <a:gd name="connsiteX32" fmla="*/ 338417 w 341244"/>
                <a:gd name="connsiteY32" fmla="*/ 0 h 75390"/>
                <a:gd name="connsiteX33" fmla="*/ 310619 w 341244"/>
                <a:gd name="connsiteY33" fmla="*/ 3369 h 75390"/>
                <a:gd name="connsiteX34" fmla="*/ 279452 w 341244"/>
                <a:gd name="connsiteY34" fmla="*/ 10529 h 75390"/>
                <a:gd name="connsiteX35" fmla="*/ 285769 w 341244"/>
                <a:gd name="connsiteY35" fmla="*/ 4844 h 75390"/>
                <a:gd name="connsiteX36" fmla="*/ 258814 w 341244"/>
                <a:gd name="connsiteY36" fmla="*/ 10529 h 75390"/>
                <a:gd name="connsiteX37" fmla="*/ 255866 w 341244"/>
                <a:gd name="connsiteY37" fmla="*/ 5686 h 75390"/>
                <a:gd name="connsiteX38" fmla="*/ 238176 w 341244"/>
                <a:gd name="connsiteY38" fmla="*/ 11372 h 75390"/>
                <a:gd name="connsiteX39" fmla="*/ 231016 w 341244"/>
                <a:gd name="connsiteY39" fmla="*/ 15794 h 75390"/>
                <a:gd name="connsiteX40" fmla="*/ 212695 w 341244"/>
                <a:gd name="connsiteY40" fmla="*/ 19164 h 75390"/>
                <a:gd name="connsiteX41" fmla="*/ 207220 w 341244"/>
                <a:gd name="connsiteY41" fmla="*/ 16426 h 753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341244" h="75390">
                  <a:moveTo>
                    <a:pt x="207220" y="16426"/>
                  </a:moveTo>
                  <a:cubicBezTo>
                    <a:pt x="199007" y="16426"/>
                    <a:pt x="186161" y="23165"/>
                    <a:pt x="179843" y="23165"/>
                  </a:cubicBezTo>
                  <a:cubicBezTo>
                    <a:pt x="176895" y="28430"/>
                    <a:pt x="164891" y="22744"/>
                    <a:pt x="154994" y="22744"/>
                  </a:cubicBezTo>
                  <a:cubicBezTo>
                    <a:pt x="145307" y="22744"/>
                    <a:pt x="130986" y="27166"/>
                    <a:pt x="117088" y="27166"/>
                  </a:cubicBezTo>
                  <a:cubicBezTo>
                    <a:pt x="108453" y="27166"/>
                    <a:pt x="70968" y="36853"/>
                    <a:pt x="81498" y="36853"/>
                  </a:cubicBezTo>
                  <a:cubicBezTo>
                    <a:pt x="89711" y="36853"/>
                    <a:pt x="113718" y="31588"/>
                    <a:pt x="111191" y="31588"/>
                  </a:cubicBezTo>
                  <a:cubicBezTo>
                    <a:pt x="113508" y="31588"/>
                    <a:pt x="81498" y="31167"/>
                    <a:pt x="76654" y="40644"/>
                  </a:cubicBezTo>
                  <a:cubicBezTo>
                    <a:pt x="65493" y="40644"/>
                    <a:pt x="38748" y="56438"/>
                    <a:pt x="44434" y="50752"/>
                  </a:cubicBezTo>
                  <a:cubicBezTo>
                    <a:pt x="53068" y="50752"/>
                    <a:pt x="79392" y="46961"/>
                    <a:pt x="77076" y="46961"/>
                  </a:cubicBezTo>
                  <a:cubicBezTo>
                    <a:pt x="83814" y="46961"/>
                    <a:pt x="34747" y="60439"/>
                    <a:pt x="27166" y="60439"/>
                  </a:cubicBezTo>
                  <a:cubicBezTo>
                    <a:pt x="35379" y="60439"/>
                    <a:pt x="8424" y="66546"/>
                    <a:pt x="14109" y="66546"/>
                  </a:cubicBezTo>
                  <a:cubicBezTo>
                    <a:pt x="19795" y="66546"/>
                    <a:pt x="44434" y="61281"/>
                    <a:pt x="38538" y="61281"/>
                  </a:cubicBezTo>
                  <a:cubicBezTo>
                    <a:pt x="44645" y="61281"/>
                    <a:pt x="64019" y="57491"/>
                    <a:pt x="59597" y="57491"/>
                  </a:cubicBezTo>
                  <a:cubicBezTo>
                    <a:pt x="66336" y="57491"/>
                    <a:pt x="3369" y="74338"/>
                    <a:pt x="0" y="74338"/>
                  </a:cubicBezTo>
                  <a:cubicBezTo>
                    <a:pt x="3369" y="74338"/>
                    <a:pt x="10529" y="73917"/>
                    <a:pt x="17689" y="73917"/>
                  </a:cubicBezTo>
                  <a:cubicBezTo>
                    <a:pt x="24850" y="73917"/>
                    <a:pt x="19585" y="75391"/>
                    <a:pt x="29272" y="75391"/>
                  </a:cubicBezTo>
                  <a:cubicBezTo>
                    <a:pt x="38959" y="75391"/>
                    <a:pt x="50963" y="68231"/>
                    <a:pt x="58122" y="68231"/>
                  </a:cubicBezTo>
                  <a:cubicBezTo>
                    <a:pt x="64861" y="68231"/>
                    <a:pt x="91817" y="57280"/>
                    <a:pt x="100451" y="57280"/>
                  </a:cubicBezTo>
                  <a:cubicBezTo>
                    <a:pt x="104242" y="49488"/>
                    <a:pt x="117719" y="56438"/>
                    <a:pt x="111402" y="56438"/>
                  </a:cubicBezTo>
                  <a:cubicBezTo>
                    <a:pt x="117719" y="56438"/>
                    <a:pt x="69705" y="71390"/>
                    <a:pt x="62966" y="71390"/>
                  </a:cubicBezTo>
                  <a:cubicBezTo>
                    <a:pt x="70126" y="71390"/>
                    <a:pt x="72021" y="70969"/>
                    <a:pt x="80234" y="70969"/>
                  </a:cubicBezTo>
                  <a:cubicBezTo>
                    <a:pt x="84025" y="63387"/>
                    <a:pt x="99398" y="69494"/>
                    <a:pt x="97503" y="69494"/>
                  </a:cubicBezTo>
                  <a:cubicBezTo>
                    <a:pt x="99398" y="69494"/>
                    <a:pt x="105084" y="70547"/>
                    <a:pt x="111823" y="70547"/>
                  </a:cubicBezTo>
                  <a:cubicBezTo>
                    <a:pt x="120036" y="70547"/>
                    <a:pt x="152677" y="71600"/>
                    <a:pt x="158363" y="60018"/>
                  </a:cubicBezTo>
                  <a:cubicBezTo>
                    <a:pt x="170788" y="60018"/>
                    <a:pt x="180896" y="53700"/>
                    <a:pt x="174157" y="53700"/>
                  </a:cubicBezTo>
                  <a:cubicBezTo>
                    <a:pt x="180896" y="53700"/>
                    <a:pt x="200481" y="50331"/>
                    <a:pt x="195216" y="50331"/>
                  </a:cubicBezTo>
                  <a:cubicBezTo>
                    <a:pt x="199639" y="50331"/>
                    <a:pt x="212905" y="46961"/>
                    <a:pt x="208272" y="46961"/>
                  </a:cubicBezTo>
                  <a:cubicBezTo>
                    <a:pt x="213116" y="46961"/>
                    <a:pt x="215011" y="42539"/>
                    <a:pt x="223224" y="42539"/>
                  </a:cubicBezTo>
                  <a:cubicBezTo>
                    <a:pt x="231859" y="42539"/>
                    <a:pt x="248285" y="36221"/>
                    <a:pt x="239440" y="36221"/>
                  </a:cubicBezTo>
                  <a:cubicBezTo>
                    <a:pt x="247021" y="36221"/>
                    <a:pt x="250390" y="27587"/>
                    <a:pt x="260078" y="27587"/>
                  </a:cubicBezTo>
                  <a:cubicBezTo>
                    <a:pt x="270607" y="27587"/>
                    <a:pt x="288507" y="22322"/>
                    <a:pt x="296088" y="14531"/>
                  </a:cubicBezTo>
                  <a:cubicBezTo>
                    <a:pt x="307250" y="14531"/>
                    <a:pt x="321991" y="5265"/>
                    <a:pt x="330625" y="5265"/>
                  </a:cubicBezTo>
                  <a:cubicBezTo>
                    <a:pt x="339259" y="5265"/>
                    <a:pt x="344945" y="0"/>
                    <a:pt x="338417" y="0"/>
                  </a:cubicBezTo>
                  <a:cubicBezTo>
                    <a:pt x="332099" y="0"/>
                    <a:pt x="320096" y="3369"/>
                    <a:pt x="310619" y="3369"/>
                  </a:cubicBezTo>
                  <a:cubicBezTo>
                    <a:pt x="300932" y="3369"/>
                    <a:pt x="280926" y="10529"/>
                    <a:pt x="279452" y="10529"/>
                  </a:cubicBezTo>
                  <a:cubicBezTo>
                    <a:pt x="280926" y="10529"/>
                    <a:pt x="291034" y="4844"/>
                    <a:pt x="285769" y="4844"/>
                  </a:cubicBezTo>
                  <a:cubicBezTo>
                    <a:pt x="291034" y="4844"/>
                    <a:pt x="262815" y="10529"/>
                    <a:pt x="258814" y="10529"/>
                  </a:cubicBezTo>
                  <a:cubicBezTo>
                    <a:pt x="262605" y="10529"/>
                    <a:pt x="263236" y="5686"/>
                    <a:pt x="255866" y="5686"/>
                  </a:cubicBezTo>
                  <a:cubicBezTo>
                    <a:pt x="250601" y="10951"/>
                    <a:pt x="241546" y="11372"/>
                    <a:pt x="238176" y="11372"/>
                  </a:cubicBezTo>
                  <a:cubicBezTo>
                    <a:pt x="241546" y="11372"/>
                    <a:pt x="236702" y="15794"/>
                    <a:pt x="231016" y="15794"/>
                  </a:cubicBezTo>
                  <a:cubicBezTo>
                    <a:pt x="236702" y="15794"/>
                    <a:pt x="214801" y="19164"/>
                    <a:pt x="212695" y="19164"/>
                  </a:cubicBezTo>
                  <a:cubicBezTo>
                    <a:pt x="214380" y="18953"/>
                    <a:pt x="221540" y="16426"/>
                    <a:pt x="207220" y="1642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8" name="Forme libre : forme 102">
              <a:extLst>
                <a:ext uri="{FF2B5EF4-FFF2-40B4-BE49-F238E27FC236}">
                  <a16:creationId xmlns:a16="http://schemas.microsoft.com/office/drawing/2014/main" id="{2435543D-1170-4CAC-827D-0E9CFBA7B141}"/>
                </a:ext>
              </a:extLst>
            </p:cNvPr>
            <p:cNvSpPr/>
            <p:nvPr/>
          </p:nvSpPr>
          <p:spPr>
            <a:xfrm>
              <a:off x="2534618" y="1723849"/>
              <a:ext cx="914276" cy="260919"/>
            </a:xfrm>
            <a:custGeom>
              <a:avLst/>
              <a:gdLst>
                <a:gd name="connsiteX0" fmla="*/ 148363 w 914276"/>
                <a:gd name="connsiteY0" fmla="*/ 158363 h 260919"/>
                <a:gd name="connsiteX1" fmla="*/ 132990 w 914276"/>
                <a:gd name="connsiteY1" fmla="*/ 163207 h 260919"/>
                <a:gd name="connsiteX2" fmla="*/ 109404 w 914276"/>
                <a:gd name="connsiteY2" fmla="*/ 166155 h 260919"/>
                <a:gd name="connsiteX3" fmla="*/ 82870 w 914276"/>
                <a:gd name="connsiteY3" fmla="*/ 174789 h 260919"/>
                <a:gd name="connsiteX4" fmla="*/ 68550 w 914276"/>
                <a:gd name="connsiteY4" fmla="*/ 179633 h 260919"/>
                <a:gd name="connsiteX5" fmla="*/ 33381 w 914276"/>
                <a:gd name="connsiteY5" fmla="*/ 187845 h 260919"/>
                <a:gd name="connsiteX6" fmla="*/ 740 w 914276"/>
                <a:gd name="connsiteY6" fmla="*/ 199007 h 260919"/>
                <a:gd name="connsiteX7" fmla="*/ 26221 w 914276"/>
                <a:gd name="connsiteY7" fmla="*/ 194163 h 260919"/>
                <a:gd name="connsiteX8" fmla="*/ 54440 w 914276"/>
                <a:gd name="connsiteY8" fmla="*/ 185529 h 260919"/>
                <a:gd name="connsiteX9" fmla="*/ 32328 w 914276"/>
                <a:gd name="connsiteY9" fmla="*/ 193742 h 260919"/>
                <a:gd name="connsiteX10" fmla="*/ 47701 w 914276"/>
                <a:gd name="connsiteY10" fmla="*/ 190794 h 260919"/>
                <a:gd name="connsiteX11" fmla="*/ 73183 w 914276"/>
                <a:gd name="connsiteY11" fmla="*/ 183634 h 260919"/>
                <a:gd name="connsiteX12" fmla="*/ 76973 w 914276"/>
                <a:gd name="connsiteY12" fmla="*/ 184687 h 260919"/>
                <a:gd name="connsiteX13" fmla="*/ 42016 w 914276"/>
                <a:gd name="connsiteY13" fmla="*/ 194374 h 260919"/>
                <a:gd name="connsiteX14" fmla="*/ 59284 w 914276"/>
                <a:gd name="connsiteY14" fmla="*/ 192478 h 260919"/>
                <a:gd name="connsiteX15" fmla="*/ 84344 w 914276"/>
                <a:gd name="connsiteY15" fmla="*/ 187214 h 260919"/>
                <a:gd name="connsiteX16" fmla="*/ 71287 w 914276"/>
                <a:gd name="connsiteY16" fmla="*/ 191425 h 260919"/>
                <a:gd name="connsiteX17" fmla="*/ 91925 w 914276"/>
                <a:gd name="connsiteY17" fmla="*/ 189530 h 260919"/>
                <a:gd name="connsiteX18" fmla="*/ 127093 w 914276"/>
                <a:gd name="connsiteY18" fmla="*/ 180896 h 260919"/>
                <a:gd name="connsiteX19" fmla="*/ 152154 w 914276"/>
                <a:gd name="connsiteY19" fmla="*/ 172262 h 260919"/>
                <a:gd name="connsiteX20" fmla="*/ 157418 w 914276"/>
                <a:gd name="connsiteY20" fmla="*/ 172683 h 260919"/>
                <a:gd name="connsiteX21" fmla="*/ 143098 w 914276"/>
                <a:gd name="connsiteY21" fmla="*/ 179422 h 260919"/>
                <a:gd name="connsiteX22" fmla="*/ 181004 w 914276"/>
                <a:gd name="connsiteY22" fmla="*/ 170367 h 260919"/>
                <a:gd name="connsiteX23" fmla="*/ 220385 w 914276"/>
                <a:gd name="connsiteY23" fmla="*/ 160680 h 260919"/>
                <a:gd name="connsiteX24" fmla="*/ 238074 w 914276"/>
                <a:gd name="connsiteY24" fmla="*/ 154994 h 260919"/>
                <a:gd name="connsiteX25" fmla="*/ 247761 w 914276"/>
                <a:gd name="connsiteY25" fmla="*/ 153941 h 260919"/>
                <a:gd name="connsiteX26" fmla="*/ 274716 w 914276"/>
                <a:gd name="connsiteY26" fmla="*/ 149518 h 260919"/>
                <a:gd name="connsiteX27" fmla="*/ 310306 w 914276"/>
                <a:gd name="connsiteY27" fmla="*/ 140463 h 260919"/>
                <a:gd name="connsiteX28" fmla="*/ 359373 w 914276"/>
                <a:gd name="connsiteY28" fmla="*/ 125090 h 260919"/>
                <a:gd name="connsiteX29" fmla="*/ 387171 w 914276"/>
                <a:gd name="connsiteY29" fmla="*/ 115403 h 260919"/>
                <a:gd name="connsiteX30" fmla="*/ 436659 w 914276"/>
                <a:gd name="connsiteY30" fmla="*/ 101925 h 260919"/>
                <a:gd name="connsiteX31" fmla="*/ 418970 w 914276"/>
                <a:gd name="connsiteY31" fmla="*/ 107611 h 260919"/>
                <a:gd name="connsiteX32" fmla="*/ 376220 w 914276"/>
                <a:gd name="connsiteY32" fmla="*/ 121510 h 260919"/>
                <a:gd name="connsiteX33" fmla="*/ 400649 w 914276"/>
                <a:gd name="connsiteY33" fmla="*/ 117088 h 260919"/>
                <a:gd name="connsiteX34" fmla="*/ 444451 w 914276"/>
                <a:gd name="connsiteY34" fmla="*/ 106979 h 260919"/>
                <a:gd name="connsiteX35" fmla="*/ 471407 w 914276"/>
                <a:gd name="connsiteY35" fmla="*/ 101293 h 260919"/>
                <a:gd name="connsiteX36" fmla="*/ 377273 w 914276"/>
                <a:gd name="connsiteY36" fmla="*/ 124458 h 260919"/>
                <a:gd name="connsiteX37" fmla="*/ 348844 w 914276"/>
                <a:gd name="connsiteY37" fmla="*/ 132039 h 260919"/>
                <a:gd name="connsiteX38" fmla="*/ 323784 w 914276"/>
                <a:gd name="connsiteY38" fmla="*/ 139199 h 260919"/>
                <a:gd name="connsiteX39" fmla="*/ 281455 w 914276"/>
                <a:gd name="connsiteY39" fmla="*/ 149729 h 260919"/>
                <a:gd name="connsiteX40" fmla="*/ 252605 w 914276"/>
                <a:gd name="connsiteY40" fmla="*/ 156468 h 260919"/>
                <a:gd name="connsiteX41" fmla="*/ 269873 w 914276"/>
                <a:gd name="connsiteY41" fmla="*/ 156468 h 260919"/>
                <a:gd name="connsiteX42" fmla="*/ 288615 w 914276"/>
                <a:gd name="connsiteY42" fmla="*/ 154572 h 260919"/>
                <a:gd name="connsiteX43" fmla="*/ 300619 w 914276"/>
                <a:gd name="connsiteY43" fmla="*/ 154151 h 260919"/>
                <a:gd name="connsiteX44" fmla="*/ 278507 w 914276"/>
                <a:gd name="connsiteY44" fmla="*/ 158574 h 260919"/>
                <a:gd name="connsiteX45" fmla="*/ 263555 w 914276"/>
                <a:gd name="connsiteY45" fmla="*/ 158574 h 260919"/>
                <a:gd name="connsiteX46" fmla="*/ 235758 w 914276"/>
                <a:gd name="connsiteY46" fmla="*/ 164681 h 260919"/>
                <a:gd name="connsiteX47" fmla="*/ 213224 w 914276"/>
                <a:gd name="connsiteY47" fmla="*/ 166155 h 260919"/>
                <a:gd name="connsiteX48" fmla="*/ 170054 w 914276"/>
                <a:gd name="connsiteY48" fmla="*/ 176263 h 260919"/>
                <a:gd name="connsiteX49" fmla="*/ 143098 w 914276"/>
                <a:gd name="connsiteY49" fmla="*/ 182581 h 260919"/>
                <a:gd name="connsiteX50" fmla="*/ 144994 w 914276"/>
                <a:gd name="connsiteY50" fmla="*/ 187424 h 260919"/>
                <a:gd name="connsiteX51" fmla="*/ 167948 w 914276"/>
                <a:gd name="connsiteY51" fmla="*/ 183634 h 260919"/>
                <a:gd name="connsiteX52" fmla="*/ 183321 w 914276"/>
                <a:gd name="connsiteY52" fmla="*/ 182160 h 260919"/>
                <a:gd name="connsiteX53" fmla="*/ 195324 w 914276"/>
                <a:gd name="connsiteY53" fmla="*/ 182581 h 260919"/>
                <a:gd name="connsiteX54" fmla="*/ 194271 w 914276"/>
                <a:gd name="connsiteY54" fmla="*/ 185529 h 260919"/>
                <a:gd name="connsiteX55" fmla="*/ 179319 w 914276"/>
                <a:gd name="connsiteY55" fmla="*/ 190794 h 260919"/>
                <a:gd name="connsiteX56" fmla="*/ 169633 w 914276"/>
                <a:gd name="connsiteY56" fmla="*/ 193110 h 260919"/>
                <a:gd name="connsiteX57" fmla="*/ 144994 w 914276"/>
                <a:gd name="connsiteY57" fmla="*/ 199007 h 260919"/>
                <a:gd name="connsiteX58" fmla="*/ 129199 w 914276"/>
                <a:gd name="connsiteY58" fmla="*/ 204271 h 260919"/>
                <a:gd name="connsiteX59" fmla="*/ 115722 w 914276"/>
                <a:gd name="connsiteY59" fmla="*/ 209536 h 260919"/>
                <a:gd name="connsiteX60" fmla="*/ 98453 w 914276"/>
                <a:gd name="connsiteY60" fmla="*/ 216275 h 260919"/>
                <a:gd name="connsiteX61" fmla="*/ 98453 w 914276"/>
                <a:gd name="connsiteY61" fmla="*/ 221119 h 260919"/>
                <a:gd name="connsiteX62" fmla="*/ 125830 w 914276"/>
                <a:gd name="connsiteY62" fmla="*/ 215433 h 260919"/>
                <a:gd name="connsiteX63" fmla="*/ 143519 w 914276"/>
                <a:gd name="connsiteY63" fmla="*/ 212484 h 260919"/>
                <a:gd name="connsiteX64" fmla="*/ 167106 w 914276"/>
                <a:gd name="connsiteY64" fmla="*/ 204271 h 260919"/>
                <a:gd name="connsiteX65" fmla="*/ 164157 w 914276"/>
                <a:gd name="connsiteY65" fmla="*/ 207220 h 260919"/>
                <a:gd name="connsiteX66" fmla="*/ 149205 w 914276"/>
                <a:gd name="connsiteY66" fmla="*/ 212063 h 260919"/>
                <a:gd name="connsiteX67" fmla="*/ 159735 w 914276"/>
                <a:gd name="connsiteY67" fmla="*/ 212063 h 260919"/>
                <a:gd name="connsiteX68" fmla="*/ 150048 w 914276"/>
                <a:gd name="connsiteY68" fmla="*/ 218381 h 260919"/>
                <a:gd name="connsiteX69" fmla="*/ 136570 w 914276"/>
                <a:gd name="connsiteY69" fmla="*/ 218381 h 260919"/>
                <a:gd name="connsiteX70" fmla="*/ 108141 w 914276"/>
                <a:gd name="connsiteY70" fmla="*/ 222593 h 260919"/>
                <a:gd name="connsiteX71" fmla="*/ 76973 w 914276"/>
                <a:gd name="connsiteY71" fmla="*/ 229753 h 260919"/>
                <a:gd name="connsiteX72" fmla="*/ 75078 w 914276"/>
                <a:gd name="connsiteY72" fmla="*/ 233543 h 260919"/>
                <a:gd name="connsiteX73" fmla="*/ 85607 w 914276"/>
                <a:gd name="connsiteY73" fmla="*/ 235439 h 260919"/>
                <a:gd name="connsiteX74" fmla="*/ 86029 w 914276"/>
                <a:gd name="connsiteY74" fmla="*/ 237334 h 260919"/>
                <a:gd name="connsiteX75" fmla="*/ 61600 w 914276"/>
                <a:gd name="connsiteY75" fmla="*/ 243020 h 260919"/>
                <a:gd name="connsiteX76" fmla="*/ 40963 w 914276"/>
                <a:gd name="connsiteY76" fmla="*/ 250812 h 260919"/>
                <a:gd name="connsiteX77" fmla="*/ 25168 w 914276"/>
                <a:gd name="connsiteY77" fmla="*/ 255655 h 260919"/>
                <a:gd name="connsiteX78" fmla="*/ 24115 w 914276"/>
                <a:gd name="connsiteY78" fmla="*/ 259025 h 260919"/>
                <a:gd name="connsiteX79" fmla="*/ 24537 w 914276"/>
                <a:gd name="connsiteY79" fmla="*/ 260920 h 260919"/>
                <a:gd name="connsiteX80" fmla="*/ 42226 w 914276"/>
                <a:gd name="connsiteY80" fmla="*/ 258182 h 260919"/>
                <a:gd name="connsiteX81" fmla="*/ 52756 w 914276"/>
                <a:gd name="connsiteY81" fmla="*/ 254392 h 260919"/>
                <a:gd name="connsiteX82" fmla="*/ 60337 w 914276"/>
                <a:gd name="connsiteY82" fmla="*/ 254392 h 260919"/>
                <a:gd name="connsiteX83" fmla="*/ 77184 w 914276"/>
                <a:gd name="connsiteY83" fmla="*/ 250601 h 260919"/>
                <a:gd name="connsiteX84" fmla="*/ 88766 w 914276"/>
                <a:gd name="connsiteY84" fmla="*/ 246389 h 260919"/>
                <a:gd name="connsiteX85" fmla="*/ 97400 w 914276"/>
                <a:gd name="connsiteY85" fmla="*/ 245968 h 260919"/>
                <a:gd name="connsiteX86" fmla="*/ 112352 w 914276"/>
                <a:gd name="connsiteY86" fmla="*/ 241125 h 260919"/>
                <a:gd name="connsiteX87" fmla="*/ 118670 w 914276"/>
                <a:gd name="connsiteY87" fmla="*/ 241546 h 260919"/>
                <a:gd name="connsiteX88" fmla="*/ 140782 w 914276"/>
                <a:gd name="connsiteY88" fmla="*/ 237334 h 260919"/>
                <a:gd name="connsiteX89" fmla="*/ 170896 w 914276"/>
                <a:gd name="connsiteY89" fmla="*/ 231016 h 260919"/>
                <a:gd name="connsiteX90" fmla="*/ 177635 w 914276"/>
                <a:gd name="connsiteY90" fmla="*/ 227226 h 260919"/>
                <a:gd name="connsiteX91" fmla="*/ 193008 w 914276"/>
                <a:gd name="connsiteY91" fmla="*/ 223435 h 260919"/>
                <a:gd name="connsiteX92" fmla="*/ 206486 w 914276"/>
                <a:gd name="connsiteY92" fmla="*/ 220908 h 260919"/>
                <a:gd name="connsiteX93" fmla="*/ 214699 w 914276"/>
                <a:gd name="connsiteY93" fmla="*/ 219013 h 260919"/>
                <a:gd name="connsiteX94" fmla="*/ 226281 w 914276"/>
                <a:gd name="connsiteY94" fmla="*/ 217117 h 260919"/>
                <a:gd name="connsiteX95" fmla="*/ 242075 w 914276"/>
                <a:gd name="connsiteY95" fmla="*/ 212695 h 260919"/>
                <a:gd name="connsiteX96" fmla="*/ 254079 w 914276"/>
                <a:gd name="connsiteY96" fmla="*/ 209326 h 260919"/>
                <a:gd name="connsiteX97" fmla="*/ 269031 w 914276"/>
                <a:gd name="connsiteY97" fmla="*/ 205956 h 260919"/>
                <a:gd name="connsiteX98" fmla="*/ 272400 w 914276"/>
                <a:gd name="connsiteY98" fmla="*/ 207851 h 260919"/>
                <a:gd name="connsiteX99" fmla="*/ 268609 w 914276"/>
                <a:gd name="connsiteY99" fmla="*/ 211221 h 260919"/>
                <a:gd name="connsiteX100" fmla="*/ 288826 w 914276"/>
                <a:gd name="connsiteY100" fmla="*/ 205956 h 260919"/>
                <a:gd name="connsiteX101" fmla="*/ 311991 w 914276"/>
                <a:gd name="connsiteY101" fmla="*/ 199638 h 260919"/>
                <a:gd name="connsiteX102" fmla="*/ 334945 w 914276"/>
                <a:gd name="connsiteY102" fmla="*/ 192057 h 260919"/>
                <a:gd name="connsiteX103" fmla="*/ 345474 w 914276"/>
                <a:gd name="connsiteY103" fmla="*/ 188267 h 260919"/>
                <a:gd name="connsiteX104" fmla="*/ 358531 w 914276"/>
                <a:gd name="connsiteY104" fmla="*/ 187845 h 260919"/>
                <a:gd name="connsiteX105" fmla="*/ 369061 w 914276"/>
                <a:gd name="connsiteY105" fmla="*/ 182160 h 260919"/>
                <a:gd name="connsiteX106" fmla="*/ 376852 w 914276"/>
                <a:gd name="connsiteY106" fmla="*/ 176474 h 260919"/>
                <a:gd name="connsiteX107" fmla="*/ 361901 w 914276"/>
                <a:gd name="connsiteY107" fmla="*/ 177948 h 260919"/>
                <a:gd name="connsiteX108" fmla="*/ 345053 w 914276"/>
                <a:gd name="connsiteY108" fmla="*/ 183634 h 260919"/>
                <a:gd name="connsiteX109" fmla="*/ 330733 w 914276"/>
                <a:gd name="connsiteY109" fmla="*/ 185529 h 260919"/>
                <a:gd name="connsiteX110" fmla="*/ 342737 w 914276"/>
                <a:gd name="connsiteY110" fmla="*/ 181107 h 260919"/>
                <a:gd name="connsiteX111" fmla="*/ 301461 w 914276"/>
                <a:gd name="connsiteY111" fmla="*/ 187424 h 260919"/>
                <a:gd name="connsiteX112" fmla="*/ 363375 w 914276"/>
                <a:gd name="connsiteY112" fmla="*/ 173525 h 260919"/>
                <a:gd name="connsiteX113" fmla="*/ 380643 w 914276"/>
                <a:gd name="connsiteY113" fmla="*/ 167208 h 260919"/>
                <a:gd name="connsiteX114" fmla="*/ 386329 w 914276"/>
                <a:gd name="connsiteY114" fmla="*/ 163838 h 260919"/>
                <a:gd name="connsiteX115" fmla="*/ 392015 w 914276"/>
                <a:gd name="connsiteY115" fmla="*/ 160890 h 260919"/>
                <a:gd name="connsiteX116" fmla="*/ 372851 w 914276"/>
                <a:gd name="connsiteY116" fmla="*/ 163207 h 260919"/>
                <a:gd name="connsiteX117" fmla="*/ 405492 w 914276"/>
                <a:gd name="connsiteY117" fmla="*/ 156468 h 260919"/>
                <a:gd name="connsiteX118" fmla="*/ 425077 w 914276"/>
                <a:gd name="connsiteY118" fmla="*/ 152677 h 260919"/>
                <a:gd name="connsiteX119" fmla="*/ 443398 w 914276"/>
                <a:gd name="connsiteY119" fmla="*/ 148465 h 260919"/>
                <a:gd name="connsiteX120" fmla="*/ 454981 w 914276"/>
                <a:gd name="connsiteY120" fmla="*/ 143622 h 260919"/>
                <a:gd name="connsiteX121" fmla="*/ 460246 w 914276"/>
                <a:gd name="connsiteY121" fmla="*/ 140252 h 260919"/>
                <a:gd name="connsiteX122" fmla="*/ 473723 w 914276"/>
                <a:gd name="connsiteY122" fmla="*/ 136883 h 260919"/>
                <a:gd name="connsiteX123" fmla="*/ 469511 w 914276"/>
                <a:gd name="connsiteY123" fmla="*/ 134988 h 260919"/>
                <a:gd name="connsiteX124" fmla="*/ 486780 w 914276"/>
                <a:gd name="connsiteY124" fmla="*/ 131197 h 260919"/>
                <a:gd name="connsiteX125" fmla="*/ 501732 w 914276"/>
                <a:gd name="connsiteY125" fmla="*/ 125511 h 260919"/>
                <a:gd name="connsiteX126" fmla="*/ 476250 w 914276"/>
                <a:gd name="connsiteY126" fmla="*/ 128459 h 260919"/>
                <a:gd name="connsiteX127" fmla="*/ 461298 w 914276"/>
                <a:gd name="connsiteY127" fmla="*/ 129512 h 260919"/>
                <a:gd name="connsiteX128" fmla="*/ 487201 w 914276"/>
                <a:gd name="connsiteY128" fmla="*/ 124669 h 260919"/>
                <a:gd name="connsiteX129" fmla="*/ 494782 w 914276"/>
                <a:gd name="connsiteY129" fmla="*/ 120878 h 260919"/>
                <a:gd name="connsiteX130" fmla="*/ 450137 w 914276"/>
                <a:gd name="connsiteY130" fmla="*/ 128670 h 260919"/>
                <a:gd name="connsiteX131" fmla="*/ 459193 w 914276"/>
                <a:gd name="connsiteY131" fmla="*/ 125301 h 260919"/>
                <a:gd name="connsiteX132" fmla="*/ 498151 w 914276"/>
                <a:gd name="connsiteY132" fmla="*/ 117930 h 260919"/>
                <a:gd name="connsiteX133" fmla="*/ 525528 w 914276"/>
                <a:gd name="connsiteY133" fmla="*/ 110349 h 260919"/>
                <a:gd name="connsiteX134" fmla="*/ 545324 w 914276"/>
                <a:gd name="connsiteY134" fmla="*/ 104031 h 260919"/>
                <a:gd name="connsiteX135" fmla="*/ 586178 w 914276"/>
                <a:gd name="connsiteY135" fmla="*/ 95397 h 260919"/>
                <a:gd name="connsiteX136" fmla="*/ 610185 w 914276"/>
                <a:gd name="connsiteY136" fmla="*/ 88658 h 260919"/>
                <a:gd name="connsiteX137" fmla="*/ 632718 w 914276"/>
                <a:gd name="connsiteY137" fmla="*/ 78971 h 260919"/>
                <a:gd name="connsiteX138" fmla="*/ 655251 w 914276"/>
                <a:gd name="connsiteY138" fmla="*/ 72864 h 260919"/>
                <a:gd name="connsiteX139" fmla="*/ 676942 w 914276"/>
                <a:gd name="connsiteY139" fmla="*/ 65704 h 260919"/>
                <a:gd name="connsiteX140" fmla="*/ 710004 w 914276"/>
                <a:gd name="connsiteY140" fmla="*/ 56438 h 260919"/>
                <a:gd name="connsiteX141" fmla="*/ 742645 w 914276"/>
                <a:gd name="connsiteY141" fmla="*/ 46751 h 260919"/>
                <a:gd name="connsiteX142" fmla="*/ 770443 w 914276"/>
                <a:gd name="connsiteY142" fmla="*/ 40012 h 260919"/>
                <a:gd name="connsiteX143" fmla="*/ 804559 w 914276"/>
                <a:gd name="connsiteY143" fmla="*/ 30957 h 260919"/>
                <a:gd name="connsiteX144" fmla="*/ 790028 w 914276"/>
                <a:gd name="connsiteY144" fmla="*/ 31378 h 260919"/>
                <a:gd name="connsiteX145" fmla="*/ 748753 w 914276"/>
                <a:gd name="connsiteY145" fmla="*/ 41065 h 260919"/>
                <a:gd name="connsiteX146" fmla="*/ 725167 w 914276"/>
                <a:gd name="connsiteY146" fmla="*/ 45487 h 260919"/>
                <a:gd name="connsiteX147" fmla="*/ 722218 w 914276"/>
                <a:gd name="connsiteY147" fmla="*/ 44013 h 260919"/>
                <a:gd name="connsiteX148" fmla="*/ 754017 w 914276"/>
                <a:gd name="connsiteY148" fmla="*/ 38327 h 260919"/>
                <a:gd name="connsiteX149" fmla="*/ 781394 w 914276"/>
                <a:gd name="connsiteY149" fmla="*/ 31588 h 260919"/>
                <a:gd name="connsiteX150" fmla="*/ 813614 w 914276"/>
                <a:gd name="connsiteY150" fmla="*/ 25481 h 260919"/>
                <a:gd name="connsiteX151" fmla="*/ 860154 w 914276"/>
                <a:gd name="connsiteY151" fmla="*/ 14952 h 260919"/>
                <a:gd name="connsiteX152" fmla="*/ 885214 w 914276"/>
                <a:gd name="connsiteY152" fmla="*/ 6739 h 260919"/>
                <a:gd name="connsiteX153" fmla="*/ 913644 w 914276"/>
                <a:gd name="connsiteY153" fmla="*/ 0 h 260919"/>
                <a:gd name="connsiteX154" fmla="*/ 885846 w 914276"/>
                <a:gd name="connsiteY154" fmla="*/ 2316 h 260919"/>
                <a:gd name="connsiteX155" fmla="*/ 853626 w 914276"/>
                <a:gd name="connsiteY155" fmla="*/ 7581 h 260919"/>
                <a:gd name="connsiteX156" fmla="*/ 837832 w 914276"/>
                <a:gd name="connsiteY156" fmla="*/ 6528 h 260919"/>
                <a:gd name="connsiteX157" fmla="*/ 817615 w 914276"/>
                <a:gd name="connsiteY157" fmla="*/ 9477 h 260919"/>
                <a:gd name="connsiteX158" fmla="*/ 795504 w 914276"/>
                <a:gd name="connsiteY158" fmla="*/ 12846 h 260919"/>
                <a:gd name="connsiteX159" fmla="*/ 763283 w 914276"/>
                <a:gd name="connsiteY159" fmla="*/ 21059 h 260919"/>
                <a:gd name="connsiteX160" fmla="*/ 683049 w 914276"/>
                <a:gd name="connsiteY160" fmla="*/ 37906 h 260919"/>
                <a:gd name="connsiteX161" fmla="*/ 746858 w 914276"/>
                <a:gd name="connsiteY161" fmla="*/ 22954 h 260919"/>
                <a:gd name="connsiteX162" fmla="*/ 739065 w 914276"/>
                <a:gd name="connsiteY162" fmla="*/ 21901 h 260919"/>
                <a:gd name="connsiteX163" fmla="*/ 682838 w 914276"/>
                <a:gd name="connsiteY163" fmla="*/ 32431 h 260919"/>
                <a:gd name="connsiteX164" fmla="*/ 655883 w 914276"/>
                <a:gd name="connsiteY164" fmla="*/ 36221 h 260919"/>
                <a:gd name="connsiteX165" fmla="*/ 617556 w 914276"/>
                <a:gd name="connsiteY165" fmla="*/ 42539 h 260919"/>
                <a:gd name="connsiteX166" fmla="*/ 630402 w 914276"/>
                <a:gd name="connsiteY166" fmla="*/ 44434 h 260919"/>
                <a:gd name="connsiteX167" fmla="*/ 591443 w 914276"/>
                <a:gd name="connsiteY167" fmla="*/ 48646 h 260919"/>
                <a:gd name="connsiteX168" fmla="*/ 547640 w 914276"/>
                <a:gd name="connsiteY168" fmla="*/ 58333 h 260919"/>
                <a:gd name="connsiteX169" fmla="*/ 574174 w 914276"/>
                <a:gd name="connsiteY169" fmla="*/ 56859 h 260919"/>
                <a:gd name="connsiteX170" fmla="*/ 539638 w 914276"/>
                <a:gd name="connsiteY170" fmla="*/ 61071 h 260919"/>
                <a:gd name="connsiteX171" fmla="*/ 516052 w 914276"/>
                <a:gd name="connsiteY171" fmla="*/ 63387 h 260919"/>
                <a:gd name="connsiteX172" fmla="*/ 475197 w 914276"/>
                <a:gd name="connsiteY172" fmla="*/ 72021 h 260919"/>
                <a:gd name="connsiteX173" fmla="*/ 439608 w 914276"/>
                <a:gd name="connsiteY173" fmla="*/ 80234 h 260919"/>
                <a:gd name="connsiteX174" fmla="*/ 453507 w 914276"/>
                <a:gd name="connsiteY174" fmla="*/ 80656 h 260919"/>
                <a:gd name="connsiteX175" fmla="*/ 477514 w 914276"/>
                <a:gd name="connsiteY175" fmla="*/ 78339 h 260919"/>
                <a:gd name="connsiteX176" fmla="*/ 451611 w 914276"/>
                <a:gd name="connsiteY176" fmla="*/ 82551 h 260919"/>
                <a:gd name="connsiteX177" fmla="*/ 426551 w 914276"/>
                <a:gd name="connsiteY177" fmla="*/ 84867 h 260919"/>
                <a:gd name="connsiteX178" fmla="*/ 403597 w 914276"/>
                <a:gd name="connsiteY178" fmla="*/ 91185 h 260919"/>
                <a:gd name="connsiteX179" fmla="*/ 393068 w 914276"/>
                <a:gd name="connsiteY179" fmla="*/ 93080 h 260919"/>
                <a:gd name="connsiteX180" fmla="*/ 376852 w 914276"/>
                <a:gd name="connsiteY180" fmla="*/ 95397 h 260919"/>
                <a:gd name="connsiteX181" fmla="*/ 350950 w 914276"/>
                <a:gd name="connsiteY181" fmla="*/ 101083 h 260919"/>
                <a:gd name="connsiteX182" fmla="*/ 357268 w 914276"/>
                <a:gd name="connsiteY182" fmla="*/ 102978 h 260919"/>
                <a:gd name="connsiteX183" fmla="*/ 339999 w 914276"/>
                <a:gd name="connsiteY183" fmla="*/ 103820 h 260919"/>
                <a:gd name="connsiteX184" fmla="*/ 315992 w 914276"/>
                <a:gd name="connsiteY184" fmla="*/ 109506 h 260919"/>
                <a:gd name="connsiteX185" fmla="*/ 306937 w 914276"/>
                <a:gd name="connsiteY185" fmla="*/ 111823 h 260919"/>
                <a:gd name="connsiteX186" fmla="*/ 325679 w 914276"/>
                <a:gd name="connsiteY186" fmla="*/ 110980 h 260919"/>
                <a:gd name="connsiteX187" fmla="*/ 315150 w 914276"/>
                <a:gd name="connsiteY187" fmla="*/ 112876 h 260919"/>
                <a:gd name="connsiteX188" fmla="*/ 289247 w 914276"/>
                <a:gd name="connsiteY188" fmla="*/ 117719 h 260919"/>
                <a:gd name="connsiteX189" fmla="*/ 276191 w 914276"/>
                <a:gd name="connsiteY189" fmla="*/ 124037 h 260919"/>
                <a:gd name="connsiteX190" fmla="*/ 305463 w 914276"/>
                <a:gd name="connsiteY190" fmla="*/ 119825 h 260919"/>
                <a:gd name="connsiteX191" fmla="*/ 319993 w 914276"/>
                <a:gd name="connsiteY191" fmla="*/ 118772 h 260919"/>
                <a:gd name="connsiteX192" fmla="*/ 282930 w 914276"/>
                <a:gd name="connsiteY192" fmla="*/ 126985 h 260919"/>
                <a:gd name="connsiteX193" fmla="*/ 255553 w 914276"/>
                <a:gd name="connsiteY193" fmla="*/ 131408 h 260919"/>
                <a:gd name="connsiteX194" fmla="*/ 209855 w 914276"/>
                <a:gd name="connsiteY194" fmla="*/ 138568 h 260919"/>
                <a:gd name="connsiteX195" fmla="*/ 189217 w 914276"/>
                <a:gd name="connsiteY195" fmla="*/ 143832 h 260919"/>
                <a:gd name="connsiteX196" fmla="*/ 192587 w 914276"/>
                <a:gd name="connsiteY196" fmla="*/ 144254 h 260919"/>
                <a:gd name="connsiteX197" fmla="*/ 175319 w 914276"/>
                <a:gd name="connsiteY197" fmla="*/ 149097 h 260919"/>
                <a:gd name="connsiteX198" fmla="*/ 158471 w 914276"/>
                <a:gd name="connsiteY198" fmla="*/ 153941 h 260919"/>
                <a:gd name="connsiteX199" fmla="*/ 179109 w 914276"/>
                <a:gd name="connsiteY199" fmla="*/ 150992 h 260919"/>
                <a:gd name="connsiteX200" fmla="*/ 199326 w 914276"/>
                <a:gd name="connsiteY200" fmla="*/ 148044 h 260919"/>
                <a:gd name="connsiteX201" fmla="*/ 164368 w 914276"/>
                <a:gd name="connsiteY201" fmla="*/ 155204 h 260919"/>
                <a:gd name="connsiteX202" fmla="*/ 148363 w 914276"/>
                <a:gd name="connsiteY202" fmla="*/ 158363 h 260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Lst>
              <a:rect l="l" t="t" r="r" b="b"/>
              <a:pathLst>
                <a:path w="914276" h="260919">
                  <a:moveTo>
                    <a:pt x="148363" y="158363"/>
                  </a:moveTo>
                  <a:cubicBezTo>
                    <a:pt x="141624" y="158363"/>
                    <a:pt x="139729" y="163207"/>
                    <a:pt x="132990" y="163207"/>
                  </a:cubicBezTo>
                  <a:cubicBezTo>
                    <a:pt x="126251" y="163207"/>
                    <a:pt x="116143" y="166155"/>
                    <a:pt x="109404" y="166155"/>
                  </a:cubicBezTo>
                  <a:cubicBezTo>
                    <a:pt x="102244" y="166155"/>
                    <a:pt x="88766" y="174789"/>
                    <a:pt x="82870" y="174789"/>
                  </a:cubicBezTo>
                  <a:cubicBezTo>
                    <a:pt x="89187" y="174789"/>
                    <a:pt x="76552" y="179633"/>
                    <a:pt x="68550" y="179633"/>
                  </a:cubicBezTo>
                  <a:cubicBezTo>
                    <a:pt x="60337" y="179633"/>
                    <a:pt x="43068" y="187845"/>
                    <a:pt x="33381" y="187845"/>
                  </a:cubicBezTo>
                  <a:cubicBezTo>
                    <a:pt x="23694" y="187845"/>
                    <a:pt x="-4946" y="199007"/>
                    <a:pt x="740" y="199007"/>
                  </a:cubicBezTo>
                  <a:cubicBezTo>
                    <a:pt x="6005" y="199007"/>
                    <a:pt x="32539" y="194163"/>
                    <a:pt x="26221" y="194163"/>
                  </a:cubicBezTo>
                  <a:cubicBezTo>
                    <a:pt x="32960" y="194163"/>
                    <a:pt x="49386" y="185529"/>
                    <a:pt x="54440" y="185529"/>
                  </a:cubicBezTo>
                  <a:cubicBezTo>
                    <a:pt x="59284" y="185529"/>
                    <a:pt x="34224" y="193742"/>
                    <a:pt x="32328" y="193742"/>
                  </a:cubicBezTo>
                  <a:cubicBezTo>
                    <a:pt x="34224" y="193742"/>
                    <a:pt x="42016" y="196690"/>
                    <a:pt x="47701" y="190794"/>
                  </a:cubicBezTo>
                  <a:cubicBezTo>
                    <a:pt x="56336" y="190794"/>
                    <a:pt x="63495" y="183634"/>
                    <a:pt x="73183" y="183634"/>
                  </a:cubicBezTo>
                  <a:cubicBezTo>
                    <a:pt x="77605" y="175000"/>
                    <a:pt x="83712" y="184687"/>
                    <a:pt x="76973" y="184687"/>
                  </a:cubicBezTo>
                  <a:cubicBezTo>
                    <a:pt x="69813" y="184687"/>
                    <a:pt x="45385" y="194374"/>
                    <a:pt x="42016" y="194374"/>
                  </a:cubicBezTo>
                  <a:cubicBezTo>
                    <a:pt x="44964" y="194374"/>
                    <a:pt x="52124" y="192478"/>
                    <a:pt x="59284" y="192478"/>
                  </a:cubicBezTo>
                  <a:cubicBezTo>
                    <a:pt x="67497" y="192478"/>
                    <a:pt x="86239" y="187214"/>
                    <a:pt x="84344" y="187214"/>
                  </a:cubicBezTo>
                  <a:cubicBezTo>
                    <a:pt x="85818" y="187214"/>
                    <a:pt x="72761" y="191425"/>
                    <a:pt x="71287" y="191425"/>
                  </a:cubicBezTo>
                  <a:cubicBezTo>
                    <a:pt x="72761" y="191425"/>
                    <a:pt x="84765" y="189530"/>
                    <a:pt x="91925" y="189530"/>
                  </a:cubicBezTo>
                  <a:cubicBezTo>
                    <a:pt x="98664" y="189530"/>
                    <a:pt x="130463" y="180896"/>
                    <a:pt x="127093" y="180896"/>
                  </a:cubicBezTo>
                  <a:cubicBezTo>
                    <a:pt x="130884" y="180896"/>
                    <a:pt x="143309" y="172262"/>
                    <a:pt x="152154" y="172262"/>
                  </a:cubicBezTo>
                  <a:cubicBezTo>
                    <a:pt x="160367" y="172262"/>
                    <a:pt x="165210" y="172683"/>
                    <a:pt x="157418" y="172683"/>
                  </a:cubicBezTo>
                  <a:cubicBezTo>
                    <a:pt x="165210" y="172683"/>
                    <a:pt x="136359" y="179422"/>
                    <a:pt x="143098" y="179422"/>
                  </a:cubicBezTo>
                  <a:cubicBezTo>
                    <a:pt x="146468" y="173315"/>
                    <a:pt x="170475" y="170367"/>
                    <a:pt x="181004" y="170367"/>
                  </a:cubicBezTo>
                  <a:cubicBezTo>
                    <a:pt x="191113" y="170367"/>
                    <a:pt x="211329" y="160680"/>
                    <a:pt x="220385" y="160680"/>
                  </a:cubicBezTo>
                  <a:cubicBezTo>
                    <a:pt x="230493" y="160680"/>
                    <a:pt x="241654" y="154994"/>
                    <a:pt x="238074" y="154994"/>
                  </a:cubicBezTo>
                  <a:cubicBezTo>
                    <a:pt x="241444" y="154994"/>
                    <a:pt x="251552" y="153941"/>
                    <a:pt x="247761" y="153941"/>
                  </a:cubicBezTo>
                  <a:cubicBezTo>
                    <a:pt x="251130" y="153941"/>
                    <a:pt x="279981" y="149518"/>
                    <a:pt x="274716" y="149518"/>
                  </a:cubicBezTo>
                  <a:cubicBezTo>
                    <a:pt x="280402" y="149518"/>
                    <a:pt x="302093" y="140463"/>
                    <a:pt x="310306" y="140463"/>
                  </a:cubicBezTo>
                  <a:cubicBezTo>
                    <a:pt x="319361" y="140463"/>
                    <a:pt x="348633" y="125090"/>
                    <a:pt x="359373" y="125090"/>
                  </a:cubicBezTo>
                  <a:cubicBezTo>
                    <a:pt x="369903" y="125090"/>
                    <a:pt x="377695" y="115403"/>
                    <a:pt x="387171" y="115403"/>
                  </a:cubicBezTo>
                  <a:cubicBezTo>
                    <a:pt x="396226" y="115403"/>
                    <a:pt x="438976" y="101925"/>
                    <a:pt x="436659" y="101925"/>
                  </a:cubicBezTo>
                  <a:cubicBezTo>
                    <a:pt x="439608" y="101925"/>
                    <a:pt x="422340" y="107611"/>
                    <a:pt x="418970" y="107611"/>
                  </a:cubicBezTo>
                  <a:cubicBezTo>
                    <a:pt x="422340" y="107611"/>
                    <a:pt x="377273" y="121510"/>
                    <a:pt x="376220" y="121510"/>
                  </a:cubicBezTo>
                  <a:cubicBezTo>
                    <a:pt x="377695" y="121510"/>
                    <a:pt x="393489" y="117088"/>
                    <a:pt x="400649" y="117088"/>
                  </a:cubicBezTo>
                  <a:cubicBezTo>
                    <a:pt x="405914" y="112244"/>
                    <a:pt x="450558" y="106979"/>
                    <a:pt x="444451" y="106979"/>
                  </a:cubicBezTo>
                  <a:cubicBezTo>
                    <a:pt x="450558" y="106979"/>
                    <a:pt x="472670" y="101293"/>
                    <a:pt x="471407" y="101293"/>
                  </a:cubicBezTo>
                  <a:cubicBezTo>
                    <a:pt x="473302" y="101293"/>
                    <a:pt x="384012" y="124458"/>
                    <a:pt x="377273" y="124458"/>
                  </a:cubicBezTo>
                  <a:cubicBezTo>
                    <a:pt x="371166" y="124458"/>
                    <a:pt x="351371" y="132039"/>
                    <a:pt x="348844" y="132039"/>
                  </a:cubicBezTo>
                  <a:cubicBezTo>
                    <a:pt x="351160" y="132039"/>
                    <a:pt x="331997" y="139199"/>
                    <a:pt x="323784" y="139199"/>
                  </a:cubicBezTo>
                  <a:cubicBezTo>
                    <a:pt x="320414" y="146781"/>
                    <a:pt x="290300" y="149729"/>
                    <a:pt x="281455" y="149729"/>
                  </a:cubicBezTo>
                  <a:cubicBezTo>
                    <a:pt x="277665" y="156889"/>
                    <a:pt x="254921" y="156468"/>
                    <a:pt x="252605" y="156468"/>
                  </a:cubicBezTo>
                  <a:cubicBezTo>
                    <a:pt x="255553" y="156468"/>
                    <a:pt x="274716" y="156468"/>
                    <a:pt x="269873" y="156468"/>
                  </a:cubicBezTo>
                  <a:cubicBezTo>
                    <a:pt x="274085" y="156468"/>
                    <a:pt x="286088" y="159416"/>
                    <a:pt x="288615" y="154572"/>
                  </a:cubicBezTo>
                  <a:cubicBezTo>
                    <a:pt x="293880" y="154572"/>
                    <a:pt x="305463" y="154151"/>
                    <a:pt x="300619" y="154151"/>
                  </a:cubicBezTo>
                  <a:cubicBezTo>
                    <a:pt x="305884" y="154151"/>
                    <a:pt x="280402" y="158574"/>
                    <a:pt x="278507" y="158574"/>
                  </a:cubicBezTo>
                  <a:cubicBezTo>
                    <a:pt x="280402" y="158574"/>
                    <a:pt x="266082" y="158574"/>
                    <a:pt x="263555" y="158574"/>
                  </a:cubicBezTo>
                  <a:cubicBezTo>
                    <a:pt x="265872" y="158574"/>
                    <a:pt x="241864" y="164681"/>
                    <a:pt x="235758" y="164681"/>
                  </a:cubicBezTo>
                  <a:cubicBezTo>
                    <a:pt x="232809" y="169945"/>
                    <a:pt x="221859" y="166155"/>
                    <a:pt x="213224" y="166155"/>
                  </a:cubicBezTo>
                  <a:cubicBezTo>
                    <a:pt x="204590" y="166155"/>
                    <a:pt x="179109" y="176263"/>
                    <a:pt x="170054" y="176263"/>
                  </a:cubicBezTo>
                  <a:cubicBezTo>
                    <a:pt x="166263" y="183844"/>
                    <a:pt x="148995" y="182581"/>
                    <a:pt x="143098" y="182581"/>
                  </a:cubicBezTo>
                  <a:cubicBezTo>
                    <a:pt x="148784" y="182581"/>
                    <a:pt x="137202" y="187424"/>
                    <a:pt x="144994" y="187424"/>
                  </a:cubicBezTo>
                  <a:cubicBezTo>
                    <a:pt x="152154" y="187424"/>
                    <a:pt x="159314" y="183634"/>
                    <a:pt x="167948" y="183634"/>
                  </a:cubicBezTo>
                  <a:cubicBezTo>
                    <a:pt x="171317" y="175842"/>
                    <a:pt x="187112" y="182160"/>
                    <a:pt x="183321" y="182160"/>
                  </a:cubicBezTo>
                  <a:cubicBezTo>
                    <a:pt x="187112" y="182160"/>
                    <a:pt x="200589" y="182581"/>
                    <a:pt x="195324" y="182581"/>
                  </a:cubicBezTo>
                  <a:cubicBezTo>
                    <a:pt x="200589" y="182581"/>
                    <a:pt x="202063" y="185529"/>
                    <a:pt x="194271" y="185529"/>
                  </a:cubicBezTo>
                  <a:cubicBezTo>
                    <a:pt x="186690" y="185529"/>
                    <a:pt x="182689" y="190794"/>
                    <a:pt x="179319" y="190794"/>
                  </a:cubicBezTo>
                  <a:cubicBezTo>
                    <a:pt x="182268" y="190794"/>
                    <a:pt x="172160" y="193110"/>
                    <a:pt x="169633" y="193110"/>
                  </a:cubicBezTo>
                  <a:cubicBezTo>
                    <a:pt x="172581" y="193110"/>
                    <a:pt x="151311" y="199007"/>
                    <a:pt x="144994" y="199007"/>
                  </a:cubicBezTo>
                  <a:cubicBezTo>
                    <a:pt x="150890" y="199007"/>
                    <a:pt x="137412" y="204271"/>
                    <a:pt x="129199" y="204271"/>
                  </a:cubicBezTo>
                  <a:cubicBezTo>
                    <a:pt x="120987" y="204271"/>
                    <a:pt x="119512" y="209536"/>
                    <a:pt x="115722" y="209536"/>
                  </a:cubicBezTo>
                  <a:cubicBezTo>
                    <a:pt x="120565" y="209536"/>
                    <a:pt x="102876" y="216275"/>
                    <a:pt x="98453" y="216275"/>
                  </a:cubicBezTo>
                  <a:cubicBezTo>
                    <a:pt x="103297" y="216275"/>
                    <a:pt x="91293" y="221119"/>
                    <a:pt x="98453" y="221119"/>
                  </a:cubicBezTo>
                  <a:cubicBezTo>
                    <a:pt x="105192" y="221119"/>
                    <a:pt x="118670" y="215433"/>
                    <a:pt x="125830" y="215433"/>
                  </a:cubicBezTo>
                  <a:cubicBezTo>
                    <a:pt x="133411" y="215433"/>
                    <a:pt x="148363" y="212484"/>
                    <a:pt x="143519" y="212484"/>
                  </a:cubicBezTo>
                  <a:cubicBezTo>
                    <a:pt x="148784" y="212484"/>
                    <a:pt x="173213" y="204271"/>
                    <a:pt x="167106" y="204271"/>
                  </a:cubicBezTo>
                  <a:cubicBezTo>
                    <a:pt x="173423" y="204271"/>
                    <a:pt x="169422" y="207220"/>
                    <a:pt x="164157" y="207220"/>
                  </a:cubicBezTo>
                  <a:cubicBezTo>
                    <a:pt x="169422" y="207220"/>
                    <a:pt x="151101" y="212063"/>
                    <a:pt x="149205" y="212063"/>
                  </a:cubicBezTo>
                  <a:cubicBezTo>
                    <a:pt x="151101" y="212063"/>
                    <a:pt x="161209" y="212063"/>
                    <a:pt x="159735" y="212063"/>
                  </a:cubicBezTo>
                  <a:cubicBezTo>
                    <a:pt x="161209" y="212063"/>
                    <a:pt x="152996" y="218381"/>
                    <a:pt x="150048" y="218381"/>
                  </a:cubicBezTo>
                  <a:cubicBezTo>
                    <a:pt x="152996" y="218381"/>
                    <a:pt x="142466" y="218381"/>
                    <a:pt x="136570" y="218381"/>
                  </a:cubicBezTo>
                  <a:cubicBezTo>
                    <a:pt x="130884" y="218381"/>
                    <a:pt x="116354" y="214590"/>
                    <a:pt x="108141" y="222593"/>
                  </a:cubicBezTo>
                  <a:cubicBezTo>
                    <a:pt x="97611" y="222593"/>
                    <a:pt x="83712" y="229753"/>
                    <a:pt x="76973" y="229753"/>
                  </a:cubicBezTo>
                  <a:cubicBezTo>
                    <a:pt x="83291" y="229753"/>
                    <a:pt x="78869" y="233543"/>
                    <a:pt x="75078" y="233543"/>
                  </a:cubicBezTo>
                  <a:cubicBezTo>
                    <a:pt x="78869" y="233543"/>
                    <a:pt x="90872" y="235439"/>
                    <a:pt x="85607" y="235439"/>
                  </a:cubicBezTo>
                  <a:cubicBezTo>
                    <a:pt x="90451" y="235439"/>
                    <a:pt x="94242" y="237334"/>
                    <a:pt x="86029" y="237334"/>
                  </a:cubicBezTo>
                  <a:cubicBezTo>
                    <a:pt x="93610" y="237334"/>
                    <a:pt x="70656" y="243020"/>
                    <a:pt x="61600" y="243020"/>
                  </a:cubicBezTo>
                  <a:cubicBezTo>
                    <a:pt x="51913" y="243020"/>
                    <a:pt x="48123" y="250812"/>
                    <a:pt x="40963" y="250812"/>
                  </a:cubicBezTo>
                  <a:cubicBezTo>
                    <a:pt x="47280" y="250812"/>
                    <a:pt x="27906" y="255655"/>
                    <a:pt x="25168" y="255655"/>
                  </a:cubicBezTo>
                  <a:cubicBezTo>
                    <a:pt x="27485" y="255655"/>
                    <a:pt x="27064" y="259025"/>
                    <a:pt x="24115" y="259025"/>
                  </a:cubicBezTo>
                  <a:cubicBezTo>
                    <a:pt x="27906" y="259025"/>
                    <a:pt x="29801" y="260920"/>
                    <a:pt x="24537" y="260920"/>
                  </a:cubicBezTo>
                  <a:cubicBezTo>
                    <a:pt x="29801" y="260920"/>
                    <a:pt x="33171" y="258182"/>
                    <a:pt x="42226" y="258182"/>
                  </a:cubicBezTo>
                  <a:cubicBezTo>
                    <a:pt x="49807" y="258182"/>
                    <a:pt x="54651" y="254392"/>
                    <a:pt x="52756" y="254392"/>
                  </a:cubicBezTo>
                  <a:cubicBezTo>
                    <a:pt x="55072" y="254392"/>
                    <a:pt x="63706" y="254392"/>
                    <a:pt x="60337" y="254392"/>
                  </a:cubicBezTo>
                  <a:cubicBezTo>
                    <a:pt x="68550" y="246179"/>
                    <a:pt x="82449" y="250601"/>
                    <a:pt x="77184" y="250601"/>
                  </a:cubicBezTo>
                  <a:cubicBezTo>
                    <a:pt x="82449" y="250601"/>
                    <a:pt x="94031" y="246389"/>
                    <a:pt x="88766" y="246389"/>
                  </a:cubicBezTo>
                  <a:cubicBezTo>
                    <a:pt x="92978" y="246389"/>
                    <a:pt x="100770" y="245968"/>
                    <a:pt x="97400" y="245968"/>
                  </a:cubicBezTo>
                  <a:cubicBezTo>
                    <a:pt x="100349" y="245968"/>
                    <a:pt x="117196" y="241125"/>
                    <a:pt x="112352" y="241125"/>
                  </a:cubicBezTo>
                  <a:cubicBezTo>
                    <a:pt x="116143" y="241125"/>
                    <a:pt x="110457" y="241546"/>
                    <a:pt x="118670" y="241546"/>
                  </a:cubicBezTo>
                  <a:cubicBezTo>
                    <a:pt x="126883" y="241546"/>
                    <a:pt x="130673" y="237334"/>
                    <a:pt x="140782" y="237334"/>
                  </a:cubicBezTo>
                  <a:cubicBezTo>
                    <a:pt x="150469" y="237334"/>
                    <a:pt x="173423" y="231016"/>
                    <a:pt x="170896" y="231016"/>
                  </a:cubicBezTo>
                  <a:cubicBezTo>
                    <a:pt x="173213" y="231016"/>
                    <a:pt x="182057" y="227226"/>
                    <a:pt x="177635" y="227226"/>
                  </a:cubicBezTo>
                  <a:cubicBezTo>
                    <a:pt x="181426" y="227226"/>
                    <a:pt x="196798" y="223435"/>
                    <a:pt x="193008" y="223435"/>
                  </a:cubicBezTo>
                  <a:cubicBezTo>
                    <a:pt x="196377" y="223435"/>
                    <a:pt x="210697" y="220908"/>
                    <a:pt x="206486" y="220908"/>
                  </a:cubicBezTo>
                  <a:cubicBezTo>
                    <a:pt x="210908" y="220908"/>
                    <a:pt x="217647" y="219013"/>
                    <a:pt x="214699" y="219013"/>
                  </a:cubicBezTo>
                  <a:cubicBezTo>
                    <a:pt x="217015" y="219013"/>
                    <a:pt x="232388" y="217117"/>
                    <a:pt x="226281" y="217117"/>
                  </a:cubicBezTo>
                  <a:cubicBezTo>
                    <a:pt x="232388" y="217117"/>
                    <a:pt x="246497" y="212695"/>
                    <a:pt x="242075" y="212695"/>
                  </a:cubicBezTo>
                  <a:cubicBezTo>
                    <a:pt x="245866" y="212695"/>
                    <a:pt x="257869" y="209326"/>
                    <a:pt x="254079" y="209326"/>
                  </a:cubicBezTo>
                  <a:cubicBezTo>
                    <a:pt x="257869" y="209326"/>
                    <a:pt x="273874" y="205956"/>
                    <a:pt x="269031" y="205956"/>
                  </a:cubicBezTo>
                  <a:cubicBezTo>
                    <a:pt x="273874" y="205956"/>
                    <a:pt x="275769" y="207851"/>
                    <a:pt x="272400" y="207851"/>
                  </a:cubicBezTo>
                  <a:cubicBezTo>
                    <a:pt x="276191" y="207851"/>
                    <a:pt x="272821" y="211221"/>
                    <a:pt x="268609" y="211221"/>
                  </a:cubicBezTo>
                  <a:cubicBezTo>
                    <a:pt x="273453" y="211221"/>
                    <a:pt x="279771" y="205956"/>
                    <a:pt x="288826" y="205956"/>
                  </a:cubicBezTo>
                  <a:cubicBezTo>
                    <a:pt x="297460" y="205956"/>
                    <a:pt x="317677" y="199638"/>
                    <a:pt x="311991" y="199638"/>
                  </a:cubicBezTo>
                  <a:cubicBezTo>
                    <a:pt x="316834" y="199638"/>
                    <a:pt x="340842" y="192057"/>
                    <a:pt x="334945" y="192057"/>
                  </a:cubicBezTo>
                  <a:cubicBezTo>
                    <a:pt x="341263" y="192057"/>
                    <a:pt x="348423" y="188267"/>
                    <a:pt x="345474" y="188267"/>
                  </a:cubicBezTo>
                  <a:cubicBezTo>
                    <a:pt x="348844" y="188267"/>
                    <a:pt x="363164" y="187845"/>
                    <a:pt x="358531" y="187845"/>
                  </a:cubicBezTo>
                  <a:cubicBezTo>
                    <a:pt x="363796" y="187845"/>
                    <a:pt x="374957" y="182160"/>
                    <a:pt x="369061" y="182160"/>
                  </a:cubicBezTo>
                  <a:cubicBezTo>
                    <a:pt x="373904" y="182160"/>
                    <a:pt x="381064" y="176474"/>
                    <a:pt x="376852" y="176474"/>
                  </a:cubicBezTo>
                  <a:cubicBezTo>
                    <a:pt x="380643" y="176474"/>
                    <a:pt x="364428" y="177948"/>
                    <a:pt x="361901" y="177948"/>
                  </a:cubicBezTo>
                  <a:cubicBezTo>
                    <a:pt x="364217" y="177948"/>
                    <a:pt x="348423" y="183634"/>
                    <a:pt x="345053" y="183634"/>
                  </a:cubicBezTo>
                  <a:cubicBezTo>
                    <a:pt x="348844" y="183634"/>
                    <a:pt x="333471" y="185529"/>
                    <a:pt x="330733" y="185529"/>
                  </a:cubicBezTo>
                  <a:cubicBezTo>
                    <a:pt x="334103" y="185529"/>
                    <a:pt x="343790" y="181107"/>
                    <a:pt x="342737" y="181107"/>
                  </a:cubicBezTo>
                  <a:cubicBezTo>
                    <a:pt x="345053" y="181107"/>
                    <a:pt x="291774" y="187424"/>
                    <a:pt x="301461" y="187424"/>
                  </a:cubicBezTo>
                  <a:cubicBezTo>
                    <a:pt x="310095" y="187424"/>
                    <a:pt x="355162" y="173525"/>
                    <a:pt x="363375" y="173525"/>
                  </a:cubicBezTo>
                  <a:cubicBezTo>
                    <a:pt x="366744" y="166365"/>
                    <a:pt x="383591" y="167208"/>
                    <a:pt x="380643" y="167208"/>
                  </a:cubicBezTo>
                  <a:cubicBezTo>
                    <a:pt x="383591" y="167208"/>
                    <a:pt x="387803" y="163838"/>
                    <a:pt x="386329" y="163838"/>
                  </a:cubicBezTo>
                  <a:cubicBezTo>
                    <a:pt x="388224" y="163838"/>
                    <a:pt x="394542" y="160890"/>
                    <a:pt x="392015" y="160890"/>
                  </a:cubicBezTo>
                  <a:cubicBezTo>
                    <a:pt x="394963" y="160890"/>
                    <a:pt x="375799" y="163207"/>
                    <a:pt x="372851" y="163207"/>
                  </a:cubicBezTo>
                  <a:cubicBezTo>
                    <a:pt x="377273" y="163207"/>
                    <a:pt x="409283" y="156468"/>
                    <a:pt x="405492" y="156468"/>
                  </a:cubicBezTo>
                  <a:cubicBezTo>
                    <a:pt x="414127" y="156468"/>
                    <a:pt x="430974" y="152677"/>
                    <a:pt x="425077" y="152677"/>
                  </a:cubicBezTo>
                  <a:cubicBezTo>
                    <a:pt x="430342" y="152677"/>
                    <a:pt x="449084" y="148465"/>
                    <a:pt x="443398" y="148465"/>
                  </a:cubicBezTo>
                  <a:cubicBezTo>
                    <a:pt x="449084" y="148465"/>
                    <a:pt x="456455" y="143622"/>
                    <a:pt x="454981" y="143622"/>
                  </a:cubicBezTo>
                  <a:cubicBezTo>
                    <a:pt x="456455" y="143622"/>
                    <a:pt x="453928" y="140252"/>
                    <a:pt x="460246" y="140252"/>
                  </a:cubicBezTo>
                  <a:cubicBezTo>
                    <a:pt x="466353" y="140252"/>
                    <a:pt x="477935" y="136883"/>
                    <a:pt x="473723" y="136883"/>
                  </a:cubicBezTo>
                  <a:cubicBezTo>
                    <a:pt x="478146" y="136883"/>
                    <a:pt x="461298" y="134988"/>
                    <a:pt x="469511" y="134988"/>
                  </a:cubicBezTo>
                  <a:cubicBezTo>
                    <a:pt x="476672" y="134988"/>
                    <a:pt x="490570" y="131197"/>
                    <a:pt x="486780" y="131197"/>
                  </a:cubicBezTo>
                  <a:cubicBezTo>
                    <a:pt x="491623" y="131197"/>
                    <a:pt x="504048" y="125511"/>
                    <a:pt x="501732" y="125511"/>
                  </a:cubicBezTo>
                  <a:cubicBezTo>
                    <a:pt x="504048" y="125511"/>
                    <a:pt x="481936" y="128459"/>
                    <a:pt x="476250" y="128459"/>
                  </a:cubicBezTo>
                  <a:cubicBezTo>
                    <a:pt x="481515" y="128459"/>
                    <a:pt x="450769" y="129512"/>
                    <a:pt x="461298" y="129512"/>
                  </a:cubicBezTo>
                  <a:cubicBezTo>
                    <a:pt x="466142" y="129512"/>
                    <a:pt x="492887" y="124669"/>
                    <a:pt x="487201" y="124669"/>
                  </a:cubicBezTo>
                  <a:cubicBezTo>
                    <a:pt x="493940" y="124669"/>
                    <a:pt x="498362" y="120878"/>
                    <a:pt x="494782" y="120878"/>
                  </a:cubicBezTo>
                  <a:cubicBezTo>
                    <a:pt x="498573" y="120878"/>
                    <a:pt x="457929" y="128670"/>
                    <a:pt x="450137" y="128670"/>
                  </a:cubicBezTo>
                  <a:cubicBezTo>
                    <a:pt x="441503" y="128670"/>
                    <a:pt x="464036" y="125301"/>
                    <a:pt x="459193" y="125301"/>
                  </a:cubicBezTo>
                  <a:cubicBezTo>
                    <a:pt x="464036" y="125301"/>
                    <a:pt x="486148" y="117930"/>
                    <a:pt x="498151" y="117930"/>
                  </a:cubicBezTo>
                  <a:cubicBezTo>
                    <a:pt x="503416" y="106979"/>
                    <a:pt x="517315" y="110349"/>
                    <a:pt x="525528" y="110349"/>
                  </a:cubicBezTo>
                  <a:cubicBezTo>
                    <a:pt x="529319" y="103189"/>
                    <a:pt x="539006" y="104031"/>
                    <a:pt x="545324" y="104031"/>
                  </a:cubicBezTo>
                  <a:cubicBezTo>
                    <a:pt x="552063" y="104031"/>
                    <a:pt x="576491" y="95397"/>
                    <a:pt x="586178" y="95397"/>
                  </a:cubicBezTo>
                  <a:cubicBezTo>
                    <a:pt x="593970" y="95397"/>
                    <a:pt x="615450" y="88658"/>
                    <a:pt x="610185" y="88658"/>
                  </a:cubicBezTo>
                  <a:cubicBezTo>
                    <a:pt x="615028" y="88658"/>
                    <a:pt x="639036" y="78971"/>
                    <a:pt x="632718" y="78971"/>
                  </a:cubicBezTo>
                  <a:cubicBezTo>
                    <a:pt x="639036" y="78971"/>
                    <a:pt x="660726" y="72864"/>
                    <a:pt x="655251" y="72864"/>
                  </a:cubicBezTo>
                  <a:cubicBezTo>
                    <a:pt x="660095" y="72864"/>
                    <a:pt x="669782" y="65704"/>
                    <a:pt x="676942" y="65704"/>
                  </a:cubicBezTo>
                  <a:cubicBezTo>
                    <a:pt x="683681" y="65704"/>
                    <a:pt x="700949" y="56438"/>
                    <a:pt x="710004" y="56438"/>
                  </a:cubicBezTo>
                  <a:cubicBezTo>
                    <a:pt x="718638" y="56438"/>
                    <a:pt x="735064" y="46751"/>
                    <a:pt x="742645" y="46751"/>
                  </a:cubicBezTo>
                  <a:cubicBezTo>
                    <a:pt x="750437" y="46751"/>
                    <a:pt x="764336" y="40012"/>
                    <a:pt x="770443" y="40012"/>
                  </a:cubicBezTo>
                  <a:cubicBezTo>
                    <a:pt x="776761" y="40012"/>
                    <a:pt x="809403" y="30957"/>
                    <a:pt x="804559" y="30957"/>
                  </a:cubicBezTo>
                  <a:cubicBezTo>
                    <a:pt x="809403" y="30957"/>
                    <a:pt x="796977" y="31378"/>
                    <a:pt x="790028" y="31378"/>
                  </a:cubicBezTo>
                  <a:cubicBezTo>
                    <a:pt x="782868" y="31378"/>
                    <a:pt x="752122" y="41065"/>
                    <a:pt x="748753" y="41065"/>
                  </a:cubicBezTo>
                  <a:cubicBezTo>
                    <a:pt x="752543" y="41065"/>
                    <a:pt x="733801" y="45487"/>
                    <a:pt x="725167" y="45487"/>
                  </a:cubicBezTo>
                  <a:cubicBezTo>
                    <a:pt x="716954" y="45487"/>
                    <a:pt x="716111" y="44013"/>
                    <a:pt x="722218" y="44013"/>
                  </a:cubicBezTo>
                  <a:cubicBezTo>
                    <a:pt x="727062" y="39170"/>
                    <a:pt x="743488" y="38327"/>
                    <a:pt x="754017" y="38327"/>
                  </a:cubicBezTo>
                  <a:cubicBezTo>
                    <a:pt x="764968" y="38327"/>
                    <a:pt x="772128" y="31588"/>
                    <a:pt x="781394" y="31588"/>
                  </a:cubicBezTo>
                  <a:cubicBezTo>
                    <a:pt x="790449" y="31588"/>
                    <a:pt x="802453" y="25481"/>
                    <a:pt x="813614" y="25481"/>
                  </a:cubicBezTo>
                  <a:cubicBezTo>
                    <a:pt x="824565" y="25481"/>
                    <a:pt x="851520" y="14952"/>
                    <a:pt x="860154" y="14952"/>
                  </a:cubicBezTo>
                  <a:cubicBezTo>
                    <a:pt x="868367" y="14952"/>
                    <a:pt x="889426" y="6739"/>
                    <a:pt x="885214" y="6739"/>
                  </a:cubicBezTo>
                  <a:cubicBezTo>
                    <a:pt x="889637" y="6739"/>
                    <a:pt x="917856" y="0"/>
                    <a:pt x="913644" y="0"/>
                  </a:cubicBezTo>
                  <a:cubicBezTo>
                    <a:pt x="918066" y="0"/>
                    <a:pt x="898271" y="2316"/>
                    <a:pt x="885846" y="2316"/>
                  </a:cubicBezTo>
                  <a:cubicBezTo>
                    <a:pt x="880581" y="13478"/>
                    <a:pt x="858891" y="7581"/>
                    <a:pt x="853626" y="7581"/>
                  </a:cubicBezTo>
                  <a:cubicBezTo>
                    <a:pt x="858469" y="7581"/>
                    <a:pt x="844992" y="6528"/>
                    <a:pt x="837832" y="6528"/>
                  </a:cubicBezTo>
                  <a:cubicBezTo>
                    <a:pt x="831093" y="6528"/>
                    <a:pt x="822038" y="842"/>
                    <a:pt x="817615" y="9477"/>
                  </a:cubicBezTo>
                  <a:cubicBezTo>
                    <a:pt x="807507" y="9477"/>
                    <a:pt x="812351" y="12846"/>
                    <a:pt x="795504" y="12846"/>
                  </a:cubicBezTo>
                  <a:cubicBezTo>
                    <a:pt x="779078" y="12846"/>
                    <a:pt x="774445" y="21059"/>
                    <a:pt x="763283" y="21059"/>
                  </a:cubicBezTo>
                  <a:cubicBezTo>
                    <a:pt x="753175" y="21059"/>
                    <a:pt x="684944" y="37906"/>
                    <a:pt x="683049" y="37906"/>
                  </a:cubicBezTo>
                  <a:cubicBezTo>
                    <a:pt x="687892" y="37906"/>
                    <a:pt x="725377" y="22954"/>
                    <a:pt x="746858" y="22954"/>
                  </a:cubicBezTo>
                  <a:cubicBezTo>
                    <a:pt x="755913" y="22954"/>
                    <a:pt x="751701" y="21901"/>
                    <a:pt x="739065" y="21901"/>
                  </a:cubicBezTo>
                  <a:cubicBezTo>
                    <a:pt x="727483" y="21901"/>
                    <a:pt x="692525" y="32431"/>
                    <a:pt x="682838" y="32431"/>
                  </a:cubicBezTo>
                  <a:cubicBezTo>
                    <a:pt x="672730" y="32431"/>
                    <a:pt x="661779" y="36221"/>
                    <a:pt x="655883" y="36221"/>
                  </a:cubicBezTo>
                  <a:cubicBezTo>
                    <a:pt x="650197" y="36221"/>
                    <a:pt x="625137" y="42539"/>
                    <a:pt x="617556" y="42539"/>
                  </a:cubicBezTo>
                  <a:cubicBezTo>
                    <a:pt x="603657" y="42539"/>
                    <a:pt x="634403" y="44434"/>
                    <a:pt x="630402" y="44434"/>
                  </a:cubicBezTo>
                  <a:cubicBezTo>
                    <a:pt x="635245" y="44434"/>
                    <a:pt x="596707" y="48646"/>
                    <a:pt x="591443" y="48646"/>
                  </a:cubicBezTo>
                  <a:cubicBezTo>
                    <a:pt x="581755" y="48646"/>
                    <a:pt x="550588" y="58333"/>
                    <a:pt x="547640" y="58333"/>
                  </a:cubicBezTo>
                  <a:cubicBezTo>
                    <a:pt x="550167" y="58333"/>
                    <a:pt x="579439" y="56859"/>
                    <a:pt x="574174" y="56859"/>
                  </a:cubicBezTo>
                  <a:cubicBezTo>
                    <a:pt x="579018" y="56859"/>
                    <a:pt x="545324" y="61071"/>
                    <a:pt x="539638" y="61071"/>
                  </a:cubicBezTo>
                  <a:cubicBezTo>
                    <a:pt x="533952" y="61071"/>
                    <a:pt x="528055" y="63387"/>
                    <a:pt x="516052" y="63387"/>
                  </a:cubicBezTo>
                  <a:cubicBezTo>
                    <a:pt x="500257" y="63387"/>
                    <a:pt x="481936" y="72021"/>
                    <a:pt x="475197" y="72021"/>
                  </a:cubicBezTo>
                  <a:cubicBezTo>
                    <a:pt x="471828" y="78339"/>
                    <a:pt x="444030" y="80234"/>
                    <a:pt x="439608" y="80234"/>
                  </a:cubicBezTo>
                  <a:cubicBezTo>
                    <a:pt x="443398" y="80234"/>
                    <a:pt x="446768" y="80656"/>
                    <a:pt x="453507" y="80656"/>
                  </a:cubicBezTo>
                  <a:cubicBezTo>
                    <a:pt x="459193" y="80656"/>
                    <a:pt x="480883" y="78339"/>
                    <a:pt x="477514" y="78339"/>
                  </a:cubicBezTo>
                  <a:cubicBezTo>
                    <a:pt x="480462" y="78339"/>
                    <a:pt x="454981" y="82551"/>
                    <a:pt x="451611" y="82551"/>
                  </a:cubicBezTo>
                  <a:cubicBezTo>
                    <a:pt x="454560" y="82551"/>
                    <a:pt x="435817" y="84867"/>
                    <a:pt x="426551" y="84867"/>
                  </a:cubicBezTo>
                  <a:cubicBezTo>
                    <a:pt x="417496" y="84867"/>
                    <a:pt x="407388" y="91185"/>
                    <a:pt x="403597" y="91185"/>
                  </a:cubicBezTo>
                  <a:cubicBezTo>
                    <a:pt x="408019" y="91185"/>
                    <a:pt x="397911" y="93080"/>
                    <a:pt x="393068" y="93080"/>
                  </a:cubicBezTo>
                  <a:cubicBezTo>
                    <a:pt x="397279" y="93080"/>
                    <a:pt x="383380" y="95397"/>
                    <a:pt x="376852" y="95397"/>
                  </a:cubicBezTo>
                  <a:cubicBezTo>
                    <a:pt x="369692" y="95397"/>
                    <a:pt x="352213" y="101083"/>
                    <a:pt x="350950" y="101083"/>
                  </a:cubicBezTo>
                  <a:cubicBezTo>
                    <a:pt x="352003" y="101083"/>
                    <a:pt x="362953" y="102978"/>
                    <a:pt x="357268" y="102978"/>
                  </a:cubicBezTo>
                  <a:cubicBezTo>
                    <a:pt x="362953" y="102978"/>
                    <a:pt x="343790" y="103820"/>
                    <a:pt x="339999" y="103820"/>
                  </a:cubicBezTo>
                  <a:cubicBezTo>
                    <a:pt x="343790" y="103820"/>
                    <a:pt x="320835" y="109506"/>
                    <a:pt x="315992" y="109506"/>
                  </a:cubicBezTo>
                  <a:cubicBezTo>
                    <a:pt x="320835" y="109506"/>
                    <a:pt x="310727" y="111823"/>
                    <a:pt x="306937" y="111823"/>
                  </a:cubicBezTo>
                  <a:cubicBezTo>
                    <a:pt x="310306" y="111823"/>
                    <a:pt x="328417" y="110980"/>
                    <a:pt x="325679" y="110980"/>
                  </a:cubicBezTo>
                  <a:cubicBezTo>
                    <a:pt x="327574" y="110980"/>
                    <a:pt x="320835" y="112876"/>
                    <a:pt x="315150" y="112876"/>
                  </a:cubicBezTo>
                  <a:cubicBezTo>
                    <a:pt x="308832" y="112876"/>
                    <a:pt x="293459" y="117719"/>
                    <a:pt x="289247" y="117719"/>
                  </a:cubicBezTo>
                  <a:cubicBezTo>
                    <a:pt x="294091" y="117719"/>
                    <a:pt x="277665" y="124037"/>
                    <a:pt x="276191" y="124037"/>
                  </a:cubicBezTo>
                  <a:cubicBezTo>
                    <a:pt x="278086" y="124037"/>
                    <a:pt x="294301" y="119825"/>
                    <a:pt x="305463" y="119825"/>
                  </a:cubicBezTo>
                  <a:cubicBezTo>
                    <a:pt x="315571" y="119825"/>
                    <a:pt x="325047" y="118772"/>
                    <a:pt x="319993" y="118772"/>
                  </a:cubicBezTo>
                  <a:cubicBezTo>
                    <a:pt x="326311" y="118772"/>
                    <a:pt x="293038" y="126985"/>
                    <a:pt x="282930" y="126985"/>
                  </a:cubicBezTo>
                  <a:cubicBezTo>
                    <a:pt x="273874" y="126985"/>
                    <a:pt x="266082" y="131408"/>
                    <a:pt x="255553" y="131408"/>
                  </a:cubicBezTo>
                  <a:cubicBezTo>
                    <a:pt x="244392" y="131408"/>
                    <a:pt x="216594" y="138568"/>
                    <a:pt x="209855" y="138568"/>
                  </a:cubicBezTo>
                  <a:cubicBezTo>
                    <a:pt x="203748" y="138568"/>
                    <a:pt x="194061" y="143832"/>
                    <a:pt x="189217" y="143832"/>
                  </a:cubicBezTo>
                  <a:cubicBezTo>
                    <a:pt x="194061" y="143832"/>
                    <a:pt x="194482" y="144254"/>
                    <a:pt x="192587" y="144254"/>
                  </a:cubicBezTo>
                  <a:cubicBezTo>
                    <a:pt x="194061" y="144254"/>
                    <a:pt x="179530" y="149097"/>
                    <a:pt x="175319" y="149097"/>
                  </a:cubicBezTo>
                  <a:cubicBezTo>
                    <a:pt x="179109" y="149097"/>
                    <a:pt x="161420" y="153941"/>
                    <a:pt x="158471" y="153941"/>
                  </a:cubicBezTo>
                  <a:cubicBezTo>
                    <a:pt x="161420" y="153941"/>
                    <a:pt x="170054" y="150992"/>
                    <a:pt x="179109" y="150992"/>
                  </a:cubicBezTo>
                  <a:cubicBezTo>
                    <a:pt x="188375" y="150992"/>
                    <a:pt x="201642" y="148044"/>
                    <a:pt x="199326" y="148044"/>
                  </a:cubicBezTo>
                  <a:cubicBezTo>
                    <a:pt x="202274" y="148044"/>
                    <a:pt x="169211" y="155204"/>
                    <a:pt x="164368" y="155204"/>
                  </a:cubicBezTo>
                  <a:cubicBezTo>
                    <a:pt x="170054" y="154994"/>
                    <a:pt x="154260" y="158363"/>
                    <a:pt x="148363" y="15836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19" name="Forme libre : forme 103">
              <a:extLst>
                <a:ext uri="{FF2B5EF4-FFF2-40B4-BE49-F238E27FC236}">
                  <a16:creationId xmlns:a16="http://schemas.microsoft.com/office/drawing/2014/main" id="{5FA3C0F3-18EB-4741-9AEC-1C67BFE2B516}"/>
                </a:ext>
              </a:extLst>
            </p:cNvPr>
            <p:cNvSpPr/>
            <p:nvPr/>
          </p:nvSpPr>
          <p:spPr>
            <a:xfrm>
              <a:off x="2530515" y="1981188"/>
              <a:ext cx="24591" cy="7791"/>
            </a:xfrm>
            <a:custGeom>
              <a:avLst/>
              <a:gdLst>
                <a:gd name="connsiteX0" fmla="*/ 23375 w 24591"/>
                <a:gd name="connsiteY0" fmla="*/ 0 h 7791"/>
                <a:gd name="connsiteX1" fmla="*/ 3791 w 24591"/>
                <a:gd name="connsiteY1" fmla="*/ 4844 h 7791"/>
                <a:gd name="connsiteX2" fmla="*/ 0 w 24591"/>
                <a:gd name="connsiteY2" fmla="*/ 7792 h 7791"/>
                <a:gd name="connsiteX3" fmla="*/ 12004 w 24591"/>
                <a:gd name="connsiteY3" fmla="*/ 7792 h 7791"/>
                <a:gd name="connsiteX4" fmla="*/ 20217 w 24591"/>
                <a:gd name="connsiteY4" fmla="*/ 4422 h 7791"/>
                <a:gd name="connsiteX5" fmla="*/ 23375 w 24591"/>
                <a:gd name="connsiteY5" fmla="*/ 0 h 7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591" h="7791">
                  <a:moveTo>
                    <a:pt x="23375" y="0"/>
                  </a:moveTo>
                  <a:cubicBezTo>
                    <a:pt x="27166" y="0"/>
                    <a:pt x="6949" y="4844"/>
                    <a:pt x="3791" y="4844"/>
                  </a:cubicBezTo>
                  <a:cubicBezTo>
                    <a:pt x="7160" y="4844"/>
                    <a:pt x="3369" y="7792"/>
                    <a:pt x="0" y="7792"/>
                  </a:cubicBezTo>
                  <a:cubicBezTo>
                    <a:pt x="3369" y="7792"/>
                    <a:pt x="14320" y="7792"/>
                    <a:pt x="12004" y="7792"/>
                  </a:cubicBezTo>
                  <a:cubicBezTo>
                    <a:pt x="13899" y="7792"/>
                    <a:pt x="23586" y="4422"/>
                    <a:pt x="20217" y="4422"/>
                  </a:cubicBezTo>
                  <a:cubicBezTo>
                    <a:pt x="23375" y="4422"/>
                    <a:pt x="26324" y="0"/>
                    <a:pt x="2337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0" name="Forme libre : forme 104">
              <a:extLst>
                <a:ext uri="{FF2B5EF4-FFF2-40B4-BE49-F238E27FC236}">
                  <a16:creationId xmlns:a16="http://schemas.microsoft.com/office/drawing/2014/main" id="{E2ACD531-7F73-48E4-8E6B-1AF1D352010E}"/>
                </a:ext>
              </a:extLst>
            </p:cNvPr>
            <p:cNvSpPr/>
            <p:nvPr/>
          </p:nvSpPr>
          <p:spPr>
            <a:xfrm>
              <a:off x="3110330" y="2324870"/>
              <a:ext cx="85568" cy="12424"/>
            </a:xfrm>
            <a:custGeom>
              <a:avLst/>
              <a:gdLst>
                <a:gd name="connsiteX0" fmla="*/ 84593 w 85568"/>
                <a:gd name="connsiteY0" fmla="*/ 4422 h 12424"/>
                <a:gd name="connsiteX1" fmla="*/ 47740 w 85568"/>
                <a:gd name="connsiteY1" fmla="*/ 0 h 12424"/>
                <a:gd name="connsiteX2" fmla="*/ 5412 w 85568"/>
                <a:gd name="connsiteY2" fmla="*/ 3791 h 12424"/>
                <a:gd name="connsiteX3" fmla="*/ 7728 w 85568"/>
                <a:gd name="connsiteY3" fmla="*/ 8002 h 12424"/>
                <a:gd name="connsiteX4" fmla="*/ 32788 w 85568"/>
                <a:gd name="connsiteY4" fmla="*/ 10529 h 12424"/>
                <a:gd name="connsiteX5" fmla="*/ 62481 w 85568"/>
                <a:gd name="connsiteY5" fmla="*/ 12425 h 12424"/>
                <a:gd name="connsiteX6" fmla="*/ 84593 w 85568"/>
                <a:gd name="connsiteY6" fmla="*/ 4422 h 12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68" h="12424">
                  <a:moveTo>
                    <a:pt x="84593" y="4422"/>
                  </a:moveTo>
                  <a:cubicBezTo>
                    <a:pt x="87120" y="4422"/>
                    <a:pt x="54900" y="0"/>
                    <a:pt x="47740" y="0"/>
                  </a:cubicBezTo>
                  <a:cubicBezTo>
                    <a:pt x="41001" y="0"/>
                    <a:pt x="13625" y="3791"/>
                    <a:pt x="5412" y="3791"/>
                  </a:cubicBezTo>
                  <a:cubicBezTo>
                    <a:pt x="-3643" y="3791"/>
                    <a:pt x="-274" y="8002"/>
                    <a:pt x="7728" y="8002"/>
                  </a:cubicBezTo>
                  <a:cubicBezTo>
                    <a:pt x="16362" y="8002"/>
                    <a:pt x="22680" y="10529"/>
                    <a:pt x="32788" y="10529"/>
                  </a:cubicBezTo>
                  <a:cubicBezTo>
                    <a:pt x="42476" y="10529"/>
                    <a:pt x="50057" y="12425"/>
                    <a:pt x="62481" y="12425"/>
                  </a:cubicBezTo>
                  <a:cubicBezTo>
                    <a:pt x="67957" y="1685"/>
                    <a:pt x="90490" y="4422"/>
                    <a:pt x="84593" y="442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1" name="Forme libre : forme 105">
              <a:extLst>
                <a:ext uri="{FF2B5EF4-FFF2-40B4-BE49-F238E27FC236}">
                  <a16:creationId xmlns:a16="http://schemas.microsoft.com/office/drawing/2014/main" id="{B8B3FDA7-8CBB-47FF-BE5D-CC69B52B6AC0}"/>
                </a:ext>
              </a:extLst>
            </p:cNvPr>
            <p:cNvSpPr/>
            <p:nvPr/>
          </p:nvSpPr>
          <p:spPr>
            <a:xfrm>
              <a:off x="3084529" y="2393101"/>
              <a:ext cx="77567" cy="16847"/>
            </a:xfrm>
            <a:custGeom>
              <a:avLst/>
              <a:gdLst>
                <a:gd name="connsiteX0" fmla="*/ 43216 w 77567"/>
                <a:gd name="connsiteY0" fmla="*/ 6318 h 16847"/>
                <a:gd name="connsiteX1" fmla="*/ 19630 w 77567"/>
                <a:gd name="connsiteY1" fmla="*/ 3369 h 16847"/>
                <a:gd name="connsiteX2" fmla="*/ 10996 w 77567"/>
                <a:gd name="connsiteY2" fmla="*/ 0 h 16847"/>
                <a:gd name="connsiteX3" fmla="*/ 2362 w 77567"/>
                <a:gd name="connsiteY3" fmla="*/ 8634 h 16847"/>
                <a:gd name="connsiteX4" fmla="*/ 20051 w 77567"/>
                <a:gd name="connsiteY4" fmla="*/ 12846 h 16847"/>
                <a:gd name="connsiteX5" fmla="*/ 42584 w 77567"/>
                <a:gd name="connsiteY5" fmla="*/ 12425 h 16847"/>
                <a:gd name="connsiteX6" fmla="*/ 50166 w 77567"/>
                <a:gd name="connsiteY6" fmla="*/ 16847 h 16847"/>
                <a:gd name="connsiteX7" fmla="*/ 64064 w 77567"/>
                <a:gd name="connsiteY7" fmla="*/ 9687 h 16847"/>
                <a:gd name="connsiteX8" fmla="*/ 77121 w 77567"/>
                <a:gd name="connsiteY8" fmla="*/ 1895 h 16847"/>
                <a:gd name="connsiteX9" fmla="*/ 43216 w 77567"/>
                <a:gd name="connsiteY9" fmla="*/ 6318 h 16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7567" h="16847">
                  <a:moveTo>
                    <a:pt x="43216" y="6318"/>
                  </a:moveTo>
                  <a:cubicBezTo>
                    <a:pt x="46164" y="6318"/>
                    <a:pt x="22157" y="3369"/>
                    <a:pt x="19630" y="3369"/>
                  </a:cubicBezTo>
                  <a:cubicBezTo>
                    <a:pt x="21946" y="3369"/>
                    <a:pt x="16261" y="0"/>
                    <a:pt x="10996" y="0"/>
                  </a:cubicBezTo>
                  <a:cubicBezTo>
                    <a:pt x="16261" y="0"/>
                    <a:pt x="-7325" y="8634"/>
                    <a:pt x="2362" y="8634"/>
                  </a:cubicBezTo>
                  <a:cubicBezTo>
                    <a:pt x="11838" y="8634"/>
                    <a:pt x="26369" y="12846"/>
                    <a:pt x="20051" y="12846"/>
                  </a:cubicBezTo>
                  <a:cubicBezTo>
                    <a:pt x="26159" y="12846"/>
                    <a:pt x="48270" y="12425"/>
                    <a:pt x="42584" y="12425"/>
                  </a:cubicBezTo>
                  <a:cubicBezTo>
                    <a:pt x="48270" y="12425"/>
                    <a:pt x="55009" y="16847"/>
                    <a:pt x="50166" y="16847"/>
                  </a:cubicBezTo>
                  <a:cubicBezTo>
                    <a:pt x="54377" y="16847"/>
                    <a:pt x="68908" y="9687"/>
                    <a:pt x="64064" y="9687"/>
                  </a:cubicBezTo>
                  <a:cubicBezTo>
                    <a:pt x="69329" y="9687"/>
                    <a:pt x="79859" y="1895"/>
                    <a:pt x="77121" y="1895"/>
                  </a:cubicBezTo>
                  <a:cubicBezTo>
                    <a:pt x="80280" y="2106"/>
                    <a:pt x="48481" y="6318"/>
                    <a:pt x="43216" y="631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2" name="Forme libre : forme 106">
              <a:extLst>
                <a:ext uri="{FF2B5EF4-FFF2-40B4-BE49-F238E27FC236}">
                  <a16:creationId xmlns:a16="http://schemas.microsoft.com/office/drawing/2014/main" id="{6B38F886-0EEE-4B53-96E2-868DBD07D776}"/>
                </a:ext>
              </a:extLst>
            </p:cNvPr>
            <p:cNvSpPr/>
            <p:nvPr/>
          </p:nvSpPr>
          <p:spPr>
            <a:xfrm>
              <a:off x="3066565" y="1546322"/>
              <a:ext cx="1916838" cy="477020"/>
            </a:xfrm>
            <a:custGeom>
              <a:avLst/>
              <a:gdLst>
                <a:gd name="connsiteX0" fmla="*/ 841624 w 1916838"/>
                <a:gd name="connsiteY0" fmla="*/ 444975 h 477020"/>
                <a:gd name="connsiteX1" fmla="*/ 810035 w 1916838"/>
                <a:gd name="connsiteY1" fmla="*/ 470877 h 477020"/>
                <a:gd name="connsiteX2" fmla="*/ 765812 w 1916838"/>
                <a:gd name="connsiteY2" fmla="*/ 474247 h 477020"/>
                <a:gd name="connsiteX3" fmla="*/ 723062 w 1916838"/>
                <a:gd name="connsiteY3" fmla="*/ 467929 h 477020"/>
                <a:gd name="connsiteX4" fmla="*/ 661570 w 1916838"/>
                <a:gd name="connsiteY4" fmla="*/ 476142 h 477020"/>
                <a:gd name="connsiteX5" fmla="*/ 643249 w 1916838"/>
                <a:gd name="connsiteY5" fmla="*/ 467508 h 477020"/>
                <a:gd name="connsiteX6" fmla="*/ 608291 w 1916838"/>
                <a:gd name="connsiteY6" fmla="*/ 454451 h 477020"/>
                <a:gd name="connsiteX7" fmla="*/ 583231 w 1916838"/>
                <a:gd name="connsiteY7" fmla="*/ 444343 h 477020"/>
                <a:gd name="connsiteX8" fmla="*/ 567437 w 1916838"/>
                <a:gd name="connsiteY8" fmla="*/ 432761 h 477020"/>
                <a:gd name="connsiteX9" fmla="*/ 576703 w 1916838"/>
                <a:gd name="connsiteY9" fmla="*/ 420757 h 477020"/>
                <a:gd name="connsiteX10" fmla="*/ 599236 w 1916838"/>
                <a:gd name="connsiteY10" fmla="*/ 417388 h 477020"/>
                <a:gd name="connsiteX11" fmla="*/ 584916 w 1916838"/>
                <a:gd name="connsiteY11" fmla="*/ 413176 h 477020"/>
                <a:gd name="connsiteX12" fmla="*/ 558382 w 1916838"/>
                <a:gd name="connsiteY12" fmla="*/ 427496 h 477020"/>
                <a:gd name="connsiteX13" fmla="*/ 547852 w 1916838"/>
                <a:gd name="connsiteY13" fmla="*/ 422231 h 477020"/>
                <a:gd name="connsiteX14" fmla="*/ 541113 w 1916838"/>
                <a:gd name="connsiteY14" fmla="*/ 411702 h 477020"/>
                <a:gd name="connsiteX15" fmla="*/ 514579 w 1916838"/>
                <a:gd name="connsiteY15" fmla="*/ 403489 h 477020"/>
                <a:gd name="connsiteX16" fmla="*/ 525108 w 1916838"/>
                <a:gd name="connsiteY16" fmla="*/ 388116 h 477020"/>
                <a:gd name="connsiteX17" fmla="*/ 510788 w 1916838"/>
                <a:gd name="connsiteY17" fmla="*/ 382851 h 477020"/>
                <a:gd name="connsiteX18" fmla="*/ 529952 w 1916838"/>
                <a:gd name="connsiteY18" fmla="*/ 364109 h 477020"/>
                <a:gd name="connsiteX19" fmla="*/ 572701 w 1916838"/>
                <a:gd name="connsiteY19" fmla="*/ 348314 h 477020"/>
                <a:gd name="connsiteX20" fmla="*/ 611661 w 1916838"/>
                <a:gd name="connsiteY20" fmla="*/ 342628 h 477020"/>
                <a:gd name="connsiteX21" fmla="*/ 624717 w 1916838"/>
                <a:gd name="connsiteY21" fmla="*/ 328308 h 477020"/>
                <a:gd name="connsiteX22" fmla="*/ 613766 w 1916838"/>
                <a:gd name="connsiteY22" fmla="*/ 328308 h 477020"/>
                <a:gd name="connsiteX23" fmla="*/ 607449 w 1916838"/>
                <a:gd name="connsiteY23" fmla="*/ 321570 h 477020"/>
                <a:gd name="connsiteX24" fmla="*/ 571017 w 1916838"/>
                <a:gd name="connsiteY24" fmla="*/ 324518 h 477020"/>
                <a:gd name="connsiteX25" fmla="*/ 571438 w 1916838"/>
                <a:gd name="connsiteY25" fmla="*/ 329361 h 477020"/>
                <a:gd name="connsiteX26" fmla="*/ 583442 w 1916838"/>
                <a:gd name="connsiteY26" fmla="*/ 333784 h 477020"/>
                <a:gd name="connsiteX27" fmla="*/ 533953 w 1916838"/>
                <a:gd name="connsiteY27" fmla="*/ 345787 h 477020"/>
                <a:gd name="connsiteX28" fmla="*/ 501733 w 1916838"/>
                <a:gd name="connsiteY28" fmla="*/ 344313 h 477020"/>
                <a:gd name="connsiteX29" fmla="*/ 508472 w 1916838"/>
                <a:gd name="connsiteY29" fmla="*/ 333784 h 477020"/>
                <a:gd name="connsiteX30" fmla="*/ 529531 w 1916838"/>
                <a:gd name="connsiteY30" fmla="*/ 325571 h 477020"/>
                <a:gd name="connsiteX31" fmla="*/ 520054 w 1916838"/>
                <a:gd name="connsiteY31" fmla="*/ 321148 h 477020"/>
                <a:gd name="connsiteX32" fmla="*/ 556486 w 1916838"/>
                <a:gd name="connsiteY32" fmla="*/ 318200 h 477020"/>
                <a:gd name="connsiteX33" fmla="*/ 604501 w 1916838"/>
                <a:gd name="connsiteY33" fmla="*/ 311882 h 477020"/>
                <a:gd name="connsiteX34" fmla="*/ 586390 w 1916838"/>
                <a:gd name="connsiteY34" fmla="*/ 303248 h 477020"/>
                <a:gd name="connsiteX35" fmla="*/ 557539 w 1916838"/>
                <a:gd name="connsiteY35" fmla="*/ 299458 h 477020"/>
                <a:gd name="connsiteX36" fmla="*/ 512473 w 1916838"/>
                <a:gd name="connsiteY36" fmla="*/ 312514 h 477020"/>
                <a:gd name="connsiteX37" fmla="*/ 481306 w 1916838"/>
                <a:gd name="connsiteY37" fmla="*/ 312935 h 477020"/>
                <a:gd name="connsiteX38" fmla="*/ 486149 w 1916838"/>
                <a:gd name="connsiteY38" fmla="*/ 298405 h 477020"/>
                <a:gd name="connsiteX39" fmla="*/ 473725 w 1916838"/>
                <a:gd name="connsiteY39" fmla="*/ 284506 h 477020"/>
                <a:gd name="connsiteX40" fmla="*/ 465933 w 1916838"/>
                <a:gd name="connsiteY40" fmla="*/ 272923 h 477020"/>
                <a:gd name="connsiteX41" fmla="*/ 428027 w 1916838"/>
                <a:gd name="connsiteY41" fmla="*/ 269554 h 477020"/>
                <a:gd name="connsiteX42" fmla="*/ 389068 w 1916838"/>
                <a:gd name="connsiteY42" fmla="*/ 265763 h 477020"/>
                <a:gd name="connsiteX43" fmla="*/ 326102 w 1916838"/>
                <a:gd name="connsiteY43" fmla="*/ 271449 h 477020"/>
                <a:gd name="connsiteX44" fmla="*/ 286721 w 1916838"/>
                <a:gd name="connsiteY44" fmla="*/ 278609 h 477020"/>
                <a:gd name="connsiteX45" fmla="*/ 255975 w 1916838"/>
                <a:gd name="connsiteY45" fmla="*/ 286191 h 477020"/>
                <a:gd name="connsiteX46" fmla="*/ 247341 w 1916838"/>
                <a:gd name="connsiteY46" fmla="*/ 283453 h 477020"/>
                <a:gd name="connsiteX47" fmla="*/ 226704 w 1916838"/>
                <a:gd name="connsiteY47" fmla="*/ 292508 h 477020"/>
                <a:gd name="connsiteX48" fmla="*/ 197432 w 1916838"/>
                <a:gd name="connsiteY48" fmla="*/ 297352 h 477020"/>
                <a:gd name="connsiteX49" fmla="*/ 186902 w 1916838"/>
                <a:gd name="connsiteY49" fmla="*/ 296299 h 477020"/>
                <a:gd name="connsiteX50" fmla="*/ 170687 w 1916838"/>
                <a:gd name="connsiteY50" fmla="*/ 299247 h 477020"/>
                <a:gd name="connsiteX51" fmla="*/ 180795 w 1916838"/>
                <a:gd name="connsiteY51" fmla="*/ 302195 h 477020"/>
                <a:gd name="connsiteX52" fmla="*/ 150470 w 1916838"/>
                <a:gd name="connsiteY52" fmla="*/ 306407 h 477020"/>
                <a:gd name="connsiteX53" fmla="*/ 120146 w 1916838"/>
                <a:gd name="connsiteY53" fmla="*/ 310198 h 477020"/>
                <a:gd name="connsiteX54" fmla="*/ 88978 w 1916838"/>
                <a:gd name="connsiteY54" fmla="*/ 312093 h 477020"/>
                <a:gd name="connsiteX55" fmla="*/ 111090 w 1916838"/>
                <a:gd name="connsiteY55" fmla="*/ 305354 h 477020"/>
                <a:gd name="connsiteX56" fmla="*/ 114038 w 1916838"/>
                <a:gd name="connsiteY56" fmla="*/ 301564 h 477020"/>
                <a:gd name="connsiteX57" fmla="*/ 61181 w 1916838"/>
                <a:gd name="connsiteY57" fmla="*/ 309777 h 477020"/>
                <a:gd name="connsiteX58" fmla="*/ 47282 w 1916838"/>
                <a:gd name="connsiteY58" fmla="*/ 308302 h 477020"/>
                <a:gd name="connsiteX59" fmla="*/ 92348 w 1916838"/>
                <a:gd name="connsiteY59" fmla="*/ 299668 h 477020"/>
                <a:gd name="connsiteX60" fmla="*/ 129832 w 1916838"/>
                <a:gd name="connsiteY60" fmla="*/ 292508 h 477020"/>
                <a:gd name="connsiteX61" fmla="*/ 166896 w 1916838"/>
                <a:gd name="connsiteY61" fmla="*/ 283453 h 477020"/>
                <a:gd name="connsiteX62" fmla="*/ 195326 w 1916838"/>
                <a:gd name="connsiteY62" fmla="*/ 278609 h 477020"/>
                <a:gd name="connsiteX63" fmla="*/ 197642 w 1916838"/>
                <a:gd name="connsiteY63" fmla="*/ 272923 h 477020"/>
                <a:gd name="connsiteX64" fmla="*/ 157841 w 1916838"/>
                <a:gd name="connsiteY64" fmla="*/ 282611 h 477020"/>
                <a:gd name="connsiteX65" fmla="*/ 125199 w 1916838"/>
                <a:gd name="connsiteY65" fmla="*/ 288928 h 477020"/>
                <a:gd name="connsiteX66" fmla="*/ 83503 w 1916838"/>
                <a:gd name="connsiteY66" fmla="*/ 296720 h 477020"/>
                <a:gd name="connsiteX67" fmla="*/ 57601 w 1916838"/>
                <a:gd name="connsiteY67" fmla="*/ 297141 h 477020"/>
                <a:gd name="connsiteX68" fmla="*/ 25380 w 1916838"/>
                <a:gd name="connsiteY68" fmla="*/ 302827 h 477020"/>
                <a:gd name="connsiteX69" fmla="*/ 4322 w 1916838"/>
                <a:gd name="connsiteY69" fmla="*/ 301985 h 477020"/>
                <a:gd name="connsiteX70" fmla="*/ 49388 w 1916838"/>
                <a:gd name="connsiteY70" fmla="*/ 289560 h 477020"/>
                <a:gd name="connsiteX71" fmla="*/ 96349 w 1916838"/>
                <a:gd name="connsiteY71" fmla="*/ 276082 h 477020"/>
                <a:gd name="connsiteX72" fmla="*/ 135729 w 1916838"/>
                <a:gd name="connsiteY72" fmla="*/ 267027 h 477020"/>
                <a:gd name="connsiteX73" fmla="*/ 182269 w 1916838"/>
                <a:gd name="connsiteY73" fmla="*/ 255445 h 477020"/>
                <a:gd name="connsiteX74" fmla="*/ 220596 w 1916838"/>
                <a:gd name="connsiteY74" fmla="*/ 247653 h 477020"/>
                <a:gd name="connsiteX75" fmla="*/ 252185 w 1916838"/>
                <a:gd name="connsiteY75" fmla="*/ 237123 h 477020"/>
                <a:gd name="connsiteX76" fmla="*/ 247973 w 1916838"/>
                <a:gd name="connsiteY76" fmla="*/ 233754 h 477020"/>
                <a:gd name="connsiteX77" fmla="*/ 243761 w 1916838"/>
                <a:gd name="connsiteY77" fmla="*/ 230384 h 477020"/>
                <a:gd name="connsiteX78" fmla="*/ 197221 w 1916838"/>
                <a:gd name="connsiteY78" fmla="*/ 240493 h 477020"/>
                <a:gd name="connsiteX79" fmla="*/ 193852 w 1916838"/>
                <a:gd name="connsiteY79" fmla="*/ 234807 h 477020"/>
                <a:gd name="connsiteX80" fmla="*/ 234285 w 1916838"/>
                <a:gd name="connsiteY80" fmla="*/ 225120 h 477020"/>
                <a:gd name="connsiteX81" fmla="*/ 268400 w 1916838"/>
                <a:gd name="connsiteY81" fmla="*/ 216064 h 477020"/>
                <a:gd name="connsiteX82" fmla="*/ 298093 w 1916838"/>
                <a:gd name="connsiteY82" fmla="*/ 207430 h 477020"/>
                <a:gd name="connsiteX83" fmla="*/ 329682 w 1916838"/>
                <a:gd name="connsiteY83" fmla="*/ 201113 h 477020"/>
                <a:gd name="connsiteX84" fmla="*/ 357901 w 1916838"/>
                <a:gd name="connsiteY84" fmla="*/ 197322 h 477020"/>
                <a:gd name="connsiteX85" fmla="*/ 377696 w 1916838"/>
                <a:gd name="connsiteY85" fmla="*/ 192900 h 477020"/>
                <a:gd name="connsiteX86" fmla="*/ 390121 w 1916838"/>
                <a:gd name="connsiteY86" fmla="*/ 185740 h 477020"/>
                <a:gd name="connsiteX87" fmla="*/ 380012 w 1916838"/>
                <a:gd name="connsiteY87" fmla="*/ 183423 h 477020"/>
                <a:gd name="connsiteX88" fmla="*/ 411601 w 1916838"/>
                <a:gd name="connsiteY88" fmla="*/ 176684 h 477020"/>
                <a:gd name="connsiteX89" fmla="*/ 434765 w 1916838"/>
                <a:gd name="connsiteY89" fmla="*/ 171420 h 477020"/>
                <a:gd name="connsiteX90" fmla="*/ 448664 w 1916838"/>
                <a:gd name="connsiteY90" fmla="*/ 167629 h 477020"/>
                <a:gd name="connsiteX91" fmla="*/ 474988 w 1916838"/>
                <a:gd name="connsiteY91" fmla="*/ 162785 h 477020"/>
                <a:gd name="connsiteX92" fmla="*/ 506787 w 1916838"/>
                <a:gd name="connsiteY92" fmla="*/ 157099 h 477020"/>
                <a:gd name="connsiteX93" fmla="*/ 523634 w 1916838"/>
                <a:gd name="connsiteY93" fmla="*/ 154151 h 477020"/>
                <a:gd name="connsiteX94" fmla="*/ 547220 w 1916838"/>
                <a:gd name="connsiteY94" fmla="*/ 148886 h 477020"/>
                <a:gd name="connsiteX95" fmla="*/ 568279 w 1916838"/>
                <a:gd name="connsiteY95" fmla="*/ 145938 h 477020"/>
                <a:gd name="connsiteX96" fmla="*/ 580283 w 1916838"/>
                <a:gd name="connsiteY96" fmla="*/ 146359 h 477020"/>
                <a:gd name="connsiteX97" fmla="*/ 572070 w 1916838"/>
                <a:gd name="connsiteY97" fmla="*/ 153519 h 477020"/>
                <a:gd name="connsiteX98" fmla="*/ 592707 w 1916838"/>
                <a:gd name="connsiteY98" fmla="*/ 148676 h 477020"/>
                <a:gd name="connsiteX99" fmla="*/ 594182 w 1916838"/>
                <a:gd name="connsiteY99" fmla="*/ 143832 h 477020"/>
                <a:gd name="connsiteX100" fmla="*/ 604711 w 1916838"/>
                <a:gd name="connsiteY100" fmla="*/ 138989 h 477020"/>
                <a:gd name="connsiteX101" fmla="*/ 621137 w 1916838"/>
                <a:gd name="connsiteY101" fmla="*/ 140042 h 477020"/>
                <a:gd name="connsiteX102" fmla="*/ 615451 w 1916838"/>
                <a:gd name="connsiteY102" fmla="*/ 146781 h 477020"/>
                <a:gd name="connsiteX103" fmla="*/ 634193 w 1916838"/>
                <a:gd name="connsiteY103" fmla="*/ 140042 h 477020"/>
                <a:gd name="connsiteX104" fmla="*/ 633772 w 1916838"/>
                <a:gd name="connsiteY104" fmla="*/ 135198 h 477020"/>
                <a:gd name="connsiteX105" fmla="*/ 652094 w 1916838"/>
                <a:gd name="connsiteY105" fmla="*/ 132250 h 477020"/>
                <a:gd name="connsiteX106" fmla="*/ 676101 w 1916838"/>
                <a:gd name="connsiteY106" fmla="*/ 133724 h 477020"/>
                <a:gd name="connsiteX107" fmla="*/ 706004 w 1916838"/>
                <a:gd name="connsiteY107" fmla="*/ 128881 h 477020"/>
                <a:gd name="connsiteX108" fmla="*/ 727695 w 1916838"/>
                <a:gd name="connsiteY108" fmla="*/ 124669 h 477020"/>
                <a:gd name="connsiteX109" fmla="*/ 709374 w 1916838"/>
                <a:gd name="connsiteY109" fmla="*/ 123616 h 477020"/>
                <a:gd name="connsiteX110" fmla="*/ 704530 w 1916838"/>
                <a:gd name="connsiteY110" fmla="*/ 120246 h 477020"/>
                <a:gd name="connsiteX111" fmla="*/ 732960 w 1916838"/>
                <a:gd name="connsiteY111" fmla="*/ 116035 h 477020"/>
                <a:gd name="connsiteX112" fmla="*/ 758020 w 1916838"/>
                <a:gd name="connsiteY112" fmla="*/ 113718 h 477020"/>
                <a:gd name="connsiteX113" fmla="*/ 784344 w 1916838"/>
                <a:gd name="connsiteY113" fmla="*/ 112244 h 477020"/>
                <a:gd name="connsiteX114" fmla="*/ 819933 w 1916838"/>
                <a:gd name="connsiteY114" fmla="*/ 109928 h 477020"/>
                <a:gd name="connsiteX115" fmla="*/ 852153 w 1916838"/>
                <a:gd name="connsiteY115" fmla="*/ 108032 h 477020"/>
                <a:gd name="connsiteX116" fmla="*/ 879109 w 1916838"/>
                <a:gd name="connsiteY116" fmla="*/ 104663 h 477020"/>
                <a:gd name="connsiteX117" fmla="*/ 901221 w 1916838"/>
                <a:gd name="connsiteY117" fmla="*/ 101715 h 477020"/>
                <a:gd name="connsiteX118" fmla="*/ 874686 w 1916838"/>
                <a:gd name="connsiteY118" fmla="*/ 100872 h 477020"/>
                <a:gd name="connsiteX119" fmla="*/ 835306 w 1916838"/>
                <a:gd name="connsiteY119" fmla="*/ 103820 h 477020"/>
                <a:gd name="connsiteX120" fmla="*/ 812352 w 1916838"/>
                <a:gd name="connsiteY120" fmla="*/ 103820 h 477020"/>
                <a:gd name="connsiteX121" fmla="*/ 836780 w 1916838"/>
                <a:gd name="connsiteY121" fmla="*/ 98556 h 477020"/>
                <a:gd name="connsiteX122" fmla="*/ 869001 w 1916838"/>
                <a:gd name="connsiteY122" fmla="*/ 94344 h 477020"/>
                <a:gd name="connsiteX123" fmla="*/ 895535 w 1916838"/>
                <a:gd name="connsiteY123" fmla="*/ 93291 h 477020"/>
                <a:gd name="connsiteX124" fmla="*/ 886900 w 1916838"/>
                <a:gd name="connsiteY124" fmla="*/ 91396 h 477020"/>
                <a:gd name="connsiteX125" fmla="*/ 848995 w 1916838"/>
                <a:gd name="connsiteY125" fmla="*/ 95186 h 477020"/>
                <a:gd name="connsiteX126" fmla="*/ 827936 w 1916838"/>
                <a:gd name="connsiteY126" fmla="*/ 95607 h 477020"/>
                <a:gd name="connsiteX127" fmla="*/ 876792 w 1916838"/>
                <a:gd name="connsiteY127" fmla="*/ 88447 h 477020"/>
                <a:gd name="connsiteX128" fmla="*/ 918068 w 1916838"/>
                <a:gd name="connsiteY128" fmla="*/ 81709 h 477020"/>
                <a:gd name="connsiteX129" fmla="*/ 955974 w 1916838"/>
                <a:gd name="connsiteY129" fmla="*/ 74970 h 477020"/>
                <a:gd name="connsiteX130" fmla="*/ 978928 w 1916838"/>
                <a:gd name="connsiteY130" fmla="*/ 72021 h 477020"/>
                <a:gd name="connsiteX131" fmla="*/ 995775 w 1916838"/>
                <a:gd name="connsiteY131" fmla="*/ 70126 h 477020"/>
                <a:gd name="connsiteX132" fmla="*/ 1011148 w 1916838"/>
                <a:gd name="connsiteY132" fmla="*/ 66336 h 477020"/>
                <a:gd name="connsiteX133" fmla="*/ 1026521 w 1916838"/>
                <a:gd name="connsiteY133" fmla="*/ 66757 h 477020"/>
                <a:gd name="connsiteX134" fmla="*/ 1039578 w 1916838"/>
                <a:gd name="connsiteY134" fmla="*/ 70969 h 477020"/>
                <a:gd name="connsiteX135" fmla="*/ 1039999 w 1916838"/>
                <a:gd name="connsiteY135" fmla="*/ 63387 h 477020"/>
                <a:gd name="connsiteX136" fmla="*/ 1055793 w 1916838"/>
                <a:gd name="connsiteY136" fmla="*/ 59597 h 477020"/>
                <a:gd name="connsiteX137" fmla="*/ 1068218 w 1916838"/>
                <a:gd name="connsiteY137" fmla="*/ 59597 h 477020"/>
                <a:gd name="connsiteX138" fmla="*/ 1082748 w 1916838"/>
                <a:gd name="connsiteY138" fmla="*/ 61071 h 477020"/>
                <a:gd name="connsiteX139" fmla="*/ 1089487 w 1916838"/>
                <a:gd name="connsiteY139" fmla="*/ 53911 h 477020"/>
                <a:gd name="connsiteX140" fmla="*/ 1112652 w 1916838"/>
                <a:gd name="connsiteY140" fmla="*/ 52016 h 477020"/>
                <a:gd name="connsiteX141" fmla="*/ 1124234 w 1916838"/>
                <a:gd name="connsiteY141" fmla="*/ 48646 h 477020"/>
                <a:gd name="connsiteX142" fmla="*/ 1154981 w 1916838"/>
                <a:gd name="connsiteY142" fmla="*/ 45908 h 477020"/>
                <a:gd name="connsiteX143" fmla="*/ 1176040 w 1916838"/>
                <a:gd name="connsiteY143" fmla="*/ 42539 h 477020"/>
                <a:gd name="connsiteX144" fmla="*/ 1217315 w 1916838"/>
                <a:gd name="connsiteY144" fmla="*/ 37695 h 477020"/>
                <a:gd name="connsiteX145" fmla="*/ 1253747 w 1916838"/>
                <a:gd name="connsiteY145" fmla="*/ 33273 h 477020"/>
                <a:gd name="connsiteX146" fmla="*/ 1306605 w 1916838"/>
                <a:gd name="connsiteY146" fmla="*/ 26955 h 477020"/>
                <a:gd name="connsiteX147" fmla="*/ 1354619 w 1916838"/>
                <a:gd name="connsiteY147" fmla="*/ 21691 h 477020"/>
                <a:gd name="connsiteX148" fmla="*/ 1378626 w 1916838"/>
                <a:gd name="connsiteY148" fmla="*/ 20848 h 477020"/>
                <a:gd name="connsiteX149" fmla="*/ 1407056 w 1916838"/>
                <a:gd name="connsiteY149" fmla="*/ 17479 h 477020"/>
                <a:gd name="connsiteX150" fmla="*/ 1451701 w 1916838"/>
                <a:gd name="connsiteY150" fmla="*/ 15162 h 477020"/>
                <a:gd name="connsiteX151" fmla="*/ 1447910 w 1916838"/>
                <a:gd name="connsiteY151" fmla="*/ 17058 h 477020"/>
                <a:gd name="connsiteX152" fmla="*/ 1378205 w 1916838"/>
                <a:gd name="connsiteY152" fmla="*/ 24850 h 477020"/>
                <a:gd name="connsiteX153" fmla="*/ 1322399 w 1916838"/>
                <a:gd name="connsiteY153" fmla="*/ 30957 h 477020"/>
                <a:gd name="connsiteX154" fmla="*/ 1259433 w 1916838"/>
                <a:gd name="connsiteY154" fmla="*/ 39170 h 477020"/>
                <a:gd name="connsiteX155" fmla="*/ 1269120 w 1916838"/>
                <a:gd name="connsiteY155" fmla="*/ 40012 h 477020"/>
                <a:gd name="connsiteX156" fmla="*/ 1326821 w 1916838"/>
                <a:gd name="connsiteY156" fmla="*/ 32852 h 477020"/>
                <a:gd name="connsiteX157" fmla="*/ 1367675 w 1916838"/>
                <a:gd name="connsiteY157" fmla="*/ 28430 h 477020"/>
                <a:gd name="connsiteX158" fmla="*/ 1419481 w 1916838"/>
                <a:gd name="connsiteY158" fmla="*/ 22744 h 477020"/>
                <a:gd name="connsiteX159" fmla="*/ 1474655 w 1916838"/>
                <a:gd name="connsiteY159" fmla="*/ 15584 h 477020"/>
                <a:gd name="connsiteX160" fmla="*/ 1490028 w 1916838"/>
                <a:gd name="connsiteY160" fmla="*/ 16637 h 477020"/>
                <a:gd name="connsiteX161" fmla="*/ 1480551 w 1916838"/>
                <a:gd name="connsiteY161" fmla="*/ 20427 h 477020"/>
                <a:gd name="connsiteX162" fmla="*/ 1507507 w 1916838"/>
                <a:gd name="connsiteY162" fmla="*/ 17058 h 477020"/>
                <a:gd name="connsiteX163" fmla="*/ 1524354 w 1916838"/>
                <a:gd name="connsiteY163" fmla="*/ 16215 h 477020"/>
                <a:gd name="connsiteX164" fmla="*/ 1534462 w 1916838"/>
                <a:gd name="connsiteY164" fmla="*/ 13899 h 477020"/>
                <a:gd name="connsiteX165" fmla="*/ 1553204 w 1916838"/>
                <a:gd name="connsiteY165" fmla="*/ 12846 h 477020"/>
                <a:gd name="connsiteX166" fmla="*/ 1581002 w 1916838"/>
                <a:gd name="connsiteY166" fmla="*/ 10951 h 477020"/>
                <a:gd name="connsiteX167" fmla="*/ 1625647 w 1916838"/>
                <a:gd name="connsiteY167" fmla="*/ 7160 h 477020"/>
                <a:gd name="connsiteX168" fmla="*/ 1619961 w 1916838"/>
                <a:gd name="connsiteY168" fmla="*/ 11372 h 477020"/>
                <a:gd name="connsiteX169" fmla="*/ 1575738 w 1916838"/>
                <a:gd name="connsiteY169" fmla="*/ 18111 h 477020"/>
                <a:gd name="connsiteX170" fmla="*/ 1534883 w 1916838"/>
                <a:gd name="connsiteY170" fmla="*/ 22954 h 477020"/>
                <a:gd name="connsiteX171" fmla="*/ 1496977 w 1916838"/>
                <a:gd name="connsiteY171" fmla="*/ 26324 h 477020"/>
                <a:gd name="connsiteX172" fmla="*/ 1455702 w 1916838"/>
                <a:gd name="connsiteY172" fmla="*/ 31167 h 477020"/>
                <a:gd name="connsiteX173" fmla="*/ 1375467 w 1916838"/>
                <a:gd name="connsiteY173" fmla="*/ 40223 h 477020"/>
                <a:gd name="connsiteX174" fmla="*/ 1327032 w 1916838"/>
                <a:gd name="connsiteY174" fmla="*/ 46961 h 477020"/>
                <a:gd name="connsiteX175" fmla="*/ 1280913 w 1916838"/>
                <a:gd name="connsiteY175" fmla="*/ 52647 h 477020"/>
                <a:gd name="connsiteX176" fmla="*/ 1230372 w 1916838"/>
                <a:gd name="connsiteY176" fmla="*/ 61703 h 477020"/>
                <a:gd name="connsiteX177" fmla="*/ 1255431 w 1916838"/>
                <a:gd name="connsiteY177" fmla="*/ 58333 h 477020"/>
                <a:gd name="connsiteX178" fmla="*/ 1275227 w 1916838"/>
                <a:gd name="connsiteY178" fmla="*/ 55385 h 477020"/>
                <a:gd name="connsiteX179" fmla="*/ 1291021 w 1916838"/>
                <a:gd name="connsiteY179" fmla="*/ 54964 h 477020"/>
                <a:gd name="connsiteX180" fmla="*/ 1315871 w 1916838"/>
                <a:gd name="connsiteY180" fmla="*/ 49699 h 477020"/>
                <a:gd name="connsiteX181" fmla="*/ 1355251 w 1916838"/>
                <a:gd name="connsiteY181" fmla="*/ 45487 h 477020"/>
                <a:gd name="connsiteX182" fmla="*/ 1384101 w 1916838"/>
                <a:gd name="connsiteY182" fmla="*/ 41697 h 477020"/>
                <a:gd name="connsiteX183" fmla="*/ 1422639 w 1916838"/>
                <a:gd name="connsiteY183" fmla="*/ 37906 h 477020"/>
                <a:gd name="connsiteX184" fmla="*/ 1445172 w 1916838"/>
                <a:gd name="connsiteY184" fmla="*/ 35379 h 477020"/>
                <a:gd name="connsiteX185" fmla="*/ 1473602 w 1916838"/>
                <a:gd name="connsiteY185" fmla="*/ 33062 h 477020"/>
                <a:gd name="connsiteX186" fmla="*/ 1449595 w 1916838"/>
                <a:gd name="connsiteY186" fmla="*/ 39801 h 477020"/>
                <a:gd name="connsiteX187" fmla="*/ 1403055 w 1916838"/>
                <a:gd name="connsiteY187" fmla="*/ 47593 h 477020"/>
                <a:gd name="connsiteX188" fmla="*/ 1425167 w 1916838"/>
                <a:gd name="connsiteY188" fmla="*/ 45698 h 477020"/>
                <a:gd name="connsiteX189" fmla="*/ 1458650 w 1916838"/>
                <a:gd name="connsiteY189" fmla="*/ 40854 h 477020"/>
                <a:gd name="connsiteX190" fmla="*/ 1482236 w 1916838"/>
                <a:gd name="connsiteY190" fmla="*/ 38538 h 477020"/>
                <a:gd name="connsiteX191" fmla="*/ 1509191 w 1916838"/>
                <a:gd name="connsiteY191" fmla="*/ 34326 h 477020"/>
                <a:gd name="connsiteX192" fmla="*/ 1536989 w 1916838"/>
                <a:gd name="connsiteY192" fmla="*/ 30535 h 477020"/>
                <a:gd name="connsiteX193" fmla="*/ 1563945 w 1916838"/>
                <a:gd name="connsiteY193" fmla="*/ 27587 h 477020"/>
                <a:gd name="connsiteX194" fmla="*/ 1576369 w 1916838"/>
                <a:gd name="connsiteY194" fmla="*/ 24639 h 477020"/>
                <a:gd name="connsiteX195" fmla="*/ 1586057 w 1916838"/>
                <a:gd name="connsiteY195" fmla="*/ 22322 h 477020"/>
                <a:gd name="connsiteX196" fmla="*/ 1584161 w 1916838"/>
                <a:gd name="connsiteY196" fmla="*/ 28640 h 477020"/>
                <a:gd name="connsiteX197" fmla="*/ 1545834 w 1916838"/>
                <a:gd name="connsiteY197" fmla="*/ 40223 h 477020"/>
                <a:gd name="connsiteX198" fmla="*/ 1526670 w 1916838"/>
                <a:gd name="connsiteY198" fmla="*/ 45908 h 477020"/>
                <a:gd name="connsiteX199" fmla="*/ 1498451 w 1916838"/>
                <a:gd name="connsiteY199" fmla="*/ 54964 h 477020"/>
                <a:gd name="connsiteX200" fmla="*/ 1531093 w 1916838"/>
                <a:gd name="connsiteY200" fmla="*/ 48225 h 477020"/>
                <a:gd name="connsiteX201" fmla="*/ 1559522 w 1916838"/>
                <a:gd name="connsiteY201" fmla="*/ 39591 h 477020"/>
                <a:gd name="connsiteX202" fmla="*/ 1607958 w 1916838"/>
                <a:gd name="connsiteY202" fmla="*/ 28640 h 477020"/>
                <a:gd name="connsiteX203" fmla="*/ 1631965 w 1916838"/>
                <a:gd name="connsiteY203" fmla="*/ 22322 h 477020"/>
                <a:gd name="connsiteX204" fmla="*/ 1645443 w 1916838"/>
                <a:gd name="connsiteY204" fmla="*/ 22322 h 477020"/>
                <a:gd name="connsiteX205" fmla="*/ 1592585 w 1916838"/>
                <a:gd name="connsiteY205" fmla="*/ 34747 h 477020"/>
                <a:gd name="connsiteX206" fmla="*/ 1577633 w 1916838"/>
                <a:gd name="connsiteY206" fmla="*/ 39170 h 477020"/>
                <a:gd name="connsiteX207" fmla="*/ 1615118 w 1916838"/>
                <a:gd name="connsiteY207" fmla="*/ 32852 h 477020"/>
                <a:gd name="connsiteX208" fmla="*/ 1651550 w 1916838"/>
                <a:gd name="connsiteY208" fmla="*/ 25271 h 477020"/>
                <a:gd name="connsiteX209" fmla="*/ 1680822 w 1916838"/>
                <a:gd name="connsiteY209" fmla="*/ 20006 h 477020"/>
                <a:gd name="connsiteX210" fmla="*/ 1706724 w 1916838"/>
                <a:gd name="connsiteY210" fmla="*/ 19164 h 477020"/>
                <a:gd name="connsiteX211" fmla="*/ 1729678 w 1916838"/>
                <a:gd name="connsiteY211" fmla="*/ 16215 h 477020"/>
                <a:gd name="connsiteX212" fmla="*/ 1753685 w 1916838"/>
                <a:gd name="connsiteY212" fmla="*/ 16215 h 477020"/>
                <a:gd name="connsiteX213" fmla="*/ 1778746 w 1916838"/>
                <a:gd name="connsiteY213" fmla="*/ 12004 h 477020"/>
                <a:gd name="connsiteX214" fmla="*/ 1814756 w 1916838"/>
                <a:gd name="connsiteY214" fmla="*/ 5686 h 477020"/>
                <a:gd name="connsiteX215" fmla="*/ 1858559 w 1916838"/>
                <a:gd name="connsiteY215" fmla="*/ 1895 h 477020"/>
                <a:gd name="connsiteX216" fmla="*/ 1899834 w 1916838"/>
                <a:gd name="connsiteY216" fmla="*/ 0 h 477020"/>
                <a:gd name="connsiteX217" fmla="*/ 1916682 w 1916838"/>
                <a:gd name="connsiteY217" fmla="*/ 1474 h 477020"/>
                <a:gd name="connsiteX218" fmla="*/ 1896044 w 1916838"/>
                <a:gd name="connsiteY218" fmla="*/ 5265 h 477020"/>
                <a:gd name="connsiteX219" fmla="*/ 1866351 w 1916838"/>
                <a:gd name="connsiteY219" fmla="*/ 10529 h 477020"/>
                <a:gd name="connsiteX220" fmla="*/ 1849925 w 1916838"/>
                <a:gd name="connsiteY220" fmla="*/ 13478 h 477020"/>
                <a:gd name="connsiteX221" fmla="*/ 1822969 w 1916838"/>
                <a:gd name="connsiteY221" fmla="*/ 15794 h 477020"/>
                <a:gd name="connsiteX222" fmla="*/ 1836026 w 1916838"/>
                <a:gd name="connsiteY222" fmla="*/ 16847 h 477020"/>
                <a:gd name="connsiteX223" fmla="*/ 1806754 w 1916838"/>
                <a:gd name="connsiteY223" fmla="*/ 20217 h 477020"/>
                <a:gd name="connsiteX224" fmla="*/ 1783800 w 1916838"/>
                <a:gd name="connsiteY224" fmla="*/ 23586 h 477020"/>
                <a:gd name="connsiteX225" fmla="*/ 1756844 w 1916838"/>
                <a:gd name="connsiteY225" fmla="*/ 25902 h 477020"/>
                <a:gd name="connsiteX226" fmla="*/ 1736206 w 1916838"/>
                <a:gd name="connsiteY226" fmla="*/ 26745 h 477020"/>
                <a:gd name="connsiteX227" fmla="*/ 1718517 w 1916838"/>
                <a:gd name="connsiteY227" fmla="*/ 29693 h 477020"/>
                <a:gd name="connsiteX228" fmla="*/ 1689666 w 1916838"/>
                <a:gd name="connsiteY228" fmla="*/ 32431 h 477020"/>
                <a:gd name="connsiteX229" fmla="*/ 1709883 w 1916838"/>
                <a:gd name="connsiteY229" fmla="*/ 32431 h 477020"/>
                <a:gd name="connsiteX230" fmla="*/ 1745472 w 1916838"/>
                <a:gd name="connsiteY230" fmla="*/ 29693 h 477020"/>
                <a:gd name="connsiteX231" fmla="*/ 1777693 w 1916838"/>
                <a:gd name="connsiteY231" fmla="*/ 26745 h 477020"/>
                <a:gd name="connsiteX232" fmla="*/ 1787801 w 1916838"/>
                <a:gd name="connsiteY232" fmla="*/ 28219 h 477020"/>
                <a:gd name="connsiteX233" fmla="*/ 1760845 w 1916838"/>
                <a:gd name="connsiteY233" fmla="*/ 32431 h 477020"/>
                <a:gd name="connsiteX234" fmla="*/ 1729257 w 1916838"/>
                <a:gd name="connsiteY234" fmla="*/ 34958 h 477020"/>
                <a:gd name="connsiteX235" fmla="*/ 1685665 w 1916838"/>
                <a:gd name="connsiteY235" fmla="*/ 38327 h 477020"/>
                <a:gd name="connsiteX236" fmla="*/ 1670292 w 1916838"/>
                <a:gd name="connsiteY236" fmla="*/ 41697 h 477020"/>
                <a:gd name="connsiteX237" fmla="*/ 1697248 w 1916838"/>
                <a:gd name="connsiteY237" fmla="*/ 38748 h 477020"/>
                <a:gd name="connsiteX238" fmla="*/ 1741892 w 1916838"/>
                <a:gd name="connsiteY238" fmla="*/ 35800 h 477020"/>
                <a:gd name="connsiteX239" fmla="*/ 1757265 w 1916838"/>
                <a:gd name="connsiteY239" fmla="*/ 36221 h 477020"/>
                <a:gd name="connsiteX240" fmla="*/ 1724624 w 1916838"/>
                <a:gd name="connsiteY240" fmla="*/ 41907 h 477020"/>
                <a:gd name="connsiteX241" fmla="*/ 1693878 w 1916838"/>
                <a:gd name="connsiteY241" fmla="*/ 45277 h 477020"/>
                <a:gd name="connsiteX242" fmla="*/ 1694299 w 1916838"/>
                <a:gd name="connsiteY242" fmla="*/ 49699 h 477020"/>
                <a:gd name="connsiteX243" fmla="*/ 1707777 w 1916838"/>
                <a:gd name="connsiteY243" fmla="*/ 51173 h 477020"/>
                <a:gd name="connsiteX244" fmla="*/ 1693878 w 1916838"/>
                <a:gd name="connsiteY244" fmla="*/ 54121 h 477020"/>
                <a:gd name="connsiteX245" fmla="*/ 1677452 w 1916838"/>
                <a:gd name="connsiteY245" fmla="*/ 55596 h 477020"/>
                <a:gd name="connsiteX246" fmla="*/ 1675136 w 1916838"/>
                <a:gd name="connsiteY246" fmla="*/ 59386 h 477020"/>
                <a:gd name="connsiteX247" fmla="*/ 1649233 w 1916838"/>
                <a:gd name="connsiteY247" fmla="*/ 62124 h 477020"/>
                <a:gd name="connsiteX248" fmla="*/ 1637651 w 1916838"/>
                <a:gd name="connsiteY248" fmla="*/ 68441 h 477020"/>
                <a:gd name="connsiteX249" fmla="*/ 1651129 w 1916838"/>
                <a:gd name="connsiteY249" fmla="*/ 69916 h 477020"/>
                <a:gd name="connsiteX250" fmla="*/ 1663132 w 1916838"/>
                <a:gd name="connsiteY250" fmla="*/ 69494 h 477020"/>
                <a:gd name="connsiteX251" fmla="*/ 1678926 w 1916838"/>
                <a:gd name="connsiteY251" fmla="*/ 70547 h 477020"/>
                <a:gd name="connsiteX252" fmla="*/ 1678926 w 1916838"/>
                <a:gd name="connsiteY252" fmla="*/ 68231 h 477020"/>
                <a:gd name="connsiteX253" fmla="*/ 1679347 w 1916838"/>
                <a:gd name="connsiteY253" fmla="*/ 64861 h 477020"/>
                <a:gd name="connsiteX254" fmla="*/ 1693878 w 1916838"/>
                <a:gd name="connsiteY254" fmla="*/ 63809 h 477020"/>
                <a:gd name="connsiteX255" fmla="*/ 1705461 w 1916838"/>
                <a:gd name="connsiteY255" fmla="*/ 62334 h 477020"/>
                <a:gd name="connsiteX256" fmla="*/ 1709251 w 1916838"/>
                <a:gd name="connsiteY256" fmla="*/ 67599 h 477020"/>
                <a:gd name="connsiteX257" fmla="*/ 1703565 w 1916838"/>
                <a:gd name="connsiteY257" fmla="*/ 70969 h 477020"/>
                <a:gd name="connsiteX258" fmla="*/ 1700196 w 1916838"/>
                <a:gd name="connsiteY258" fmla="*/ 74759 h 477020"/>
                <a:gd name="connsiteX259" fmla="*/ 1693457 w 1916838"/>
                <a:gd name="connsiteY259" fmla="*/ 77076 h 477020"/>
                <a:gd name="connsiteX260" fmla="*/ 1681453 w 1916838"/>
                <a:gd name="connsiteY260" fmla="*/ 80445 h 477020"/>
                <a:gd name="connsiteX261" fmla="*/ 1707356 w 1916838"/>
                <a:gd name="connsiteY261" fmla="*/ 78971 h 477020"/>
                <a:gd name="connsiteX262" fmla="*/ 1727151 w 1916838"/>
                <a:gd name="connsiteY262" fmla="*/ 80445 h 477020"/>
                <a:gd name="connsiteX263" fmla="*/ 1716622 w 1916838"/>
                <a:gd name="connsiteY263" fmla="*/ 87605 h 477020"/>
                <a:gd name="connsiteX264" fmla="*/ 1709462 w 1916838"/>
                <a:gd name="connsiteY264" fmla="*/ 94344 h 477020"/>
                <a:gd name="connsiteX265" fmla="*/ 1709883 w 1916838"/>
                <a:gd name="connsiteY265" fmla="*/ 101083 h 477020"/>
                <a:gd name="connsiteX266" fmla="*/ 1691772 w 1916838"/>
                <a:gd name="connsiteY266" fmla="*/ 95818 h 477020"/>
                <a:gd name="connsiteX267" fmla="*/ 1690719 w 1916838"/>
                <a:gd name="connsiteY267" fmla="*/ 89500 h 477020"/>
                <a:gd name="connsiteX268" fmla="*/ 1676399 w 1916838"/>
                <a:gd name="connsiteY268" fmla="*/ 92449 h 477020"/>
                <a:gd name="connsiteX269" fmla="*/ 1663343 w 1916838"/>
                <a:gd name="connsiteY269" fmla="*/ 90974 h 477020"/>
                <a:gd name="connsiteX270" fmla="*/ 1652392 w 1916838"/>
                <a:gd name="connsiteY270" fmla="*/ 91396 h 477020"/>
                <a:gd name="connsiteX271" fmla="*/ 1638493 w 1916838"/>
                <a:gd name="connsiteY271" fmla="*/ 93712 h 477020"/>
                <a:gd name="connsiteX272" fmla="*/ 1628385 w 1916838"/>
                <a:gd name="connsiteY272" fmla="*/ 96660 h 477020"/>
                <a:gd name="connsiteX273" fmla="*/ 1657236 w 1916838"/>
                <a:gd name="connsiteY273" fmla="*/ 96660 h 477020"/>
                <a:gd name="connsiteX274" fmla="*/ 1670292 w 1916838"/>
                <a:gd name="connsiteY274" fmla="*/ 102346 h 477020"/>
                <a:gd name="connsiteX275" fmla="*/ 1682296 w 1916838"/>
                <a:gd name="connsiteY275" fmla="*/ 110138 h 477020"/>
                <a:gd name="connsiteX276" fmla="*/ 1668818 w 1916838"/>
                <a:gd name="connsiteY276" fmla="*/ 115824 h 477020"/>
                <a:gd name="connsiteX277" fmla="*/ 1651550 w 1916838"/>
                <a:gd name="connsiteY277" fmla="*/ 114982 h 477020"/>
                <a:gd name="connsiteX278" fmla="*/ 1637651 w 1916838"/>
                <a:gd name="connsiteY278" fmla="*/ 119825 h 477020"/>
                <a:gd name="connsiteX279" fmla="*/ 1654919 w 1916838"/>
                <a:gd name="connsiteY279" fmla="*/ 120246 h 477020"/>
                <a:gd name="connsiteX280" fmla="*/ 1660184 w 1916838"/>
                <a:gd name="connsiteY280" fmla="*/ 125090 h 477020"/>
                <a:gd name="connsiteX281" fmla="*/ 1678926 w 1916838"/>
                <a:gd name="connsiteY281" fmla="*/ 124248 h 477020"/>
                <a:gd name="connsiteX282" fmla="*/ 1699985 w 1916838"/>
                <a:gd name="connsiteY282" fmla="*/ 122773 h 477020"/>
                <a:gd name="connsiteX283" fmla="*/ 1677873 w 1916838"/>
                <a:gd name="connsiteY283" fmla="*/ 128459 h 477020"/>
                <a:gd name="connsiteX284" fmla="*/ 1648601 w 1916838"/>
                <a:gd name="connsiteY284" fmla="*/ 130776 h 477020"/>
                <a:gd name="connsiteX285" fmla="*/ 1635545 w 1916838"/>
                <a:gd name="connsiteY285" fmla="*/ 132250 h 477020"/>
                <a:gd name="connsiteX286" fmla="*/ 1636387 w 1916838"/>
                <a:gd name="connsiteY286" fmla="*/ 136672 h 477020"/>
                <a:gd name="connsiteX287" fmla="*/ 1599955 w 1916838"/>
                <a:gd name="connsiteY287" fmla="*/ 138146 h 477020"/>
                <a:gd name="connsiteX288" fmla="*/ 1585425 w 1916838"/>
                <a:gd name="connsiteY288" fmla="*/ 137094 h 477020"/>
                <a:gd name="connsiteX289" fmla="*/ 1580581 w 1916838"/>
                <a:gd name="connsiteY289" fmla="*/ 143832 h 477020"/>
                <a:gd name="connsiteX290" fmla="*/ 1605641 w 1916838"/>
                <a:gd name="connsiteY290" fmla="*/ 141095 h 477020"/>
                <a:gd name="connsiteX291" fmla="*/ 1626700 w 1916838"/>
                <a:gd name="connsiteY291" fmla="*/ 139621 h 477020"/>
                <a:gd name="connsiteX292" fmla="*/ 1643969 w 1916838"/>
                <a:gd name="connsiteY292" fmla="*/ 140042 h 477020"/>
                <a:gd name="connsiteX293" fmla="*/ 1636177 w 1916838"/>
                <a:gd name="connsiteY293" fmla="*/ 146781 h 477020"/>
                <a:gd name="connsiteX294" fmla="*/ 1589637 w 1916838"/>
                <a:gd name="connsiteY294" fmla="*/ 151203 h 477020"/>
                <a:gd name="connsiteX295" fmla="*/ 1572789 w 1916838"/>
                <a:gd name="connsiteY295" fmla="*/ 156047 h 477020"/>
                <a:gd name="connsiteX296" fmla="*/ 1543096 w 1916838"/>
                <a:gd name="connsiteY296" fmla="*/ 153098 h 477020"/>
                <a:gd name="connsiteX297" fmla="*/ 1512771 w 1916838"/>
                <a:gd name="connsiteY297" fmla="*/ 153098 h 477020"/>
                <a:gd name="connsiteX298" fmla="*/ 1504137 w 1916838"/>
                <a:gd name="connsiteY298" fmla="*/ 157942 h 477020"/>
                <a:gd name="connsiteX299" fmla="*/ 1536147 w 1916838"/>
                <a:gd name="connsiteY299" fmla="*/ 157942 h 477020"/>
                <a:gd name="connsiteX300" fmla="*/ 1555942 w 1916838"/>
                <a:gd name="connsiteY300" fmla="*/ 160258 h 477020"/>
                <a:gd name="connsiteX301" fmla="*/ 1573211 w 1916838"/>
                <a:gd name="connsiteY301" fmla="*/ 161732 h 477020"/>
                <a:gd name="connsiteX302" fmla="*/ 1579528 w 1916838"/>
                <a:gd name="connsiteY302" fmla="*/ 168892 h 477020"/>
                <a:gd name="connsiteX303" fmla="*/ 1572789 w 1916838"/>
                <a:gd name="connsiteY303" fmla="*/ 172683 h 477020"/>
                <a:gd name="connsiteX304" fmla="*/ 1537200 w 1916838"/>
                <a:gd name="connsiteY304" fmla="*/ 172262 h 477020"/>
                <a:gd name="connsiteX305" fmla="*/ 1515930 w 1916838"/>
                <a:gd name="connsiteY305" fmla="*/ 171841 h 477020"/>
                <a:gd name="connsiteX306" fmla="*/ 1495292 w 1916838"/>
                <a:gd name="connsiteY306" fmla="*/ 167629 h 477020"/>
                <a:gd name="connsiteX307" fmla="*/ 1484763 w 1916838"/>
                <a:gd name="connsiteY307" fmla="*/ 169524 h 477020"/>
                <a:gd name="connsiteX308" fmla="*/ 1498662 w 1916838"/>
                <a:gd name="connsiteY308" fmla="*/ 173736 h 477020"/>
                <a:gd name="connsiteX309" fmla="*/ 1539938 w 1916838"/>
                <a:gd name="connsiteY309" fmla="*/ 177105 h 477020"/>
                <a:gd name="connsiteX310" fmla="*/ 1565419 w 1916838"/>
                <a:gd name="connsiteY310" fmla="*/ 180475 h 477020"/>
                <a:gd name="connsiteX311" fmla="*/ 1565419 w 1916838"/>
                <a:gd name="connsiteY311" fmla="*/ 187214 h 477020"/>
                <a:gd name="connsiteX312" fmla="*/ 1582266 w 1916838"/>
                <a:gd name="connsiteY312" fmla="*/ 182370 h 477020"/>
                <a:gd name="connsiteX313" fmla="*/ 1584582 w 1916838"/>
                <a:gd name="connsiteY313" fmla="*/ 191425 h 477020"/>
                <a:gd name="connsiteX314" fmla="*/ 1587531 w 1916838"/>
                <a:gd name="connsiteY314" fmla="*/ 200691 h 477020"/>
                <a:gd name="connsiteX315" fmla="*/ 1563102 w 1916838"/>
                <a:gd name="connsiteY315" fmla="*/ 199638 h 477020"/>
                <a:gd name="connsiteX316" fmla="*/ 1557416 w 1916838"/>
                <a:gd name="connsiteY316" fmla="*/ 196269 h 477020"/>
                <a:gd name="connsiteX317" fmla="*/ 1548782 w 1916838"/>
                <a:gd name="connsiteY317" fmla="*/ 204903 h 477020"/>
                <a:gd name="connsiteX318" fmla="*/ 1511718 w 1916838"/>
                <a:gd name="connsiteY318" fmla="*/ 203850 h 477020"/>
                <a:gd name="connsiteX319" fmla="*/ 1498241 w 1916838"/>
                <a:gd name="connsiteY319" fmla="*/ 197533 h 477020"/>
                <a:gd name="connsiteX320" fmla="*/ 1479498 w 1916838"/>
                <a:gd name="connsiteY320" fmla="*/ 194795 h 477020"/>
                <a:gd name="connsiteX321" fmla="*/ 1461177 w 1916838"/>
                <a:gd name="connsiteY321" fmla="*/ 200481 h 477020"/>
                <a:gd name="connsiteX322" fmla="*/ 1466442 w 1916838"/>
                <a:gd name="connsiteY322" fmla="*/ 208062 h 477020"/>
                <a:gd name="connsiteX323" fmla="*/ 1428957 w 1916838"/>
                <a:gd name="connsiteY323" fmla="*/ 215854 h 477020"/>
                <a:gd name="connsiteX324" fmla="*/ 1445804 w 1916838"/>
                <a:gd name="connsiteY324" fmla="*/ 215854 h 477020"/>
                <a:gd name="connsiteX325" fmla="*/ 1472128 w 1916838"/>
                <a:gd name="connsiteY325" fmla="*/ 213537 h 477020"/>
                <a:gd name="connsiteX326" fmla="*/ 1505822 w 1916838"/>
                <a:gd name="connsiteY326" fmla="*/ 210589 h 477020"/>
                <a:gd name="connsiteX327" fmla="*/ 1545623 w 1916838"/>
                <a:gd name="connsiteY327" fmla="*/ 209115 h 477020"/>
                <a:gd name="connsiteX328" fmla="*/ 1567314 w 1916838"/>
                <a:gd name="connsiteY328" fmla="*/ 208273 h 477020"/>
                <a:gd name="connsiteX329" fmla="*/ 1531725 w 1916838"/>
                <a:gd name="connsiteY329" fmla="*/ 215011 h 477020"/>
                <a:gd name="connsiteX330" fmla="*/ 1481815 w 1916838"/>
                <a:gd name="connsiteY330" fmla="*/ 228489 h 477020"/>
                <a:gd name="connsiteX331" fmla="*/ 1434222 w 1916838"/>
                <a:gd name="connsiteY331" fmla="*/ 241967 h 477020"/>
                <a:gd name="connsiteX332" fmla="*/ 1388103 w 1916838"/>
                <a:gd name="connsiteY332" fmla="*/ 250601 h 477020"/>
                <a:gd name="connsiteX333" fmla="*/ 1355461 w 1916838"/>
                <a:gd name="connsiteY333" fmla="*/ 256287 h 477020"/>
                <a:gd name="connsiteX334" fmla="*/ 1316081 w 1916838"/>
                <a:gd name="connsiteY334" fmla="*/ 263026 h 477020"/>
                <a:gd name="connsiteX335" fmla="*/ 1305130 w 1916838"/>
                <a:gd name="connsiteY335" fmla="*/ 261130 h 477020"/>
                <a:gd name="connsiteX336" fmla="*/ 1293969 w 1916838"/>
                <a:gd name="connsiteY336" fmla="*/ 266395 h 477020"/>
                <a:gd name="connsiteX337" fmla="*/ 1266593 w 1916838"/>
                <a:gd name="connsiteY337" fmla="*/ 270186 h 477020"/>
                <a:gd name="connsiteX338" fmla="*/ 1244902 w 1916838"/>
                <a:gd name="connsiteY338" fmla="*/ 271239 h 477020"/>
                <a:gd name="connsiteX339" fmla="*/ 1222369 w 1916838"/>
                <a:gd name="connsiteY339" fmla="*/ 267869 h 477020"/>
                <a:gd name="connsiteX340" fmla="*/ 1227213 w 1916838"/>
                <a:gd name="connsiteY340" fmla="*/ 273555 h 477020"/>
                <a:gd name="connsiteX341" fmla="*/ 1220895 w 1916838"/>
                <a:gd name="connsiteY341" fmla="*/ 279873 h 477020"/>
                <a:gd name="connsiteX342" fmla="*/ 1194361 w 1916838"/>
                <a:gd name="connsiteY342" fmla="*/ 286612 h 477020"/>
                <a:gd name="connsiteX343" fmla="*/ 1162772 w 1916838"/>
                <a:gd name="connsiteY343" fmla="*/ 302406 h 477020"/>
                <a:gd name="connsiteX344" fmla="*/ 1121918 w 1916838"/>
                <a:gd name="connsiteY344" fmla="*/ 317358 h 477020"/>
                <a:gd name="connsiteX345" fmla="*/ 1088434 w 1916838"/>
                <a:gd name="connsiteY345" fmla="*/ 327466 h 477020"/>
                <a:gd name="connsiteX346" fmla="*/ 1073482 w 1916838"/>
                <a:gd name="connsiteY346" fmla="*/ 333152 h 477020"/>
                <a:gd name="connsiteX347" fmla="*/ 1059584 w 1916838"/>
                <a:gd name="connsiteY347" fmla="*/ 336521 h 477020"/>
                <a:gd name="connsiteX348" fmla="*/ 1046106 w 1916838"/>
                <a:gd name="connsiteY348" fmla="*/ 339470 h 477020"/>
                <a:gd name="connsiteX349" fmla="*/ 1029259 w 1916838"/>
                <a:gd name="connsiteY349" fmla="*/ 341786 h 477020"/>
                <a:gd name="connsiteX350" fmla="*/ 1026311 w 1916838"/>
                <a:gd name="connsiteY350" fmla="*/ 336521 h 477020"/>
                <a:gd name="connsiteX351" fmla="*/ 1030733 w 1916838"/>
                <a:gd name="connsiteY351" fmla="*/ 328308 h 477020"/>
                <a:gd name="connsiteX352" fmla="*/ 1013043 w 1916838"/>
                <a:gd name="connsiteY352" fmla="*/ 341786 h 477020"/>
                <a:gd name="connsiteX353" fmla="*/ 985667 w 1916838"/>
                <a:gd name="connsiteY353" fmla="*/ 347051 h 477020"/>
                <a:gd name="connsiteX354" fmla="*/ 959343 w 1916838"/>
                <a:gd name="connsiteY354" fmla="*/ 358001 h 477020"/>
                <a:gd name="connsiteX355" fmla="*/ 942917 w 1916838"/>
                <a:gd name="connsiteY355" fmla="*/ 361792 h 477020"/>
                <a:gd name="connsiteX356" fmla="*/ 920805 w 1916838"/>
                <a:gd name="connsiteY356" fmla="*/ 364109 h 477020"/>
                <a:gd name="connsiteX357" fmla="*/ 937021 w 1916838"/>
                <a:gd name="connsiteY357" fmla="*/ 366004 h 477020"/>
                <a:gd name="connsiteX358" fmla="*/ 941443 w 1916838"/>
                <a:gd name="connsiteY358" fmla="*/ 372322 h 477020"/>
                <a:gd name="connsiteX359" fmla="*/ 930914 w 1916838"/>
                <a:gd name="connsiteY359" fmla="*/ 376112 h 477020"/>
                <a:gd name="connsiteX360" fmla="*/ 923122 w 1916838"/>
                <a:gd name="connsiteY360" fmla="*/ 379482 h 477020"/>
                <a:gd name="connsiteX361" fmla="*/ 931335 w 1916838"/>
                <a:gd name="connsiteY361" fmla="*/ 386642 h 477020"/>
                <a:gd name="connsiteX362" fmla="*/ 909223 w 1916838"/>
                <a:gd name="connsiteY362" fmla="*/ 393380 h 477020"/>
                <a:gd name="connsiteX363" fmla="*/ 886690 w 1916838"/>
                <a:gd name="connsiteY363" fmla="*/ 407279 h 477020"/>
                <a:gd name="connsiteX364" fmla="*/ 866473 w 1916838"/>
                <a:gd name="connsiteY364" fmla="*/ 416335 h 477020"/>
                <a:gd name="connsiteX365" fmla="*/ 864999 w 1916838"/>
                <a:gd name="connsiteY365" fmla="*/ 427496 h 477020"/>
                <a:gd name="connsiteX366" fmla="*/ 841624 w 1916838"/>
                <a:gd name="connsiteY366" fmla="*/ 444975 h 477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Lst>
              <a:rect l="l" t="t" r="r" b="b"/>
              <a:pathLst>
                <a:path w="1916838" h="477020">
                  <a:moveTo>
                    <a:pt x="841624" y="444975"/>
                  </a:moveTo>
                  <a:cubicBezTo>
                    <a:pt x="841624" y="456557"/>
                    <a:pt x="817617" y="470877"/>
                    <a:pt x="810035" y="470877"/>
                  </a:cubicBezTo>
                  <a:cubicBezTo>
                    <a:pt x="818248" y="470877"/>
                    <a:pt x="780764" y="474247"/>
                    <a:pt x="765812" y="474247"/>
                  </a:cubicBezTo>
                  <a:cubicBezTo>
                    <a:pt x="759494" y="461822"/>
                    <a:pt x="737593" y="467929"/>
                    <a:pt x="723062" y="467929"/>
                  </a:cubicBezTo>
                  <a:cubicBezTo>
                    <a:pt x="716955" y="480985"/>
                    <a:pt x="672731" y="476142"/>
                    <a:pt x="661570" y="476142"/>
                  </a:cubicBezTo>
                  <a:cubicBezTo>
                    <a:pt x="649988" y="476142"/>
                    <a:pt x="654410" y="467508"/>
                    <a:pt x="643249" y="467508"/>
                  </a:cubicBezTo>
                  <a:cubicBezTo>
                    <a:pt x="632719" y="467508"/>
                    <a:pt x="612082" y="454451"/>
                    <a:pt x="608291" y="454451"/>
                  </a:cubicBezTo>
                  <a:cubicBezTo>
                    <a:pt x="612503" y="454451"/>
                    <a:pt x="595866" y="444343"/>
                    <a:pt x="583231" y="444343"/>
                  </a:cubicBezTo>
                  <a:cubicBezTo>
                    <a:pt x="570806" y="444343"/>
                    <a:pt x="559645" y="432761"/>
                    <a:pt x="567437" y="432761"/>
                  </a:cubicBezTo>
                  <a:cubicBezTo>
                    <a:pt x="567437" y="424969"/>
                    <a:pt x="581336" y="420757"/>
                    <a:pt x="576703" y="420757"/>
                  </a:cubicBezTo>
                  <a:cubicBezTo>
                    <a:pt x="582389" y="420757"/>
                    <a:pt x="603026" y="417388"/>
                    <a:pt x="599236" y="417388"/>
                  </a:cubicBezTo>
                  <a:cubicBezTo>
                    <a:pt x="604079" y="417388"/>
                    <a:pt x="592076" y="413176"/>
                    <a:pt x="584916" y="413176"/>
                  </a:cubicBezTo>
                  <a:cubicBezTo>
                    <a:pt x="577756" y="413176"/>
                    <a:pt x="566173" y="427496"/>
                    <a:pt x="558382" y="427496"/>
                  </a:cubicBezTo>
                  <a:cubicBezTo>
                    <a:pt x="550169" y="427496"/>
                    <a:pt x="544061" y="429812"/>
                    <a:pt x="547852" y="422231"/>
                  </a:cubicBezTo>
                  <a:cubicBezTo>
                    <a:pt x="556065" y="422231"/>
                    <a:pt x="550800" y="411702"/>
                    <a:pt x="541113" y="411702"/>
                  </a:cubicBezTo>
                  <a:cubicBezTo>
                    <a:pt x="531426" y="411702"/>
                    <a:pt x="512262" y="408332"/>
                    <a:pt x="514579" y="403489"/>
                  </a:cubicBezTo>
                  <a:cubicBezTo>
                    <a:pt x="520897" y="403489"/>
                    <a:pt x="528899" y="388116"/>
                    <a:pt x="525108" y="388116"/>
                  </a:cubicBezTo>
                  <a:cubicBezTo>
                    <a:pt x="528899" y="388116"/>
                    <a:pt x="508261" y="387695"/>
                    <a:pt x="510788" y="382851"/>
                  </a:cubicBezTo>
                  <a:cubicBezTo>
                    <a:pt x="516474" y="382851"/>
                    <a:pt x="538165" y="364109"/>
                    <a:pt x="529952" y="364109"/>
                  </a:cubicBezTo>
                  <a:cubicBezTo>
                    <a:pt x="537744" y="364109"/>
                    <a:pt x="562172" y="348314"/>
                    <a:pt x="572701" y="348314"/>
                  </a:cubicBezTo>
                  <a:cubicBezTo>
                    <a:pt x="583231" y="348314"/>
                    <a:pt x="616925" y="342628"/>
                    <a:pt x="611661" y="342628"/>
                  </a:cubicBezTo>
                  <a:cubicBezTo>
                    <a:pt x="616925" y="342628"/>
                    <a:pt x="628929" y="328308"/>
                    <a:pt x="624717" y="328308"/>
                  </a:cubicBezTo>
                  <a:cubicBezTo>
                    <a:pt x="628508" y="328308"/>
                    <a:pt x="617557" y="328308"/>
                    <a:pt x="613766" y="328308"/>
                  </a:cubicBezTo>
                  <a:cubicBezTo>
                    <a:pt x="617978" y="328308"/>
                    <a:pt x="615241" y="321570"/>
                    <a:pt x="607449" y="321570"/>
                  </a:cubicBezTo>
                  <a:cubicBezTo>
                    <a:pt x="601763" y="327255"/>
                    <a:pt x="577756" y="324518"/>
                    <a:pt x="571017" y="324518"/>
                  </a:cubicBezTo>
                  <a:cubicBezTo>
                    <a:pt x="563857" y="324518"/>
                    <a:pt x="562383" y="329361"/>
                    <a:pt x="571438" y="329361"/>
                  </a:cubicBezTo>
                  <a:cubicBezTo>
                    <a:pt x="579651" y="329361"/>
                    <a:pt x="598393" y="333784"/>
                    <a:pt x="583442" y="333784"/>
                  </a:cubicBezTo>
                  <a:cubicBezTo>
                    <a:pt x="568068" y="333784"/>
                    <a:pt x="545536" y="345787"/>
                    <a:pt x="533953" y="345787"/>
                  </a:cubicBezTo>
                  <a:cubicBezTo>
                    <a:pt x="521949" y="345787"/>
                    <a:pt x="508051" y="344313"/>
                    <a:pt x="501733" y="344313"/>
                  </a:cubicBezTo>
                  <a:cubicBezTo>
                    <a:pt x="498785" y="349578"/>
                    <a:pt x="495415" y="333784"/>
                    <a:pt x="508472" y="333784"/>
                  </a:cubicBezTo>
                  <a:cubicBezTo>
                    <a:pt x="520897" y="333784"/>
                    <a:pt x="534374" y="325571"/>
                    <a:pt x="529531" y="325571"/>
                  </a:cubicBezTo>
                  <a:cubicBezTo>
                    <a:pt x="534374" y="325571"/>
                    <a:pt x="507419" y="321148"/>
                    <a:pt x="520054" y="321148"/>
                  </a:cubicBezTo>
                  <a:cubicBezTo>
                    <a:pt x="532900" y="321148"/>
                    <a:pt x="547431" y="318200"/>
                    <a:pt x="556486" y="318200"/>
                  </a:cubicBezTo>
                  <a:cubicBezTo>
                    <a:pt x="565120" y="318200"/>
                    <a:pt x="610818" y="311882"/>
                    <a:pt x="604501" y="311882"/>
                  </a:cubicBezTo>
                  <a:cubicBezTo>
                    <a:pt x="610186" y="311882"/>
                    <a:pt x="595445" y="303248"/>
                    <a:pt x="586390" y="303248"/>
                  </a:cubicBezTo>
                  <a:cubicBezTo>
                    <a:pt x="577334" y="303248"/>
                    <a:pt x="572912" y="299458"/>
                    <a:pt x="557539" y="299458"/>
                  </a:cubicBezTo>
                  <a:cubicBezTo>
                    <a:pt x="542166" y="299458"/>
                    <a:pt x="524898" y="312514"/>
                    <a:pt x="512473" y="312514"/>
                  </a:cubicBezTo>
                  <a:cubicBezTo>
                    <a:pt x="504260" y="320727"/>
                    <a:pt x="488045" y="312935"/>
                    <a:pt x="481306" y="312935"/>
                  </a:cubicBezTo>
                  <a:cubicBezTo>
                    <a:pt x="488466" y="312935"/>
                    <a:pt x="479832" y="298405"/>
                    <a:pt x="486149" y="298405"/>
                  </a:cubicBezTo>
                  <a:cubicBezTo>
                    <a:pt x="486149" y="292298"/>
                    <a:pt x="470355" y="291245"/>
                    <a:pt x="473725" y="284506"/>
                  </a:cubicBezTo>
                  <a:cubicBezTo>
                    <a:pt x="480885" y="284506"/>
                    <a:pt x="474146" y="272923"/>
                    <a:pt x="465933" y="272923"/>
                  </a:cubicBezTo>
                  <a:cubicBezTo>
                    <a:pt x="457299" y="272923"/>
                    <a:pt x="435187" y="269554"/>
                    <a:pt x="428027" y="269554"/>
                  </a:cubicBezTo>
                  <a:cubicBezTo>
                    <a:pt x="422341" y="269554"/>
                    <a:pt x="406336" y="265763"/>
                    <a:pt x="389068" y="265763"/>
                  </a:cubicBezTo>
                  <a:cubicBezTo>
                    <a:pt x="365061" y="265763"/>
                    <a:pt x="338105" y="271449"/>
                    <a:pt x="326102" y="271449"/>
                  </a:cubicBezTo>
                  <a:cubicBezTo>
                    <a:pt x="313677" y="271449"/>
                    <a:pt x="300199" y="278609"/>
                    <a:pt x="286721" y="278609"/>
                  </a:cubicBezTo>
                  <a:cubicBezTo>
                    <a:pt x="274297" y="278609"/>
                    <a:pt x="259345" y="286191"/>
                    <a:pt x="255975" y="286191"/>
                  </a:cubicBezTo>
                  <a:cubicBezTo>
                    <a:pt x="259766" y="286191"/>
                    <a:pt x="251764" y="274608"/>
                    <a:pt x="247341" y="283453"/>
                  </a:cubicBezTo>
                  <a:cubicBezTo>
                    <a:pt x="237654" y="283453"/>
                    <a:pt x="239128" y="292508"/>
                    <a:pt x="226704" y="292508"/>
                  </a:cubicBezTo>
                  <a:cubicBezTo>
                    <a:pt x="214700" y="292508"/>
                    <a:pt x="200380" y="297352"/>
                    <a:pt x="197432" y="297352"/>
                  </a:cubicBezTo>
                  <a:cubicBezTo>
                    <a:pt x="200380" y="297352"/>
                    <a:pt x="192588" y="296299"/>
                    <a:pt x="186902" y="296299"/>
                  </a:cubicBezTo>
                  <a:cubicBezTo>
                    <a:pt x="192167" y="296299"/>
                    <a:pt x="177426" y="299247"/>
                    <a:pt x="170687" y="299247"/>
                  </a:cubicBezTo>
                  <a:cubicBezTo>
                    <a:pt x="176373" y="299247"/>
                    <a:pt x="184586" y="302195"/>
                    <a:pt x="180795" y="302195"/>
                  </a:cubicBezTo>
                  <a:cubicBezTo>
                    <a:pt x="185007" y="302195"/>
                    <a:pt x="156788" y="294404"/>
                    <a:pt x="150470" y="306407"/>
                  </a:cubicBezTo>
                  <a:cubicBezTo>
                    <a:pt x="136992" y="306407"/>
                    <a:pt x="129832" y="310198"/>
                    <a:pt x="120146" y="310198"/>
                  </a:cubicBezTo>
                  <a:cubicBezTo>
                    <a:pt x="110037" y="310198"/>
                    <a:pt x="90452" y="312093"/>
                    <a:pt x="88978" y="312093"/>
                  </a:cubicBezTo>
                  <a:cubicBezTo>
                    <a:pt x="90874" y="312093"/>
                    <a:pt x="100982" y="305354"/>
                    <a:pt x="111090" y="305354"/>
                  </a:cubicBezTo>
                  <a:cubicBezTo>
                    <a:pt x="120777" y="305354"/>
                    <a:pt x="126042" y="301564"/>
                    <a:pt x="114038" y="301564"/>
                  </a:cubicBezTo>
                  <a:cubicBezTo>
                    <a:pt x="101614" y="301564"/>
                    <a:pt x="72763" y="309777"/>
                    <a:pt x="61181" y="309777"/>
                  </a:cubicBezTo>
                  <a:cubicBezTo>
                    <a:pt x="49598" y="309777"/>
                    <a:pt x="34646" y="308302"/>
                    <a:pt x="47282" y="308302"/>
                  </a:cubicBezTo>
                  <a:cubicBezTo>
                    <a:pt x="59706" y="308302"/>
                    <a:pt x="77606" y="299668"/>
                    <a:pt x="92348" y="299668"/>
                  </a:cubicBezTo>
                  <a:cubicBezTo>
                    <a:pt x="99087" y="285769"/>
                    <a:pt x="116355" y="292508"/>
                    <a:pt x="129832" y="292508"/>
                  </a:cubicBezTo>
                  <a:cubicBezTo>
                    <a:pt x="143731" y="292508"/>
                    <a:pt x="155735" y="283453"/>
                    <a:pt x="166896" y="283453"/>
                  </a:cubicBezTo>
                  <a:cubicBezTo>
                    <a:pt x="178479" y="283453"/>
                    <a:pt x="186060" y="278609"/>
                    <a:pt x="195326" y="278609"/>
                  </a:cubicBezTo>
                  <a:cubicBezTo>
                    <a:pt x="204802" y="278609"/>
                    <a:pt x="210699" y="272923"/>
                    <a:pt x="197642" y="272923"/>
                  </a:cubicBezTo>
                  <a:cubicBezTo>
                    <a:pt x="185218" y="272923"/>
                    <a:pt x="165422" y="282611"/>
                    <a:pt x="157841" y="282611"/>
                  </a:cubicBezTo>
                  <a:cubicBezTo>
                    <a:pt x="150260" y="282611"/>
                    <a:pt x="136782" y="288928"/>
                    <a:pt x="125199" y="288928"/>
                  </a:cubicBezTo>
                  <a:cubicBezTo>
                    <a:pt x="113196" y="288928"/>
                    <a:pt x="92558" y="296720"/>
                    <a:pt x="83503" y="296720"/>
                  </a:cubicBezTo>
                  <a:cubicBezTo>
                    <a:pt x="74869" y="296720"/>
                    <a:pt x="69183" y="297141"/>
                    <a:pt x="57601" y="297141"/>
                  </a:cubicBezTo>
                  <a:cubicBezTo>
                    <a:pt x="46018" y="297141"/>
                    <a:pt x="35910" y="302827"/>
                    <a:pt x="25380" y="302827"/>
                  </a:cubicBezTo>
                  <a:cubicBezTo>
                    <a:pt x="14219" y="302827"/>
                    <a:pt x="-9788" y="301985"/>
                    <a:pt x="4322" y="301985"/>
                  </a:cubicBezTo>
                  <a:cubicBezTo>
                    <a:pt x="10639" y="289560"/>
                    <a:pt x="33172" y="289560"/>
                    <a:pt x="49388" y="289560"/>
                  </a:cubicBezTo>
                  <a:cubicBezTo>
                    <a:pt x="66234" y="289560"/>
                    <a:pt x="83924" y="276082"/>
                    <a:pt x="96349" y="276082"/>
                  </a:cubicBezTo>
                  <a:cubicBezTo>
                    <a:pt x="108352" y="276082"/>
                    <a:pt x="120356" y="267027"/>
                    <a:pt x="135729" y="267027"/>
                  </a:cubicBezTo>
                  <a:cubicBezTo>
                    <a:pt x="142889" y="252496"/>
                    <a:pt x="166896" y="255445"/>
                    <a:pt x="182269" y="255445"/>
                  </a:cubicBezTo>
                  <a:cubicBezTo>
                    <a:pt x="198063" y="255445"/>
                    <a:pt x="216385" y="256919"/>
                    <a:pt x="220596" y="247653"/>
                  </a:cubicBezTo>
                  <a:cubicBezTo>
                    <a:pt x="230284" y="247653"/>
                    <a:pt x="243761" y="237123"/>
                    <a:pt x="252185" y="237123"/>
                  </a:cubicBezTo>
                  <a:cubicBezTo>
                    <a:pt x="260819" y="237123"/>
                    <a:pt x="239128" y="233754"/>
                    <a:pt x="247973" y="233754"/>
                  </a:cubicBezTo>
                  <a:cubicBezTo>
                    <a:pt x="252185" y="225541"/>
                    <a:pt x="259555" y="230384"/>
                    <a:pt x="243761" y="230384"/>
                  </a:cubicBezTo>
                  <a:cubicBezTo>
                    <a:pt x="228388" y="230384"/>
                    <a:pt x="207329" y="240493"/>
                    <a:pt x="197221" y="240493"/>
                  </a:cubicBezTo>
                  <a:cubicBezTo>
                    <a:pt x="187534" y="240493"/>
                    <a:pt x="181427" y="234807"/>
                    <a:pt x="193852" y="234807"/>
                  </a:cubicBezTo>
                  <a:cubicBezTo>
                    <a:pt x="206908" y="234807"/>
                    <a:pt x="220807" y="225120"/>
                    <a:pt x="234285" y="225120"/>
                  </a:cubicBezTo>
                  <a:cubicBezTo>
                    <a:pt x="247763" y="225120"/>
                    <a:pt x="257239" y="216064"/>
                    <a:pt x="268400" y="216064"/>
                  </a:cubicBezTo>
                  <a:cubicBezTo>
                    <a:pt x="279983" y="216064"/>
                    <a:pt x="289459" y="207430"/>
                    <a:pt x="298093" y="207430"/>
                  </a:cubicBezTo>
                  <a:cubicBezTo>
                    <a:pt x="305885" y="207430"/>
                    <a:pt x="319152" y="201113"/>
                    <a:pt x="329682" y="201113"/>
                  </a:cubicBezTo>
                  <a:cubicBezTo>
                    <a:pt x="340211" y="201113"/>
                    <a:pt x="348424" y="197322"/>
                    <a:pt x="357901" y="197322"/>
                  </a:cubicBezTo>
                  <a:cubicBezTo>
                    <a:pt x="367588" y="197322"/>
                    <a:pt x="382539" y="192900"/>
                    <a:pt x="377696" y="192900"/>
                  </a:cubicBezTo>
                  <a:cubicBezTo>
                    <a:pt x="382539" y="192900"/>
                    <a:pt x="392648" y="185740"/>
                    <a:pt x="390121" y="185740"/>
                  </a:cubicBezTo>
                  <a:cubicBezTo>
                    <a:pt x="392437" y="185740"/>
                    <a:pt x="369483" y="183423"/>
                    <a:pt x="380012" y="183423"/>
                  </a:cubicBezTo>
                  <a:cubicBezTo>
                    <a:pt x="390963" y="183423"/>
                    <a:pt x="398123" y="176684"/>
                    <a:pt x="411601" y="176684"/>
                  </a:cubicBezTo>
                  <a:cubicBezTo>
                    <a:pt x="421709" y="176684"/>
                    <a:pt x="437082" y="171420"/>
                    <a:pt x="434765" y="171420"/>
                  </a:cubicBezTo>
                  <a:cubicBezTo>
                    <a:pt x="438135" y="171420"/>
                    <a:pt x="453929" y="167629"/>
                    <a:pt x="448664" y="167629"/>
                  </a:cubicBezTo>
                  <a:cubicBezTo>
                    <a:pt x="454350" y="167629"/>
                    <a:pt x="466354" y="162785"/>
                    <a:pt x="474988" y="162785"/>
                  </a:cubicBezTo>
                  <a:cubicBezTo>
                    <a:pt x="483201" y="162785"/>
                    <a:pt x="511420" y="157099"/>
                    <a:pt x="506787" y="157099"/>
                  </a:cubicBezTo>
                  <a:cubicBezTo>
                    <a:pt x="512052" y="157099"/>
                    <a:pt x="525108" y="154151"/>
                    <a:pt x="523634" y="154151"/>
                  </a:cubicBezTo>
                  <a:cubicBezTo>
                    <a:pt x="524477" y="154151"/>
                    <a:pt x="540481" y="148886"/>
                    <a:pt x="547220" y="148886"/>
                  </a:cubicBezTo>
                  <a:cubicBezTo>
                    <a:pt x="553959" y="148886"/>
                    <a:pt x="573123" y="145938"/>
                    <a:pt x="568279" y="145938"/>
                  </a:cubicBezTo>
                  <a:cubicBezTo>
                    <a:pt x="572491" y="145938"/>
                    <a:pt x="582178" y="146359"/>
                    <a:pt x="580283" y="146359"/>
                  </a:cubicBezTo>
                  <a:cubicBezTo>
                    <a:pt x="582599" y="146359"/>
                    <a:pt x="577334" y="153519"/>
                    <a:pt x="572070" y="153519"/>
                  </a:cubicBezTo>
                  <a:cubicBezTo>
                    <a:pt x="578387" y="153519"/>
                    <a:pt x="597551" y="148676"/>
                    <a:pt x="592707" y="148676"/>
                  </a:cubicBezTo>
                  <a:cubicBezTo>
                    <a:pt x="597551" y="148676"/>
                    <a:pt x="595024" y="143832"/>
                    <a:pt x="594182" y="143832"/>
                  </a:cubicBezTo>
                  <a:cubicBezTo>
                    <a:pt x="595024" y="143832"/>
                    <a:pt x="600920" y="147202"/>
                    <a:pt x="604711" y="138989"/>
                  </a:cubicBezTo>
                  <a:cubicBezTo>
                    <a:pt x="613345" y="138989"/>
                    <a:pt x="627244" y="140042"/>
                    <a:pt x="621137" y="140042"/>
                  </a:cubicBezTo>
                  <a:cubicBezTo>
                    <a:pt x="628297" y="140042"/>
                    <a:pt x="621137" y="146781"/>
                    <a:pt x="615451" y="146781"/>
                  </a:cubicBezTo>
                  <a:cubicBezTo>
                    <a:pt x="621769" y="146781"/>
                    <a:pt x="637142" y="140042"/>
                    <a:pt x="634193" y="140042"/>
                  </a:cubicBezTo>
                  <a:cubicBezTo>
                    <a:pt x="637142" y="140042"/>
                    <a:pt x="638405" y="135198"/>
                    <a:pt x="633772" y="135198"/>
                  </a:cubicBezTo>
                  <a:cubicBezTo>
                    <a:pt x="639037" y="135198"/>
                    <a:pt x="656937" y="132250"/>
                    <a:pt x="652094" y="132250"/>
                  </a:cubicBezTo>
                  <a:cubicBezTo>
                    <a:pt x="656937" y="132250"/>
                    <a:pt x="667046" y="133724"/>
                    <a:pt x="676101" y="133724"/>
                  </a:cubicBezTo>
                  <a:cubicBezTo>
                    <a:pt x="680523" y="125090"/>
                    <a:pt x="697791" y="128881"/>
                    <a:pt x="706004" y="128881"/>
                  </a:cubicBezTo>
                  <a:cubicBezTo>
                    <a:pt x="714639" y="128881"/>
                    <a:pt x="732960" y="124669"/>
                    <a:pt x="727695" y="124669"/>
                  </a:cubicBezTo>
                  <a:cubicBezTo>
                    <a:pt x="731907" y="124669"/>
                    <a:pt x="712743" y="123616"/>
                    <a:pt x="709374" y="123616"/>
                  </a:cubicBezTo>
                  <a:cubicBezTo>
                    <a:pt x="713796" y="123616"/>
                    <a:pt x="695054" y="120246"/>
                    <a:pt x="704530" y="120246"/>
                  </a:cubicBezTo>
                  <a:cubicBezTo>
                    <a:pt x="714639" y="120246"/>
                    <a:pt x="723694" y="116035"/>
                    <a:pt x="732960" y="116035"/>
                  </a:cubicBezTo>
                  <a:cubicBezTo>
                    <a:pt x="742436" y="116035"/>
                    <a:pt x="763706" y="113718"/>
                    <a:pt x="758020" y="113718"/>
                  </a:cubicBezTo>
                  <a:cubicBezTo>
                    <a:pt x="763285" y="113718"/>
                    <a:pt x="768128" y="112244"/>
                    <a:pt x="784344" y="112244"/>
                  </a:cubicBezTo>
                  <a:cubicBezTo>
                    <a:pt x="800138" y="112244"/>
                    <a:pt x="824355" y="109928"/>
                    <a:pt x="819933" y="109928"/>
                  </a:cubicBezTo>
                  <a:cubicBezTo>
                    <a:pt x="824355" y="109928"/>
                    <a:pt x="843519" y="108032"/>
                    <a:pt x="852153" y="108032"/>
                  </a:cubicBezTo>
                  <a:cubicBezTo>
                    <a:pt x="860788" y="108032"/>
                    <a:pt x="871949" y="104663"/>
                    <a:pt x="879109" y="104663"/>
                  </a:cubicBezTo>
                  <a:cubicBezTo>
                    <a:pt x="885848" y="104663"/>
                    <a:pt x="902695" y="101715"/>
                    <a:pt x="901221" y="101715"/>
                  </a:cubicBezTo>
                  <a:cubicBezTo>
                    <a:pt x="902695" y="101715"/>
                    <a:pt x="880162" y="95607"/>
                    <a:pt x="874686" y="100872"/>
                  </a:cubicBezTo>
                  <a:cubicBezTo>
                    <a:pt x="866473" y="100872"/>
                    <a:pt x="843940" y="103820"/>
                    <a:pt x="835306" y="103820"/>
                  </a:cubicBezTo>
                  <a:cubicBezTo>
                    <a:pt x="831516" y="111402"/>
                    <a:pt x="817195" y="103820"/>
                    <a:pt x="812352" y="103820"/>
                  </a:cubicBezTo>
                  <a:cubicBezTo>
                    <a:pt x="817195" y="103820"/>
                    <a:pt x="824777" y="98556"/>
                    <a:pt x="836780" y="98556"/>
                  </a:cubicBezTo>
                  <a:cubicBezTo>
                    <a:pt x="849205" y="98556"/>
                    <a:pt x="857418" y="94344"/>
                    <a:pt x="869001" y="94344"/>
                  </a:cubicBezTo>
                  <a:cubicBezTo>
                    <a:pt x="880162" y="94344"/>
                    <a:pt x="888164" y="93291"/>
                    <a:pt x="895535" y="93291"/>
                  </a:cubicBezTo>
                  <a:cubicBezTo>
                    <a:pt x="902695" y="93291"/>
                    <a:pt x="893639" y="91396"/>
                    <a:pt x="886900" y="91396"/>
                  </a:cubicBezTo>
                  <a:cubicBezTo>
                    <a:pt x="880162" y="91396"/>
                    <a:pt x="853838" y="90343"/>
                    <a:pt x="848995" y="95186"/>
                  </a:cubicBezTo>
                  <a:cubicBezTo>
                    <a:pt x="841834" y="95186"/>
                    <a:pt x="817406" y="95607"/>
                    <a:pt x="827936" y="95607"/>
                  </a:cubicBezTo>
                  <a:cubicBezTo>
                    <a:pt x="839518" y="95607"/>
                    <a:pt x="862893" y="88447"/>
                    <a:pt x="876792" y="88447"/>
                  </a:cubicBezTo>
                  <a:cubicBezTo>
                    <a:pt x="890270" y="88447"/>
                    <a:pt x="909434" y="81709"/>
                    <a:pt x="918068" y="81709"/>
                  </a:cubicBezTo>
                  <a:cubicBezTo>
                    <a:pt x="926281" y="81709"/>
                    <a:pt x="946497" y="74970"/>
                    <a:pt x="955974" y="74970"/>
                  </a:cubicBezTo>
                  <a:cubicBezTo>
                    <a:pt x="966082" y="74970"/>
                    <a:pt x="971768" y="72021"/>
                    <a:pt x="978928" y="72021"/>
                  </a:cubicBezTo>
                  <a:cubicBezTo>
                    <a:pt x="985667" y="72021"/>
                    <a:pt x="1001040" y="70126"/>
                    <a:pt x="995775" y="70126"/>
                  </a:cubicBezTo>
                  <a:cubicBezTo>
                    <a:pt x="1001040" y="70126"/>
                    <a:pt x="1016834" y="66336"/>
                    <a:pt x="1011148" y="66336"/>
                  </a:cubicBezTo>
                  <a:cubicBezTo>
                    <a:pt x="1016834" y="66336"/>
                    <a:pt x="1029469" y="66757"/>
                    <a:pt x="1026521" y="66757"/>
                  </a:cubicBezTo>
                  <a:cubicBezTo>
                    <a:pt x="1029469" y="66757"/>
                    <a:pt x="1042315" y="70969"/>
                    <a:pt x="1039578" y="70969"/>
                  </a:cubicBezTo>
                  <a:cubicBezTo>
                    <a:pt x="1042947" y="70969"/>
                    <a:pt x="1041894" y="63387"/>
                    <a:pt x="1039999" y="63387"/>
                  </a:cubicBezTo>
                  <a:cubicBezTo>
                    <a:pt x="1041894" y="63387"/>
                    <a:pt x="1048633" y="59597"/>
                    <a:pt x="1055793" y="59597"/>
                  </a:cubicBezTo>
                  <a:cubicBezTo>
                    <a:pt x="1062111" y="59597"/>
                    <a:pt x="1073061" y="59597"/>
                    <a:pt x="1068218" y="59597"/>
                  </a:cubicBezTo>
                  <a:cubicBezTo>
                    <a:pt x="1073482" y="59597"/>
                    <a:pt x="1088434" y="61071"/>
                    <a:pt x="1082748" y="61071"/>
                  </a:cubicBezTo>
                  <a:cubicBezTo>
                    <a:pt x="1089066" y="61071"/>
                    <a:pt x="1082327" y="53911"/>
                    <a:pt x="1089487" y="53911"/>
                  </a:cubicBezTo>
                  <a:cubicBezTo>
                    <a:pt x="1095805" y="53911"/>
                    <a:pt x="1117917" y="52016"/>
                    <a:pt x="1112652" y="52016"/>
                  </a:cubicBezTo>
                  <a:cubicBezTo>
                    <a:pt x="1117917" y="52016"/>
                    <a:pt x="1113073" y="48646"/>
                    <a:pt x="1124234" y="48646"/>
                  </a:cubicBezTo>
                  <a:cubicBezTo>
                    <a:pt x="1135396" y="48646"/>
                    <a:pt x="1145925" y="45908"/>
                    <a:pt x="1154981" y="45908"/>
                  </a:cubicBezTo>
                  <a:cubicBezTo>
                    <a:pt x="1165089" y="45908"/>
                    <a:pt x="1168037" y="42539"/>
                    <a:pt x="1176040" y="42539"/>
                  </a:cubicBezTo>
                  <a:cubicBezTo>
                    <a:pt x="1185305" y="42539"/>
                    <a:pt x="1206364" y="37695"/>
                    <a:pt x="1217315" y="37695"/>
                  </a:cubicBezTo>
                  <a:cubicBezTo>
                    <a:pt x="1227844" y="37695"/>
                    <a:pt x="1246166" y="33273"/>
                    <a:pt x="1253747" y="33273"/>
                  </a:cubicBezTo>
                  <a:cubicBezTo>
                    <a:pt x="1261328" y="33273"/>
                    <a:pt x="1297971" y="26955"/>
                    <a:pt x="1306605" y="26955"/>
                  </a:cubicBezTo>
                  <a:cubicBezTo>
                    <a:pt x="1315239" y="26955"/>
                    <a:pt x="1347880" y="21691"/>
                    <a:pt x="1354619" y="21691"/>
                  </a:cubicBezTo>
                  <a:cubicBezTo>
                    <a:pt x="1360726" y="21691"/>
                    <a:pt x="1384733" y="20848"/>
                    <a:pt x="1378626" y="20848"/>
                  </a:cubicBezTo>
                  <a:cubicBezTo>
                    <a:pt x="1384944" y="20848"/>
                    <a:pt x="1396947" y="17479"/>
                    <a:pt x="1407056" y="17479"/>
                  </a:cubicBezTo>
                  <a:cubicBezTo>
                    <a:pt x="1416532" y="17479"/>
                    <a:pt x="1456544" y="15162"/>
                    <a:pt x="1451701" y="15162"/>
                  </a:cubicBezTo>
                  <a:cubicBezTo>
                    <a:pt x="1456544" y="15162"/>
                    <a:pt x="1455912" y="17058"/>
                    <a:pt x="1447910" y="17058"/>
                  </a:cubicBezTo>
                  <a:cubicBezTo>
                    <a:pt x="1440329" y="17058"/>
                    <a:pt x="1384523" y="24850"/>
                    <a:pt x="1378205" y="24850"/>
                  </a:cubicBezTo>
                  <a:cubicBezTo>
                    <a:pt x="1384523" y="24850"/>
                    <a:pt x="1329138" y="30957"/>
                    <a:pt x="1322399" y="30957"/>
                  </a:cubicBezTo>
                  <a:cubicBezTo>
                    <a:pt x="1315660" y="30957"/>
                    <a:pt x="1265329" y="39170"/>
                    <a:pt x="1259433" y="39170"/>
                  </a:cubicBezTo>
                  <a:cubicBezTo>
                    <a:pt x="1265119" y="39170"/>
                    <a:pt x="1275227" y="40012"/>
                    <a:pt x="1269120" y="40012"/>
                  </a:cubicBezTo>
                  <a:cubicBezTo>
                    <a:pt x="1274385" y="40012"/>
                    <a:pt x="1332507" y="32852"/>
                    <a:pt x="1326821" y="32852"/>
                  </a:cubicBezTo>
                  <a:cubicBezTo>
                    <a:pt x="1332507" y="32852"/>
                    <a:pt x="1357567" y="28430"/>
                    <a:pt x="1367675" y="28430"/>
                  </a:cubicBezTo>
                  <a:cubicBezTo>
                    <a:pt x="1378205" y="28430"/>
                    <a:pt x="1408109" y="22744"/>
                    <a:pt x="1419481" y="22744"/>
                  </a:cubicBezTo>
                  <a:cubicBezTo>
                    <a:pt x="1431063" y="22744"/>
                    <a:pt x="1465178" y="15584"/>
                    <a:pt x="1474655" y="15584"/>
                  </a:cubicBezTo>
                  <a:cubicBezTo>
                    <a:pt x="1484763" y="15584"/>
                    <a:pt x="1496345" y="16637"/>
                    <a:pt x="1490028" y="16637"/>
                  </a:cubicBezTo>
                  <a:cubicBezTo>
                    <a:pt x="1496767" y="16637"/>
                    <a:pt x="1471285" y="20427"/>
                    <a:pt x="1480551" y="20427"/>
                  </a:cubicBezTo>
                  <a:cubicBezTo>
                    <a:pt x="1484763" y="11793"/>
                    <a:pt x="1494871" y="17058"/>
                    <a:pt x="1507507" y="17058"/>
                  </a:cubicBezTo>
                  <a:cubicBezTo>
                    <a:pt x="1512771" y="6528"/>
                    <a:pt x="1517194" y="16215"/>
                    <a:pt x="1524354" y="16215"/>
                  </a:cubicBezTo>
                  <a:cubicBezTo>
                    <a:pt x="1530461" y="16215"/>
                    <a:pt x="1526670" y="13899"/>
                    <a:pt x="1534462" y="13899"/>
                  </a:cubicBezTo>
                  <a:cubicBezTo>
                    <a:pt x="1543096" y="13899"/>
                    <a:pt x="1542675" y="12846"/>
                    <a:pt x="1553204" y="12846"/>
                  </a:cubicBezTo>
                  <a:cubicBezTo>
                    <a:pt x="1563313" y="12846"/>
                    <a:pt x="1586899" y="10951"/>
                    <a:pt x="1581002" y="10951"/>
                  </a:cubicBezTo>
                  <a:cubicBezTo>
                    <a:pt x="1586688" y="10951"/>
                    <a:pt x="1618066" y="7160"/>
                    <a:pt x="1625647" y="7160"/>
                  </a:cubicBezTo>
                  <a:cubicBezTo>
                    <a:pt x="1632807" y="7160"/>
                    <a:pt x="1628595" y="11372"/>
                    <a:pt x="1619961" y="11372"/>
                  </a:cubicBezTo>
                  <a:cubicBezTo>
                    <a:pt x="1611748" y="11372"/>
                    <a:pt x="1581634" y="18111"/>
                    <a:pt x="1575738" y="18111"/>
                  </a:cubicBezTo>
                  <a:cubicBezTo>
                    <a:pt x="1581634" y="18111"/>
                    <a:pt x="1543096" y="22954"/>
                    <a:pt x="1534883" y="22954"/>
                  </a:cubicBezTo>
                  <a:cubicBezTo>
                    <a:pt x="1526670" y="22954"/>
                    <a:pt x="1505190" y="26324"/>
                    <a:pt x="1496977" y="26324"/>
                  </a:cubicBezTo>
                  <a:cubicBezTo>
                    <a:pt x="1488764" y="26324"/>
                    <a:pt x="1463915" y="31167"/>
                    <a:pt x="1455702" y="31167"/>
                  </a:cubicBezTo>
                  <a:cubicBezTo>
                    <a:pt x="1447910" y="31167"/>
                    <a:pt x="1381785" y="34115"/>
                    <a:pt x="1375467" y="40223"/>
                  </a:cubicBezTo>
                  <a:cubicBezTo>
                    <a:pt x="1366833" y="40223"/>
                    <a:pt x="1333771" y="46961"/>
                    <a:pt x="1327032" y="46961"/>
                  </a:cubicBezTo>
                  <a:cubicBezTo>
                    <a:pt x="1320293" y="46961"/>
                    <a:pt x="1284703" y="45487"/>
                    <a:pt x="1280913" y="52647"/>
                  </a:cubicBezTo>
                  <a:cubicBezTo>
                    <a:pt x="1272279" y="52647"/>
                    <a:pt x="1234794" y="61703"/>
                    <a:pt x="1230372" y="61703"/>
                  </a:cubicBezTo>
                  <a:cubicBezTo>
                    <a:pt x="1234162" y="61703"/>
                    <a:pt x="1246166" y="58333"/>
                    <a:pt x="1255431" y="58333"/>
                  </a:cubicBezTo>
                  <a:cubicBezTo>
                    <a:pt x="1264066" y="58333"/>
                    <a:pt x="1277965" y="55385"/>
                    <a:pt x="1275227" y="55385"/>
                  </a:cubicBezTo>
                  <a:cubicBezTo>
                    <a:pt x="1279018" y="55385"/>
                    <a:pt x="1282387" y="54964"/>
                    <a:pt x="1291021" y="54964"/>
                  </a:cubicBezTo>
                  <a:cubicBezTo>
                    <a:pt x="1299234" y="54964"/>
                    <a:pt x="1304920" y="49699"/>
                    <a:pt x="1315871" y="49699"/>
                  </a:cubicBezTo>
                  <a:cubicBezTo>
                    <a:pt x="1327453" y="49699"/>
                    <a:pt x="1361569" y="45487"/>
                    <a:pt x="1355251" y="45487"/>
                  </a:cubicBezTo>
                  <a:cubicBezTo>
                    <a:pt x="1361990" y="45487"/>
                    <a:pt x="1376941" y="41697"/>
                    <a:pt x="1384101" y="41697"/>
                  </a:cubicBezTo>
                  <a:cubicBezTo>
                    <a:pt x="1391683" y="41697"/>
                    <a:pt x="1428325" y="37906"/>
                    <a:pt x="1422639" y="37906"/>
                  </a:cubicBezTo>
                  <a:cubicBezTo>
                    <a:pt x="1428747" y="37906"/>
                    <a:pt x="1430852" y="35379"/>
                    <a:pt x="1445172" y="35379"/>
                  </a:cubicBezTo>
                  <a:cubicBezTo>
                    <a:pt x="1459071" y="35379"/>
                    <a:pt x="1475497" y="33062"/>
                    <a:pt x="1473602" y="33062"/>
                  </a:cubicBezTo>
                  <a:cubicBezTo>
                    <a:pt x="1475497" y="33062"/>
                    <a:pt x="1463072" y="39801"/>
                    <a:pt x="1449595" y="39801"/>
                  </a:cubicBezTo>
                  <a:cubicBezTo>
                    <a:pt x="1436538" y="39801"/>
                    <a:pt x="1404529" y="47593"/>
                    <a:pt x="1403055" y="47593"/>
                  </a:cubicBezTo>
                  <a:cubicBezTo>
                    <a:pt x="1404950" y="47593"/>
                    <a:pt x="1418006" y="45698"/>
                    <a:pt x="1425167" y="45698"/>
                  </a:cubicBezTo>
                  <a:cubicBezTo>
                    <a:pt x="1431273" y="45698"/>
                    <a:pt x="1450016" y="40854"/>
                    <a:pt x="1458650" y="40854"/>
                  </a:cubicBezTo>
                  <a:cubicBezTo>
                    <a:pt x="1467284" y="40854"/>
                    <a:pt x="1478446" y="46119"/>
                    <a:pt x="1482236" y="38538"/>
                  </a:cubicBezTo>
                  <a:cubicBezTo>
                    <a:pt x="1490870" y="38538"/>
                    <a:pt x="1500978" y="34326"/>
                    <a:pt x="1509191" y="34326"/>
                  </a:cubicBezTo>
                  <a:cubicBezTo>
                    <a:pt x="1516773" y="34326"/>
                    <a:pt x="1528776" y="30535"/>
                    <a:pt x="1536989" y="30535"/>
                  </a:cubicBezTo>
                  <a:cubicBezTo>
                    <a:pt x="1545202" y="30535"/>
                    <a:pt x="1569209" y="27587"/>
                    <a:pt x="1563945" y="27587"/>
                  </a:cubicBezTo>
                  <a:cubicBezTo>
                    <a:pt x="1569209" y="27587"/>
                    <a:pt x="1577844" y="24639"/>
                    <a:pt x="1576369" y="24639"/>
                  </a:cubicBezTo>
                  <a:cubicBezTo>
                    <a:pt x="1578265" y="24639"/>
                    <a:pt x="1590268" y="22322"/>
                    <a:pt x="1586057" y="22322"/>
                  </a:cubicBezTo>
                  <a:cubicBezTo>
                    <a:pt x="1590900" y="22322"/>
                    <a:pt x="1589847" y="28640"/>
                    <a:pt x="1584161" y="28640"/>
                  </a:cubicBezTo>
                  <a:cubicBezTo>
                    <a:pt x="1589426" y="28640"/>
                    <a:pt x="1553836" y="40223"/>
                    <a:pt x="1545834" y="40223"/>
                  </a:cubicBezTo>
                  <a:cubicBezTo>
                    <a:pt x="1537621" y="40223"/>
                    <a:pt x="1530040" y="45908"/>
                    <a:pt x="1526670" y="45908"/>
                  </a:cubicBezTo>
                  <a:cubicBezTo>
                    <a:pt x="1530461" y="45908"/>
                    <a:pt x="1502242" y="54964"/>
                    <a:pt x="1498451" y="54964"/>
                  </a:cubicBezTo>
                  <a:cubicBezTo>
                    <a:pt x="1501821" y="54964"/>
                    <a:pt x="1537832" y="48225"/>
                    <a:pt x="1531093" y="48225"/>
                  </a:cubicBezTo>
                  <a:cubicBezTo>
                    <a:pt x="1537832" y="48225"/>
                    <a:pt x="1551309" y="39591"/>
                    <a:pt x="1559522" y="39591"/>
                  </a:cubicBezTo>
                  <a:cubicBezTo>
                    <a:pt x="1567735" y="39591"/>
                    <a:pt x="1598481" y="28640"/>
                    <a:pt x="1607958" y="28640"/>
                  </a:cubicBezTo>
                  <a:cubicBezTo>
                    <a:pt x="1616592" y="28640"/>
                    <a:pt x="1623331" y="22322"/>
                    <a:pt x="1631965" y="22322"/>
                  </a:cubicBezTo>
                  <a:cubicBezTo>
                    <a:pt x="1640599" y="22322"/>
                    <a:pt x="1651760" y="22322"/>
                    <a:pt x="1645443" y="22322"/>
                  </a:cubicBezTo>
                  <a:cubicBezTo>
                    <a:pt x="1652182" y="22322"/>
                    <a:pt x="1600377" y="34747"/>
                    <a:pt x="1592585" y="34747"/>
                  </a:cubicBezTo>
                  <a:cubicBezTo>
                    <a:pt x="1599745" y="34747"/>
                    <a:pt x="1569420" y="39170"/>
                    <a:pt x="1577633" y="39170"/>
                  </a:cubicBezTo>
                  <a:cubicBezTo>
                    <a:pt x="1584793" y="39170"/>
                    <a:pt x="1605431" y="32852"/>
                    <a:pt x="1615118" y="32852"/>
                  </a:cubicBezTo>
                  <a:cubicBezTo>
                    <a:pt x="1624594" y="32852"/>
                    <a:pt x="1641020" y="25271"/>
                    <a:pt x="1651550" y="25271"/>
                  </a:cubicBezTo>
                  <a:cubicBezTo>
                    <a:pt x="1662079" y="25271"/>
                    <a:pt x="1669871" y="20006"/>
                    <a:pt x="1680822" y="20006"/>
                  </a:cubicBezTo>
                  <a:cubicBezTo>
                    <a:pt x="1691983" y="20006"/>
                    <a:pt x="1699564" y="19164"/>
                    <a:pt x="1706724" y="19164"/>
                  </a:cubicBezTo>
                  <a:cubicBezTo>
                    <a:pt x="1714516" y="19164"/>
                    <a:pt x="1734101" y="16215"/>
                    <a:pt x="1729678" y="16215"/>
                  </a:cubicBezTo>
                  <a:cubicBezTo>
                    <a:pt x="1734522" y="16215"/>
                    <a:pt x="1759371" y="16215"/>
                    <a:pt x="1753685" y="16215"/>
                  </a:cubicBezTo>
                  <a:cubicBezTo>
                    <a:pt x="1759793" y="16215"/>
                    <a:pt x="1770533" y="12004"/>
                    <a:pt x="1778746" y="12004"/>
                  </a:cubicBezTo>
                  <a:cubicBezTo>
                    <a:pt x="1787380" y="12004"/>
                    <a:pt x="1804648" y="5686"/>
                    <a:pt x="1814756" y="5686"/>
                  </a:cubicBezTo>
                  <a:cubicBezTo>
                    <a:pt x="1824865" y="5686"/>
                    <a:pt x="1842133" y="1895"/>
                    <a:pt x="1858559" y="1895"/>
                  </a:cubicBezTo>
                  <a:cubicBezTo>
                    <a:pt x="1874985" y="1895"/>
                    <a:pt x="1891621" y="0"/>
                    <a:pt x="1899834" y="0"/>
                  </a:cubicBezTo>
                  <a:cubicBezTo>
                    <a:pt x="1908047" y="0"/>
                    <a:pt x="1918155" y="1474"/>
                    <a:pt x="1916682" y="1474"/>
                  </a:cubicBezTo>
                  <a:cubicBezTo>
                    <a:pt x="1918155" y="1474"/>
                    <a:pt x="1909100" y="5265"/>
                    <a:pt x="1896044" y="5265"/>
                  </a:cubicBezTo>
                  <a:cubicBezTo>
                    <a:pt x="1884040" y="5265"/>
                    <a:pt x="1871615" y="10529"/>
                    <a:pt x="1866351" y="10529"/>
                  </a:cubicBezTo>
                  <a:cubicBezTo>
                    <a:pt x="1871194" y="10529"/>
                    <a:pt x="1859190" y="13478"/>
                    <a:pt x="1849925" y="13478"/>
                  </a:cubicBezTo>
                  <a:cubicBezTo>
                    <a:pt x="1840238" y="13478"/>
                    <a:pt x="1827813" y="15794"/>
                    <a:pt x="1822969" y="15794"/>
                  </a:cubicBezTo>
                  <a:cubicBezTo>
                    <a:pt x="1827813" y="15794"/>
                    <a:pt x="1838342" y="16847"/>
                    <a:pt x="1836026" y="16847"/>
                  </a:cubicBezTo>
                  <a:cubicBezTo>
                    <a:pt x="1838342" y="16847"/>
                    <a:pt x="1816862" y="20217"/>
                    <a:pt x="1806754" y="20217"/>
                  </a:cubicBezTo>
                  <a:cubicBezTo>
                    <a:pt x="1796646" y="20217"/>
                    <a:pt x="1795171" y="23586"/>
                    <a:pt x="1783800" y="23586"/>
                  </a:cubicBezTo>
                  <a:cubicBezTo>
                    <a:pt x="1771796" y="23586"/>
                    <a:pt x="1767374" y="25902"/>
                    <a:pt x="1756844" y="25902"/>
                  </a:cubicBezTo>
                  <a:cubicBezTo>
                    <a:pt x="1745262" y="25902"/>
                    <a:pt x="1741892" y="26745"/>
                    <a:pt x="1736206" y="26745"/>
                  </a:cubicBezTo>
                  <a:cubicBezTo>
                    <a:pt x="1741471" y="26745"/>
                    <a:pt x="1726098" y="29693"/>
                    <a:pt x="1718517" y="29693"/>
                  </a:cubicBezTo>
                  <a:cubicBezTo>
                    <a:pt x="1711778" y="29693"/>
                    <a:pt x="1691562" y="32431"/>
                    <a:pt x="1689666" y="32431"/>
                  </a:cubicBezTo>
                  <a:cubicBezTo>
                    <a:pt x="1691562" y="32431"/>
                    <a:pt x="1697248" y="32431"/>
                    <a:pt x="1709883" y="32431"/>
                  </a:cubicBezTo>
                  <a:cubicBezTo>
                    <a:pt x="1722307" y="32431"/>
                    <a:pt x="1734311" y="29693"/>
                    <a:pt x="1745472" y="29693"/>
                  </a:cubicBezTo>
                  <a:cubicBezTo>
                    <a:pt x="1756634" y="29693"/>
                    <a:pt x="1767584" y="26745"/>
                    <a:pt x="1777693" y="26745"/>
                  </a:cubicBezTo>
                  <a:cubicBezTo>
                    <a:pt x="1786748" y="26745"/>
                    <a:pt x="1798751" y="28219"/>
                    <a:pt x="1787801" y="28219"/>
                  </a:cubicBezTo>
                  <a:cubicBezTo>
                    <a:pt x="1776850" y="28219"/>
                    <a:pt x="1768637" y="32431"/>
                    <a:pt x="1760845" y="32431"/>
                  </a:cubicBezTo>
                  <a:cubicBezTo>
                    <a:pt x="1757476" y="39170"/>
                    <a:pt x="1741050" y="34958"/>
                    <a:pt x="1729257" y="34958"/>
                  </a:cubicBezTo>
                  <a:cubicBezTo>
                    <a:pt x="1717675" y="34958"/>
                    <a:pt x="1690719" y="38327"/>
                    <a:pt x="1685665" y="38327"/>
                  </a:cubicBezTo>
                  <a:cubicBezTo>
                    <a:pt x="1690930" y="38327"/>
                    <a:pt x="1663132" y="41697"/>
                    <a:pt x="1670292" y="41697"/>
                  </a:cubicBezTo>
                  <a:cubicBezTo>
                    <a:pt x="1677452" y="41697"/>
                    <a:pt x="1686086" y="38748"/>
                    <a:pt x="1697248" y="38748"/>
                  </a:cubicBezTo>
                  <a:cubicBezTo>
                    <a:pt x="1707356" y="38748"/>
                    <a:pt x="1747157" y="35800"/>
                    <a:pt x="1741892" y="35800"/>
                  </a:cubicBezTo>
                  <a:cubicBezTo>
                    <a:pt x="1748210" y="35800"/>
                    <a:pt x="1769690" y="36221"/>
                    <a:pt x="1757265" y="36221"/>
                  </a:cubicBezTo>
                  <a:cubicBezTo>
                    <a:pt x="1743366" y="36221"/>
                    <a:pt x="1729889" y="41907"/>
                    <a:pt x="1724624" y="41907"/>
                  </a:cubicBezTo>
                  <a:cubicBezTo>
                    <a:pt x="1730310" y="41907"/>
                    <a:pt x="1698722" y="45277"/>
                    <a:pt x="1693878" y="45277"/>
                  </a:cubicBezTo>
                  <a:cubicBezTo>
                    <a:pt x="1698722" y="45277"/>
                    <a:pt x="1699564" y="49699"/>
                    <a:pt x="1694299" y="49699"/>
                  </a:cubicBezTo>
                  <a:cubicBezTo>
                    <a:pt x="1698722" y="49699"/>
                    <a:pt x="1711146" y="51173"/>
                    <a:pt x="1707777" y="51173"/>
                  </a:cubicBezTo>
                  <a:cubicBezTo>
                    <a:pt x="1711568" y="51173"/>
                    <a:pt x="1698722" y="54121"/>
                    <a:pt x="1693878" y="54121"/>
                  </a:cubicBezTo>
                  <a:cubicBezTo>
                    <a:pt x="1697669" y="54121"/>
                    <a:pt x="1679979" y="55596"/>
                    <a:pt x="1677452" y="55596"/>
                  </a:cubicBezTo>
                  <a:cubicBezTo>
                    <a:pt x="1679769" y="55596"/>
                    <a:pt x="1680400" y="59386"/>
                    <a:pt x="1675136" y="59386"/>
                  </a:cubicBezTo>
                  <a:cubicBezTo>
                    <a:pt x="1680400" y="59386"/>
                    <a:pt x="1653656" y="62124"/>
                    <a:pt x="1649233" y="62124"/>
                  </a:cubicBezTo>
                  <a:cubicBezTo>
                    <a:pt x="1653656" y="62124"/>
                    <a:pt x="1642494" y="68441"/>
                    <a:pt x="1637651" y="68441"/>
                  </a:cubicBezTo>
                  <a:cubicBezTo>
                    <a:pt x="1642073" y="68441"/>
                    <a:pt x="1643969" y="69916"/>
                    <a:pt x="1651129" y="69916"/>
                  </a:cubicBezTo>
                  <a:cubicBezTo>
                    <a:pt x="1657867" y="69916"/>
                    <a:pt x="1665028" y="69494"/>
                    <a:pt x="1663132" y="69494"/>
                  </a:cubicBezTo>
                  <a:cubicBezTo>
                    <a:pt x="1665028" y="69494"/>
                    <a:pt x="1681453" y="70547"/>
                    <a:pt x="1678926" y="70547"/>
                  </a:cubicBezTo>
                  <a:cubicBezTo>
                    <a:pt x="1682296" y="70547"/>
                    <a:pt x="1684191" y="68231"/>
                    <a:pt x="1678926" y="68231"/>
                  </a:cubicBezTo>
                  <a:cubicBezTo>
                    <a:pt x="1684191" y="68231"/>
                    <a:pt x="1685244" y="64861"/>
                    <a:pt x="1679347" y="64861"/>
                  </a:cubicBezTo>
                  <a:cubicBezTo>
                    <a:pt x="1684612" y="64861"/>
                    <a:pt x="1696195" y="63809"/>
                    <a:pt x="1693878" y="63809"/>
                  </a:cubicBezTo>
                  <a:cubicBezTo>
                    <a:pt x="1695773" y="63809"/>
                    <a:pt x="1708830" y="62334"/>
                    <a:pt x="1705461" y="62334"/>
                  </a:cubicBezTo>
                  <a:cubicBezTo>
                    <a:pt x="1708830" y="62334"/>
                    <a:pt x="1711146" y="67599"/>
                    <a:pt x="1709251" y="67599"/>
                  </a:cubicBezTo>
                  <a:cubicBezTo>
                    <a:pt x="1711146" y="67599"/>
                    <a:pt x="1710094" y="70969"/>
                    <a:pt x="1703565" y="70969"/>
                  </a:cubicBezTo>
                  <a:cubicBezTo>
                    <a:pt x="1710304" y="70969"/>
                    <a:pt x="1701670" y="74759"/>
                    <a:pt x="1700196" y="74759"/>
                  </a:cubicBezTo>
                  <a:cubicBezTo>
                    <a:pt x="1702091" y="74759"/>
                    <a:pt x="1700617" y="77076"/>
                    <a:pt x="1693457" y="77076"/>
                  </a:cubicBezTo>
                  <a:cubicBezTo>
                    <a:pt x="1690087" y="84236"/>
                    <a:pt x="1687771" y="80445"/>
                    <a:pt x="1681453" y="80445"/>
                  </a:cubicBezTo>
                  <a:cubicBezTo>
                    <a:pt x="1688613" y="80445"/>
                    <a:pt x="1696405" y="78971"/>
                    <a:pt x="1707356" y="78971"/>
                  </a:cubicBezTo>
                  <a:cubicBezTo>
                    <a:pt x="1717885" y="78971"/>
                    <a:pt x="1729889" y="80445"/>
                    <a:pt x="1727151" y="80445"/>
                  </a:cubicBezTo>
                  <a:cubicBezTo>
                    <a:pt x="1729889" y="80445"/>
                    <a:pt x="1723361" y="87605"/>
                    <a:pt x="1716622" y="87605"/>
                  </a:cubicBezTo>
                  <a:cubicBezTo>
                    <a:pt x="1723782" y="87605"/>
                    <a:pt x="1713674" y="94344"/>
                    <a:pt x="1709462" y="94344"/>
                  </a:cubicBezTo>
                  <a:cubicBezTo>
                    <a:pt x="1713674" y="94344"/>
                    <a:pt x="1714727" y="101083"/>
                    <a:pt x="1709883" y="101083"/>
                  </a:cubicBezTo>
                  <a:cubicBezTo>
                    <a:pt x="1714305" y="101083"/>
                    <a:pt x="1694931" y="95818"/>
                    <a:pt x="1691772" y="95818"/>
                  </a:cubicBezTo>
                  <a:cubicBezTo>
                    <a:pt x="1694720" y="95818"/>
                    <a:pt x="1695984" y="89500"/>
                    <a:pt x="1690719" y="89500"/>
                  </a:cubicBezTo>
                  <a:cubicBezTo>
                    <a:pt x="1695563" y="89500"/>
                    <a:pt x="1682506" y="92449"/>
                    <a:pt x="1676399" y="92449"/>
                  </a:cubicBezTo>
                  <a:cubicBezTo>
                    <a:pt x="1683138" y="92449"/>
                    <a:pt x="1665870" y="90974"/>
                    <a:pt x="1663343" y="90974"/>
                  </a:cubicBezTo>
                  <a:cubicBezTo>
                    <a:pt x="1665659" y="90974"/>
                    <a:pt x="1659552" y="91396"/>
                    <a:pt x="1652392" y="91396"/>
                  </a:cubicBezTo>
                  <a:cubicBezTo>
                    <a:pt x="1645232" y="91396"/>
                    <a:pt x="1649023" y="93712"/>
                    <a:pt x="1638493" y="93712"/>
                  </a:cubicBezTo>
                  <a:cubicBezTo>
                    <a:pt x="1628385" y="93712"/>
                    <a:pt x="1615960" y="96660"/>
                    <a:pt x="1628385" y="96660"/>
                  </a:cubicBezTo>
                  <a:cubicBezTo>
                    <a:pt x="1642284" y="96660"/>
                    <a:pt x="1662922" y="96660"/>
                    <a:pt x="1657236" y="96660"/>
                  </a:cubicBezTo>
                  <a:cubicBezTo>
                    <a:pt x="1662922" y="96660"/>
                    <a:pt x="1675557" y="102346"/>
                    <a:pt x="1670292" y="102346"/>
                  </a:cubicBezTo>
                  <a:cubicBezTo>
                    <a:pt x="1675978" y="102346"/>
                    <a:pt x="1688613" y="110138"/>
                    <a:pt x="1682296" y="110138"/>
                  </a:cubicBezTo>
                  <a:cubicBezTo>
                    <a:pt x="1688613" y="110138"/>
                    <a:pt x="1674083" y="115824"/>
                    <a:pt x="1668818" y="115824"/>
                  </a:cubicBezTo>
                  <a:cubicBezTo>
                    <a:pt x="1674504" y="115824"/>
                    <a:pt x="1658710" y="114982"/>
                    <a:pt x="1651550" y="114982"/>
                  </a:cubicBezTo>
                  <a:cubicBezTo>
                    <a:pt x="1644390" y="114982"/>
                    <a:pt x="1641020" y="119825"/>
                    <a:pt x="1637651" y="119825"/>
                  </a:cubicBezTo>
                  <a:cubicBezTo>
                    <a:pt x="1641020" y="119825"/>
                    <a:pt x="1657867" y="120246"/>
                    <a:pt x="1654919" y="120246"/>
                  </a:cubicBezTo>
                  <a:cubicBezTo>
                    <a:pt x="1658710" y="120246"/>
                    <a:pt x="1663553" y="125090"/>
                    <a:pt x="1660184" y="125090"/>
                  </a:cubicBezTo>
                  <a:cubicBezTo>
                    <a:pt x="1664606" y="125090"/>
                    <a:pt x="1670713" y="124248"/>
                    <a:pt x="1678926" y="124248"/>
                  </a:cubicBezTo>
                  <a:cubicBezTo>
                    <a:pt x="1687560" y="124248"/>
                    <a:pt x="1706724" y="122773"/>
                    <a:pt x="1699985" y="122773"/>
                  </a:cubicBezTo>
                  <a:cubicBezTo>
                    <a:pt x="1705671" y="122773"/>
                    <a:pt x="1685665" y="128459"/>
                    <a:pt x="1677873" y="128459"/>
                  </a:cubicBezTo>
                  <a:cubicBezTo>
                    <a:pt x="1669660" y="128459"/>
                    <a:pt x="1652813" y="130776"/>
                    <a:pt x="1648601" y="130776"/>
                  </a:cubicBezTo>
                  <a:cubicBezTo>
                    <a:pt x="1652392" y="130776"/>
                    <a:pt x="1638072" y="132250"/>
                    <a:pt x="1635545" y="132250"/>
                  </a:cubicBezTo>
                  <a:cubicBezTo>
                    <a:pt x="1637440" y="132250"/>
                    <a:pt x="1649865" y="136672"/>
                    <a:pt x="1636387" y="136672"/>
                  </a:cubicBezTo>
                  <a:cubicBezTo>
                    <a:pt x="1622910" y="136672"/>
                    <a:pt x="1605220" y="138146"/>
                    <a:pt x="1599955" y="138146"/>
                  </a:cubicBezTo>
                  <a:cubicBezTo>
                    <a:pt x="1604799" y="138146"/>
                    <a:pt x="1590900" y="137094"/>
                    <a:pt x="1585425" y="137094"/>
                  </a:cubicBezTo>
                  <a:cubicBezTo>
                    <a:pt x="1590689" y="137094"/>
                    <a:pt x="1568156" y="143832"/>
                    <a:pt x="1580581" y="143832"/>
                  </a:cubicBezTo>
                  <a:cubicBezTo>
                    <a:pt x="1594059" y="143832"/>
                    <a:pt x="1596797" y="141095"/>
                    <a:pt x="1605641" y="141095"/>
                  </a:cubicBezTo>
                  <a:cubicBezTo>
                    <a:pt x="1614275" y="141095"/>
                    <a:pt x="1618066" y="139621"/>
                    <a:pt x="1626700" y="139621"/>
                  </a:cubicBezTo>
                  <a:cubicBezTo>
                    <a:pt x="1634913" y="139621"/>
                    <a:pt x="1647759" y="140042"/>
                    <a:pt x="1643969" y="140042"/>
                  </a:cubicBezTo>
                  <a:cubicBezTo>
                    <a:pt x="1648391" y="140042"/>
                    <a:pt x="1649233" y="146781"/>
                    <a:pt x="1636177" y="146781"/>
                  </a:cubicBezTo>
                  <a:cubicBezTo>
                    <a:pt x="1622699" y="146781"/>
                    <a:pt x="1598692" y="151203"/>
                    <a:pt x="1589637" y="151203"/>
                  </a:cubicBezTo>
                  <a:cubicBezTo>
                    <a:pt x="1579107" y="151203"/>
                    <a:pt x="1581424" y="156047"/>
                    <a:pt x="1572789" y="156047"/>
                  </a:cubicBezTo>
                  <a:cubicBezTo>
                    <a:pt x="1563102" y="156047"/>
                    <a:pt x="1549624" y="153098"/>
                    <a:pt x="1543096" y="153098"/>
                  </a:cubicBezTo>
                  <a:cubicBezTo>
                    <a:pt x="1548782" y="153098"/>
                    <a:pt x="1521406" y="153098"/>
                    <a:pt x="1512771" y="153098"/>
                  </a:cubicBezTo>
                  <a:cubicBezTo>
                    <a:pt x="1504137" y="153098"/>
                    <a:pt x="1494029" y="157942"/>
                    <a:pt x="1504137" y="157942"/>
                  </a:cubicBezTo>
                  <a:cubicBezTo>
                    <a:pt x="1514667" y="157942"/>
                    <a:pt x="1540148" y="157942"/>
                    <a:pt x="1536147" y="157942"/>
                  </a:cubicBezTo>
                  <a:cubicBezTo>
                    <a:pt x="1539516" y="157942"/>
                    <a:pt x="1561628" y="160258"/>
                    <a:pt x="1555942" y="160258"/>
                  </a:cubicBezTo>
                  <a:cubicBezTo>
                    <a:pt x="1560786" y="160258"/>
                    <a:pt x="1562681" y="161732"/>
                    <a:pt x="1573211" y="161732"/>
                  </a:cubicBezTo>
                  <a:cubicBezTo>
                    <a:pt x="1583319" y="161732"/>
                    <a:pt x="1583319" y="168892"/>
                    <a:pt x="1579528" y="168892"/>
                  </a:cubicBezTo>
                  <a:cubicBezTo>
                    <a:pt x="1583319" y="168892"/>
                    <a:pt x="1583740" y="172683"/>
                    <a:pt x="1572789" y="172683"/>
                  </a:cubicBezTo>
                  <a:cubicBezTo>
                    <a:pt x="1562681" y="172683"/>
                    <a:pt x="1542043" y="172262"/>
                    <a:pt x="1537200" y="172262"/>
                  </a:cubicBezTo>
                  <a:cubicBezTo>
                    <a:pt x="1541622" y="172262"/>
                    <a:pt x="1527513" y="171841"/>
                    <a:pt x="1515930" y="171841"/>
                  </a:cubicBezTo>
                  <a:cubicBezTo>
                    <a:pt x="1503505" y="171841"/>
                    <a:pt x="1501610" y="167629"/>
                    <a:pt x="1495292" y="167629"/>
                  </a:cubicBezTo>
                  <a:cubicBezTo>
                    <a:pt x="1491923" y="173736"/>
                    <a:pt x="1489607" y="169524"/>
                    <a:pt x="1484763" y="169524"/>
                  </a:cubicBezTo>
                  <a:cubicBezTo>
                    <a:pt x="1490028" y="169524"/>
                    <a:pt x="1503505" y="173736"/>
                    <a:pt x="1498662" y="173736"/>
                  </a:cubicBezTo>
                  <a:cubicBezTo>
                    <a:pt x="1503505" y="173736"/>
                    <a:pt x="1524986" y="177105"/>
                    <a:pt x="1539938" y="177105"/>
                  </a:cubicBezTo>
                  <a:cubicBezTo>
                    <a:pt x="1554257" y="177105"/>
                    <a:pt x="1568367" y="180475"/>
                    <a:pt x="1565419" y="180475"/>
                  </a:cubicBezTo>
                  <a:cubicBezTo>
                    <a:pt x="1568367" y="180475"/>
                    <a:pt x="1569630" y="187214"/>
                    <a:pt x="1565419" y="187214"/>
                  </a:cubicBezTo>
                  <a:cubicBezTo>
                    <a:pt x="1569630" y="187214"/>
                    <a:pt x="1587109" y="182370"/>
                    <a:pt x="1582266" y="182370"/>
                  </a:cubicBezTo>
                  <a:cubicBezTo>
                    <a:pt x="1587531" y="182370"/>
                    <a:pt x="1589847" y="191425"/>
                    <a:pt x="1584582" y="191425"/>
                  </a:cubicBezTo>
                  <a:cubicBezTo>
                    <a:pt x="1589847" y="191425"/>
                    <a:pt x="1597007" y="200691"/>
                    <a:pt x="1587531" y="200691"/>
                  </a:cubicBezTo>
                  <a:cubicBezTo>
                    <a:pt x="1578896" y="200691"/>
                    <a:pt x="1565840" y="199638"/>
                    <a:pt x="1563102" y="199638"/>
                  </a:cubicBezTo>
                  <a:cubicBezTo>
                    <a:pt x="1565419" y="199638"/>
                    <a:pt x="1562049" y="196269"/>
                    <a:pt x="1557416" y="196269"/>
                  </a:cubicBezTo>
                  <a:cubicBezTo>
                    <a:pt x="1562260" y="196269"/>
                    <a:pt x="1557416" y="204903"/>
                    <a:pt x="1548782" y="204903"/>
                  </a:cubicBezTo>
                  <a:cubicBezTo>
                    <a:pt x="1544991" y="212063"/>
                    <a:pt x="1518036" y="203850"/>
                    <a:pt x="1511718" y="203850"/>
                  </a:cubicBezTo>
                  <a:cubicBezTo>
                    <a:pt x="1518036" y="203850"/>
                    <a:pt x="1504558" y="197533"/>
                    <a:pt x="1498241" y="197533"/>
                  </a:cubicBezTo>
                  <a:cubicBezTo>
                    <a:pt x="1504558" y="197533"/>
                    <a:pt x="1487711" y="194795"/>
                    <a:pt x="1479498" y="194795"/>
                  </a:cubicBezTo>
                  <a:cubicBezTo>
                    <a:pt x="1470443" y="194795"/>
                    <a:pt x="1469390" y="200481"/>
                    <a:pt x="1461177" y="200481"/>
                  </a:cubicBezTo>
                  <a:cubicBezTo>
                    <a:pt x="1452964" y="200481"/>
                    <a:pt x="1476971" y="208062"/>
                    <a:pt x="1466442" y="208062"/>
                  </a:cubicBezTo>
                  <a:cubicBezTo>
                    <a:pt x="1455912" y="208062"/>
                    <a:pt x="1434222" y="215854"/>
                    <a:pt x="1428957" y="215854"/>
                  </a:cubicBezTo>
                  <a:cubicBezTo>
                    <a:pt x="1435275" y="215854"/>
                    <a:pt x="1436538" y="215854"/>
                    <a:pt x="1445804" y="215854"/>
                  </a:cubicBezTo>
                  <a:cubicBezTo>
                    <a:pt x="1455912" y="215854"/>
                    <a:pt x="1464125" y="213537"/>
                    <a:pt x="1472128" y="213537"/>
                  </a:cubicBezTo>
                  <a:cubicBezTo>
                    <a:pt x="1479920" y="213537"/>
                    <a:pt x="1500557" y="221119"/>
                    <a:pt x="1505822" y="210589"/>
                  </a:cubicBezTo>
                  <a:cubicBezTo>
                    <a:pt x="1517826" y="210589"/>
                    <a:pt x="1552362" y="209115"/>
                    <a:pt x="1545623" y="209115"/>
                  </a:cubicBezTo>
                  <a:cubicBezTo>
                    <a:pt x="1551309" y="209115"/>
                    <a:pt x="1571105" y="208273"/>
                    <a:pt x="1567314" y="208273"/>
                  </a:cubicBezTo>
                  <a:cubicBezTo>
                    <a:pt x="1571105" y="208273"/>
                    <a:pt x="1545623" y="215011"/>
                    <a:pt x="1531725" y="215011"/>
                  </a:cubicBezTo>
                  <a:cubicBezTo>
                    <a:pt x="1517826" y="215011"/>
                    <a:pt x="1494661" y="228489"/>
                    <a:pt x="1481815" y="228489"/>
                  </a:cubicBezTo>
                  <a:cubicBezTo>
                    <a:pt x="1469390" y="228489"/>
                    <a:pt x="1448331" y="241967"/>
                    <a:pt x="1434222" y="241967"/>
                  </a:cubicBezTo>
                  <a:cubicBezTo>
                    <a:pt x="1420323" y="241967"/>
                    <a:pt x="1413584" y="250601"/>
                    <a:pt x="1388103" y="250601"/>
                  </a:cubicBezTo>
                  <a:cubicBezTo>
                    <a:pt x="1367465" y="250601"/>
                    <a:pt x="1373783" y="256287"/>
                    <a:pt x="1355461" y="256287"/>
                  </a:cubicBezTo>
                  <a:cubicBezTo>
                    <a:pt x="1337772" y="256287"/>
                    <a:pt x="1322399" y="263026"/>
                    <a:pt x="1316081" y="263026"/>
                  </a:cubicBezTo>
                  <a:cubicBezTo>
                    <a:pt x="1321767" y="263026"/>
                    <a:pt x="1309763" y="261130"/>
                    <a:pt x="1305130" y="261130"/>
                  </a:cubicBezTo>
                  <a:cubicBezTo>
                    <a:pt x="1309974" y="261130"/>
                    <a:pt x="1298392" y="266395"/>
                    <a:pt x="1293969" y="266395"/>
                  </a:cubicBezTo>
                  <a:cubicBezTo>
                    <a:pt x="1298392" y="266395"/>
                    <a:pt x="1273753" y="270186"/>
                    <a:pt x="1266593" y="270186"/>
                  </a:cubicBezTo>
                  <a:cubicBezTo>
                    <a:pt x="1259433" y="270186"/>
                    <a:pt x="1250167" y="271239"/>
                    <a:pt x="1244902" y="271239"/>
                  </a:cubicBezTo>
                  <a:cubicBezTo>
                    <a:pt x="1250167" y="271239"/>
                    <a:pt x="1227634" y="267869"/>
                    <a:pt x="1222369" y="267869"/>
                  </a:cubicBezTo>
                  <a:cubicBezTo>
                    <a:pt x="1227634" y="267869"/>
                    <a:pt x="1229950" y="273555"/>
                    <a:pt x="1227213" y="273555"/>
                  </a:cubicBezTo>
                  <a:cubicBezTo>
                    <a:pt x="1229529" y="273555"/>
                    <a:pt x="1230582" y="279873"/>
                    <a:pt x="1220895" y="279873"/>
                  </a:cubicBezTo>
                  <a:cubicBezTo>
                    <a:pt x="1211208" y="279873"/>
                    <a:pt x="1203627" y="286612"/>
                    <a:pt x="1194361" y="286612"/>
                  </a:cubicBezTo>
                  <a:cubicBezTo>
                    <a:pt x="1184673" y="286612"/>
                    <a:pt x="1170354" y="294825"/>
                    <a:pt x="1162772" y="302406"/>
                  </a:cubicBezTo>
                  <a:cubicBezTo>
                    <a:pt x="1151611" y="302406"/>
                    <a:pt x="1134343" y="317358"/>
                    <a:pt x="1121918" y="317358"/>
                  </a:cubicBezTo>
                  <a:cubicBezTo>
                    <a:pt x="1109493" y="317358"/>
                    <a:pt x="1094963" y="327466"/>
                    <a:pt x="1088434" y="327466"/>
                  </a:cubicBezTo>
                  <a:cubicBezTo>
                    <a:pt x="1095173" y="327466"/>
                    <a:pt x="1076852" y="333152"/>
                    <a:pt x="1073482" y="333152"/>
                  </a:cubicBezTo>
                  <a:cubicBezTo>
                    <a:pt x="1076431" y="333152"/>
                    <a:pt x="1067375" y="336521"/>
                    <a:pt x="1059584" y="336521"/>
                  </a:cubicBezTo>
                  <a:cubicBezTo>
                    <a:pt x="1067797" y="336521"/>
                    <a:pt x="1048633" y="339470"/>
                    <a:pt x="1046106" y="339470"/>
                  </a:cubicBezTo>
                  <a:cubicBezTo>
                    <a:pt x="1048422" y="339470"/>
                    <a:pt x="1035998" y="341786"/>
                    <a:pt x="1029259" y="341786"/>
                  </a:cubicBezTo>
                  <a:cubicBezTo>
                    <a:pt x="1035366" y="341786"/>
                    <a:pt x="1032207" y="336521"/>
                    <a:pt x="1026311" y="336521"/>
                  </a:cubicBezTo>
                  <a:cubicBezTo>
                    <a:pt x="1031996" y="336521"/>
                    <a:pt x="1039788" y="328308"/>
                    <a:pt x="1030733" y="328308"/>
                  </a:cubicBezTo>
                  <a:cubicBezTo>
                    <a:pt x="1021678" y="328308"/>
                    <a:pt x="1021046" y="341786"/>
                    <a:pt x="1013043" y="341786"/>
                  </a:cubicBezTo>
                  <a:cubicBezTo>
                    <a:pt x="1004830" y="341786"/>
                    <a:pt x="994301" y="347051"/>
                    <a:pt x="985667" y="347051"/>
                  </a:cubicBezTo>
                  <a:cubicBezTo>
                    <a:pt x="975980" y="347051"/>
                    <a:pt x="969873" y="358001"/>
                    <a:pt x="959343" y="358001"/>
                  </a:cubicBezTo>
                  <a:cubicBezTo>
                    <a:pt x="949235" y="358001"/>
                    <a:pt x="951551" y="361792"/>
                    <a:pt x="942917" y="361792"/>
                  </a:cubicBezTo>
                  <a:cubicBezTo>
                    <a:pt x="933441" y="361792"/>
                    <a:pt x="924807" y="364109"/>
                    <a:pt x="920805" y="364109"/>
                  </a:cubicBezTo>
                  <a:cubicBezTo>
                    <a:pt x="924596" y="364109"/>
                    <a:pt x="940390" y="366004"/>
                    <a:pt x="937021" y="366004"/>
                  </a:cubicBezTo>
                  <a:cubicBezTo>
                    <a:pt x="939969" y="366004"/>
                    <a:pt x="942707" y="372322"/>
                    <a:pt x="941443" y="372322"/>
                  </a:cubicBezTo>
                  <a:cubicBezTo>
                    <a:pt x="943338" y="372322"/>
                    <a:pt x="934704" y="376112"/>
                    <a:pt x="930914" y="376112"/>
                  </a:cubicBezTo>
                  <a:cubicBezTo>
                    <a:pt x="934704" y="376112"/>
                    <a:pt x="928597" y="379482"/>
                    <a:pt x="923122" y="379482"/>
                  </a:cubicBezTo>
                  <a:cubicBezTo>
                    <a:pt x="928386" y="379482"/>
                    <a:pt x="934704" y="386642"/>
                    <a:pt x="931335" y="386642"/>
                  </a:cubicBezTo>
                  <a:cubicBezTo>
                    <a:pt x="935757" y="386642"/>
                    <a:pt x="919753" y="393380"/>
                    <a:pt x="909223" y="393380"/>
                  </a:cubicBezTo>
                  <a:cubicBezTo>
                    <a:pt x="898694" y="393380"/>
                    <a:pt x="894903" y="407279"/>
                    <a:pt x="886690" y="407279"/>
                  </a:cubicBezTo>
                  <a:cubicBezTo>
                    <a:pt x="878477" y="407279"/>
                    <a:pt x="872370" y="416335"/>
                    <a:pt x="866473" y="416335"/>
                  </a:cubicBezTo>
                  <a:cubicBezTo>
                    <a:pt x="871738" y="416335"/>
                    <a:pt x="864999" y="421178"/>
                    <a:pt x="864999" y="427496"/>
                  </a:cubicBezTo>
                  <a:cubicBezTo>
                    <a:pt x="869421" y="426654"/>
                    <a:pt x="841624" y="436762"/>
                    <a:pt x="841624" y="44497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3" name="Forme libre : forme 107">
              <a:extLst>
                <a:ext uri="{FF2B5EF4-FFF2-40B4-BE49-F238E27FC236}">
                  <a16:creationId xmlns:a16="http://schemas.microsoft.com/office/drawing/2014/main" id="{B4868351-0B3A-4FE0-9A0E-D34CF2385B93}"/>
                </a:ext>
              </a:extLst>
            </p:cNvPr>
            <p:cNvSpPr/>
            <p:nvPr/>
          </p:nvSpPr>
          <p:spPr>
            <a:xfrm>
              <a:off x="3265486" y="2245688"/>
              <a:ext cx="224159" cy="108242"/>
            </a:xfrm>
            <a:custGeom>
              <a:avLst/>
              <a:gdLst>
                <a:gd name="connsiteX0" fmla="*/ 153294 w 224159"/>
                <a:gd name="connsiteY0" fmla="*/ 0 h 108242"/>
                <a:gd name="connsiteX1" fmla="*/ 116862 w 224159"/>
                <a:gd name="connsiteY1" fmla="*/ 9266 h 108242"/>
                <a:gd name="connsiteX2" fmla="*/ 84220 w 224159"/>
                <a:gd name="connsiteY2" fmla="*/ 30325 h 108242"/>
                <a:gd name="connsiteX3" fmla="*/ 52000 w 224159"/>
                <a:gd name="connsiteY3" fmla="*/ 58123 h 108242"/>
                <a:gd name="connsiteX4" fmla="*/ 44840 w 224159"/>
                <a:gd name="connsiteY4" fmla="*/ 68231 h 108242"/>
                <a:gd name="connsiteX5" fmla="*/ 29467 w 224159"/>
                <a:gd name="connsiteY5" fmla="*/ 77918 h 108242"/>
                <a:gd name="connsiteX6" fmla="*/ 9882 w 224159"/>
                <a:gd name="connsiteY6" fmla="*/ 83183 h 108242"/>
                <a:gd name="connsiteX7" fmla="*/ 25255 w 224159"/>
                <a:gd name="connsiteY7" fmla="*/ 86552 h 108242"/>
                <a:gd name="connsiteX8" fmla="*/ 3144 w 224159"/>
                <a:gd name="connsiteY8" fmla="*/ 96660 h 108242"/>
                <a:gd name="connsiteX9" fmla="*/ 3144 w 224159"/>
                <a:gd name="connsiteY9" fmla="*/ 108243 h 108242"/>
                <a:gd name="connsiteX10" fmla="*/ 45472 w 224159"/>
                <a:gd name="connsiteY10" fmla="*/ 100030 h 108242"/>
                <a:gd name="connsiteX11" fmla="*/ 81483 w 224159"/>
                <a:gd name="connsiteY11" fmla="*/ 94344 h 108242"/>
                <a:gd name="connsiteX12" fmla="*/ 104016 w 224159"/>
                <a:gd name="connsiteY12" fmla="*/ 92449 h 108242"/>
                <a:gd name="connsiteX13" fmla="*/ 129076 w 224159"/>
                <a:gd name="connsiteY13" fmla="*/ 89079 h 108242"/>
                <a:gd name="connsiteX14" fmla="*/ 145923 w 224159"/>
                <a:gd name="connsiteY14" fmla="*/ 85289 h 108242"/>
                <a:gd name="connsiteX15" fmla="*/ 127812 w 224159"/>
                <a:gd name="connsiteY15" fmla="*/ 93923 h 108242"/>
                <a:gd name="connsiteX16" fmla="*/ 102331 w 224159"/>
                <a:gd name="connsiteY16" fmla="*/ 104452 h 108242"/>
                <a:gd name="connsiteX17" fmla="*/ 133077 w 224159"/>
                <a:gd name="connsiteY17" fmla="*/ 102136 h 108242"/>
                <a:gd name="connsiteX18" fmla="*/ 154768 w 224159"/>
                <a:gd name="connsiteY18" fmla="*/ 87816 h 108242"/>
                <a:gd name="connsiteX19" fmla="*/ 175827 w 224159"/>
                <a:gd name="connsiteY19" fmla="*/ 78339 h 108242"/>
                <a:gd name="connsiteX20" fmla="*/ 172878 w 224159"/>
                <a:gd name="connsiteY20" fmla="*/ 88447 h 108242"/>
                <a:gd name="connsiteX21" fmla="*/ 172878 w 224159"/>
                <a:gd name="connsiteY21" fmla="*/ 98977 h 108242"/>
                <a:gd name="connsiteX22" fmla="*/ 189094 w 224159"/>
                <a:gd name="connsiteY22" fmla="*/ 88869 h 108242"/>
                <a:gd name="connsiteX23" fmla="*/ 192463 w 224159"/>
                <a:gd name="connsiteY23" fmla="*/ 98556 h 108242"/>
                <a:gd name="connsiteX24" fmla="*/ 212680 w 224159"/>
                <a:gd name="connsiteY24" fmla="*/ 88869 h 108242"/>
                <a:gd name="connsiteX25" fmla="*/ 223631 w 224159"/>
                <a:gd name="connsiteY25" fmla="*/ 72021 h 108242"/>
                <a:gd name="connsiteX26" fmla="*/ 211627 w 224159"/>
                <a:gd name="connsiteY26" fmla="*/ 74759 h 108242"/>
                <a:gd name="connsiteX27" fmla="*/ 205941 w 224159"/>
                <a:gd name="connsiteY27" fmla="*/ 70969 h 108242"/>
                <a:gd name="connsiteX28" fmla="*/ 217523 w 224159"/>
                <a:gd name="connsiteY28" fmla="*/ 60439 h 108242"/>
                <a:gd name="connsiteX29" fmla="*/ 189094 w 224159"/>
                <a:gd name="connsiteY29" fmla="*/ 77286 h 108242"/>
                <a:gd name="connsiteX30" fmla="*/ 192463 w 224159"/>
                <a:gd name="connsiteY30" fmla="*/ 66336 h 108242"/>
                <a:gd name="connsiteX31" fmla="*/ 211627 w 224159"/>
                <a:gd name="connsiteY31" fmla="*/ 56227 h 108242"/>
                <a:gd name="connsiteX32" fmla="*/ 197728 w 224159"/>
                <a:gd name="connsiteY32" fmla="*/ 55174 h 108242"/>
                <a:gd name="connsiteX33" fmla="*/ 194359 w 224159"/>
                <a:gd name="connsiteY33" fmla="*/ 47383 h 108242"/>
                <a:gd name="connsiteX34" fmla="*/ 197728 w 224159"/>
                <a:gd name="connsiteY34" fmla="*/ 37906 h 108242"/>
                <a:gd name="connsiteX35" fmla="*/ 175195 w 224159"/>
                <a:gd name="connsiteY35" fmla="*/ 38327 h 108242"/>
                <a:gd name="connsiteX36" fmla="*/ 158769 w 224159"/>
                <a:gd name="connsiteY36" fmla="*/ 39170 h 108242"/>
                <a:gd name="connsiteX37" fmla="*/ 149082 w 224159"/>
                <a:gd name="connsiteY37" fmla="*/ 46961 h 108242"/>
                <a:gd name="connsiteX38" fmla="*/ 135604 w 224159"/>
                <a:gd name="connsiteY38" fmla="*/ 43592 h 108242"/>
                <a:gd name="connsiteX39" fmla="*/ 133709 w 224159"/>
                <a:gd name="connsiteY39" fmla="*/ 39801 h 108242"/>
                <a:gd name="connsiteX40" fmla="*/ 143817 w 224159"/>
                <a:gd name="connsiteY40" fmla="*/ 33484 h 108242"/>
                <a:gd name="connsiteX41" fmla="*/ 120652 w 224159"/>
                <a:gd name="connsiteY41" fmla="*/ 36432 h 108242"/>
                <a:gd name="connsiteX42" fmla="*/ 104226 w 224159"/>
                <a:gd name="connsiteY42" fmla="*/ 42118 h 108242"/>
                <a:gd name="connsiteX43" fmla="*/ 115388 w 224159"/>
                <a:gd name="connsiteY43" fmla="*/ 32431 h 108242"/>
                <a:gd name="connsiteX44" fmla="*/ 138974 w 224159"/>
                <a:gd name="connsiteY44" fmla="*/ 14741 h 108242"/>
                <a:gd name="connsiteX45" fmla="*/ 133288 w 224159"/>
                <a:gd name="connsiteY45" fmla="*/ 10529 h 108242"/>
                <a:gd name="connsiteX46" fmla="*/ 150556 w 224159"/>
                <a:gd name="connsiteY46" fmla="*/ 5265 h 108242"/>
                <a:gd name="connsiteX47" fmla="*/ 153294 w 224159"/>
                <a:gd name="connsiteY47" fmla="*/ 0 h 1082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224159" h="108242">
                  <a:moveTo>
                    <a:pt x="153294" y="0"/>
                  </a:moveTo>
                  <a:cubicBezTo>
                    <a:pt x="138974" y="0"/>
                    <a:pt x="126970" y="9266"/>
                    <a:pt x="116862" y="9266"/>
                  </a:cubicBezTo>
                  <a:cubicBezTo>
                    <a:pt x="106753" y="9266"/>
                    <a:pt x="92855" y="30325"/>
                    <a:pt x="84220" y="30325"/>
                  </a:cubicBezTo>
                  <a:cubicBezTo>
                    <a:pt x="93276" y="30325"/>
                    <a:pt x="60213" y="58123"/>
                    <a:pt x="52000" y="58123"/>
                  </a:cubicBezTo>
                  <a:cubicBezTo>
                    <a:pt x="59792" y="58123"/>
                    <a:pt x="50526" y="68231"/>
                    <a:pt x="44840" y="68231"/>
                  </a:cubicBezTo>
                  <a:cubicBezTo>
                    <a:pt x="51158" y="68231"/>
                    <a:pt x="34732" y="77918"/>
                    <a:pt x="29467" y="77918"/>
                  </a:cubicBezTo>
                  <a:cubicBezTo>
                    <a:pt x="34732" y="77918"/>
                    <a:pt x="14726" y="73496"/>
                    <a:pt x="9882" y="83183"/>
                  </a:cubicBezTo>
                  <a:cubicBezTo>
                    <a:pt x="-3174" y="83183"/>
                    <a:pt x="30099" y="86552"/>
                    <a:pt x="25255" y="86552"/>
                  </a:cubicBezTo>
                  <a:cubicBezTo>
                    <a:pt x="26730" y="86552"/>
                    <a:pt x="9882" y="96660"/>
                    <a:pt x="3144" y="96660"/>
                  </a:cubicBezTo>
                  <a:cubicBezTo>
                    <a:pt x="9882" y="96660"/>
                    <a:pt x="-6544" y="108243"/>
                    <a:pt x="3144" y="108243"/>
                  </a:cubicBezTo>
                  <a:cubicBezTo>
                    <a:pt x="12199" y="108243"/>
                    <a:pt x="33890" y="100030"/>
                    <a:pt x="45472" y="100030"/>
                  </a:cubicBezTo>
                  <a:cubicBezTo>
                    <a:pt x="53685" y="92238"/>
                    <a:pt x="86748" y="94344"/>
                    <a:pt x="81483" y="94344"/>
                  </a:cubicBezTo>
                  <a:cubicBezTo>
                    <a:pt x="87590" y="94344"/>
                    <a:pt x="110333" y="92449"/>
                    <a:pt x="104016" y="92449"/>
                  </a:cubicBezTo>
                  <a:cubicBezTo>
                    <a:pt x="110333" y="92449"/>
                    <a:pt x="120442" y="89079"/>
                    <a:pt x="129076" y="89079"/>
                  </a:cubicBezTo>
                  <a:cubicBezTo>
                    <a:pt x="137710" y="89079"/>
                    <a:pt x="150556" y="85289"/>
                    <a:pt x="145923" y="85289"/>
                  </a:cubicBezTo>
                  <a:cubicBezTo>
                    <a:pt x="150767" y="85289"/>
                    <a:pt x="134972" y="93923"/>
                    <a:pt x="127812" y="93923"/>
                  </a:cubicBezTo>
                  <a:cubicBezTo>
                    <a:pt x="134972" y="93923"/>
                    <a:pt x="108649" y="104452"/>
                    <a:pt x="102331" y="104452"/>
                  </a:cubicBezTo>
                  <a:cubicBezTo>
                    <a:pt x="107596" y="104452"/>
                    <a:pt x="120652" y="102136"/>
                    <a:pt x="133077" y="102136"/>
                  </a:cubicBezTo>
                  <a:cubicBezTo>
                    <a:pt x="145081" y="102136"/>
                    <a:pt x="145502" y="87816"/>
                    <a:pt x="154768" y="87816"/>
                  </a:cubicBezTo>
                  <a:cubicBezTo>
                    <a:pt x="163823" y="87816"/>
                    <a:pt x="179828" y="78339"/>
                    <a:pt x="175827" y="78339"/>
                  </a:cubicBezTo>
                  <a:cubicBezTo>
                    <a:pt x="180670" y="78339"/>
                    <a:pt x="180249" y="88447"/>
                    <a:pt x="172878" y="88447"/>
                  </a:cubicBezTo>
                  <a:cubicBezTo>
                    <a:pt x="179617" y="88447"/>
                    <a:pt x="164244" y="98977"/>
                    <a:pt x="172878" y="98977"/>
                  </a:cubicBezTo>
                  <a:cubicBezTo>
                    <a:pt x="181091" y="98977"/>
                    <a:pt x="196464" y="88869"/>
                    <a:pt x="189094" y="88869"/>
                  </a:cubicBezTo>
                  <a:cubicBezTo>
                    <a:pt x="189094" y="96029"/>
                    <a:pt x="198781" y="98556"/>
                    <a:pt x="192463" y="98556"/>
                  </a:cubicBezTo>
                  <a:cubicBezTo>
                    <a:pt x="199202" y="98556"/>
                    <a:pt x="209310" y="95186"/>
                    <a:pt x="212680" y="88869"/>
                  </a:cubicBezTo>
                  <a:cubicBezTo>
                    <a:pt x="212680" y="81077"/>
                    <a:pt x="226579" y="72021"/>
                    <a:pt x="223631" y="72021"/>
                  </a:cubicBezTo>
                  <a:cubicBezTo>
                    <a:pt x="226579" y="72021"/>
                    <a:pt x="216470" y="74759"/>
                    <a:pt x="211627" y="74759"/>
                  </a:cubicBezTo>
                  <a:cubicBezTo>
                    <a:pt x="216470" y="74759"/>
                    <a:pt x="211206" y="70969"/>
                    <a:pt x="205941" y="70969"/>
                  </a:cubicBezTo>
                  <a:cubicBezTo>
                    <a:pt x="211627" y="70969"/>
                    <a:pt x="227631" y="60439"/>
                    <a:pt x="217523" y="60439"/>
                  </a:cubicBezTo>
                  <a:cubicBezTo>
                    <a:pt x="206362" y="60439"/>
                    <a:pt x="193516" y="77286"/>
                    <a:pt x="189094" y="77286"/>
                  </a:cubicBezTo>
                  <a:cubicBezTo>
                    <a:pt x="193306" y="77286"/>
                    <a:pt x="182776" y="66336"/>
                    <a:pt x="192463" y="66336"/>
                  </a:cubicBezTo>
                  <a:cubicBezTo>
                    <a:pt x="201097" y="66336"/>
                    <a:pt x="216470" y="56227"/>
                    <a:pt x="211627" y="56227"/>
                  </a:cubicBezTo>
                  <a:cubicBezTo>
                    <a:pt x="215839" y="56227"/>
                    <a:pt x="205309" y="55174"/>
                    <a:pt x="197728" y="55174"/>
                  </a:cubicBezTo>
                  <a:cubicBezTo>
                    <a:pt x="189936" y="55174"/>
                    <a:pt x="184250" y="47383"/>
                    <a:pt x="194359" y="47383"/>
                  </a:cubicBezTo>
                  <a:cubicBezTo>
                    <a:pt x="204046" y="47383"/>
                    <a:pt x="206362" y="37906"/>
                    <a:pt x="197728" y="37906"/>
                  </a:cubicBezTo>
                  <a:cubicBezTo>
                    <a:pt x="189515" y="37906"/>
                    <a:pt x="180038" y="38327"/>
                    <a:pt x="175195" y="38327"/>
                  </a:cubicBezTo>
                  <a:cubicBezTo>
                    <a:pt x="180038" y="38327"/>
                    <a:pt x="164244" y="39170"/>
                    <a:pt x="158769" y="39170"/>
                  </a:cubicBezTo>
                  <a:cubicBezTo>
                    <a:pt x="164034" y="39170"/>
                    <a:pt x="153925" y="46961"/>
                    <a:pt x="149082" y="46961"/>
                  </a:cubicBezTo>
                  <a:cubicBezTo>
                    <a:pt x="153925" y="46961"/>
                    <a:pt x="141922" y="43592"/>
                    <a:pt x="135604" y="43592"/>
                  </a:cubicBezTo>
                  <a:cubicBezTo>
                    <a:pt x="141922" y="43592"/>
                    <a:pt x="140869" y="39801"/>
                    <a:pt x="133709" y="39801"/>
                  </a:cubicBezTo>
                  <a:cubicBezTo>
                    <a:pt x="140869" y="39801"/>
                    <a:pt x="152873" y="33484"/>
                    <a:pt x="143817" y="33484"/>
                  </a:cubicBezTo>
                  <a:cubicBezTo>
                    <a:pt x="135183" y="33484"/>
                    <a:pt x="124232" y="36432"/>
                    <a:pt x="120652" y="36432"/>
                  </a:cubicBezTo>
                  <a:cubicBezTo>
                    <a:pt x="123601" y="36432"/>
                    <a:pt x="112018" y="42118"/>
                    <a:pt x="104226" y="42118"/>
                  </a:cubicBezTo>
                  <a:cubicBezTo>
                    <a:pt x="96013" y="42118"/>
                    <a:pt x="101910" y="32431"/>
                    <a:pt x="115388" y="32431"/>
                  </a:cubicBezTo>
                  <a:cubicBezTo>
                    <a:pt x="129286" y="32431"/>
                    <a:pt x="143185" y="14741"/>
                    <a:pt x="138974" y="14741"/>
                  </a:cubicBezTo>
                  <a:cubicBezTo>
                    <a:pt x="142343" y="14741"/>
                    <a:pt x="134762" y="10529"/>
                    <a:pt x="133288" y="10529"/>
                  </a:cubicBezTo>
                  <a:cubicBezTo>
                    <a:pt x="135183" y="10529"/>
                    <a:pt x="156873" y="5265"/>
                    <a:pt x="150556" y="5265"/>
                  </a:cubicBezTo>
                  <a:cubicBezTo>
                    <a:pt x="156663" y="4844"/>
                    <a:pt x="163402" y="0"/>
                    <a:pt x="153294"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4" name="Forme libre : forme 108">
              <a:extLst>
                <a:ext uri="{FF2B5EF4-FFF2-40B4-BE49-F238E27FC236}">
                  <a16:creationId xmlns:a16="http://schemas.microsoft.com/office/drawing/2014/main" id="{9C7C6106-2CC4-4C05-B30F-8F65AE639046}"/>
                </a:ext>
              </a:extLst>
            </p:cNvPr>
            <p:cNvSpPr/>
            <p:nvPr/>
          </p:nvSpPr>
          <p:spPr>
            <a:xfrm>
              <a:off x="5293655" y="1874630"/>
              <a:ext cx="32228" cy="18321"/>
            </a:xfrm>
            <a:custGeom>
              <a:avLst/>
              <a:gdLst>
                <a:gd name="connsiteX0" fmla="*/ 30746 w 32228"/>
                <a:gd name="connsiteY0" fmla="*/ 0 h 18321"/>
                <a:gd name="connsiteX1" fmla="*/ 0 w 32228"/>
                <a:gd name="connsiteY1" fmla="*/ 10108 h 18321"/>
                <a:gd name="connsiteX2" fmla="*/ 14952 w 32228"/>
                <a:gd name="connsiteY2" fmla="*/ 18321 h 18321"/>
                <a:gd name="connsiteX3" fmla="*/ 30746 w 32228"/>
                <a:gd name="connsiteY3" fmla="*/ 0 h 18321"/>
              </a:gdLst>
              <a:ahLst/>
              <a:cxnLst>
                <a:cxn ang="0">
                  <a:pos x="connsiteX0" y="connsiteY0"/>
                </a:cxn>
                <a:cxn ang="0">
                  <a:pos x="connsiteX1" y="connsiteY1"/>
                </a:cxn>
                <a:cxn ang="0">
                  <a:pos x="connsiteX2" y="connsiteY2"/>
                </a:cxn>
                <a:cxn ang="0">
                  <a:pos x="connsiteX3" y="connsiteY3"/>
                </a:cxn>
              </a:cxnLst>
              <a:rect l="l" t="t" r="r" b="b"/>
              <a:pathLst>
                <a:path w="32228" h="18321">
                  <a:moveTo>
                    <a:pt x="30746" y="0"/>
                  </a:moveTo>
                  <a:cubicBezTo>
                    <a:pt x="40012" y="0"/>
                    <a:pt x="2949" y="10108"/>
                    <a:pt x="0" y="10108"/>
                  </a:cubicBezTo>
                  <a:cubicBezTo>
                    <a:pt x="3370" y="10108"/>
                    <a:pt x="21691" y="18321"/>
                    <a:pt x="14952" y="18321"/>
                  </a:cubicBezTo>
                  <a:cubicBezTo>
                    <a:pt x="20638" y="18111"/>
                    <a:pt x="33273" y="0"/>
                    <a:pt x="30746"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5" name="Forme libre : forme 109">
              <a:extLst>
                <a:ext uri="{FF2B5EF4-FFF2-40B4-BE49-F238E27FC236}">
                  <a16:creationId xmlns:a16="http://schemas.microsoft.com/office/drawing/2014/main" id="{6C0499AA-F797-43BE-BC28-FA7316ACADF1}"/>
                </a:ext>
              </a:extLst>
            </p:cNvPr>
            <p:cNvSpPr/>
            <p:nvPr/>
          </p:nvSpPr>
          <p:spPr>
            <a:xfrm>
              <a:off x="5092542" y="1857362"/>
              <a:ext cx="43757" cy="13267"/>
            </a:xfrm>
            <a:custGeom>
              <a:avLst/>
              <a:gdLst>
                <a:gd name="connsiteX0" fmla="*/ 41275 w 43757"/>
                <a:gd name="connsiteY0" fmla="*/ 0 h 13267"/>
                <a:gd name="connsiteX1" fmla="*/ 32641 w 43757"/>
                <a:gd name="connsiteY1" fmla="*/ 10951 h 13267"/>
                <a:gd name="connsiteX2" fmla="*/ 22954 w 43757"/>
                <a:gd name="connsiteY2" fmla="*/ 13267 h 13267"/>
                <a:gd name="connsiteX3" fmla="*/ 21059 w 43757"/>
                <a:gd name="connsiteY3" fmla="*/ 5054 h 13267"/>
                <a:gd name="connsiteX4" fmla="*/ 0 w 43757"/>
                <a:gd name="connsiteY4" fmla="*/ 3159 h 13267"/>
                <a:gd name="connsiteX5" fmla="*/ 41275 w 43757"/>
                <a:gd name="connsiteY5" fmla="*/ 0 h 132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757" h="13267">
                  <a:moveTo>
                    <a:pt x="41275" y="0"/>
                  </a:moveTo>
                  <a:cubicBezTo>
                    <a:pt x="48857" y="0"/>
                    <a:pt x="37064" y="10951"/>
                    <a:pt x="32641" y="10951"/>
                  </a:cubicBezTo>
                  <a:cubicBezTo>
                    <a:pt x="36432" y="10951"/>
                    <a:pt x="26534" y="13267"/>
                    <a:pt x="22954" y="13267"/>
                  </a:cubicBezTo>
                  <a:cubicBezTo>
                    <a:pt x="25902" y="13267"/>
                    <a:pt x="30746" y="5054"/>
                    <a:pt x="21059" y="5054"/>
                  </a:cubicBezTo>
                  <a:cubicBezTo>
                    <a:pt x="10950" y="5054"/>
                    <a:pt x="7581" y="3159"/>
                    <a:pt x="0" y="3159"/>
                  </a:cubicBezTo>
                  <a:cubicBezTo>
                    <a:pt x="6739" y="3369"/>
                    <a:pt x="48014" y="0"/>
                    <a:pt x="4127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6" name="Forme libre : forme 110">
              <a:extLst>
                <a:ext uri="{FF2B5EF4-FFF2-40B4-BE49-F238E27FC236}">
                  <a16:creationId xmlns:a16="http://schemas.microsoft.com/office/drawing/2014/main" id="{09299976-76BC-4215-907B-1747BF0E9A22}"/>
                </a:ext>
              </a:extLst>
            </p:cNvPr>
            <p:cNvSpPr/>
            <p:nvPr/>
          </p:nvSpPr>
          <p:spPr>
            <a:xfrm>
              <a:off x="5110703" y="1920749"/>
              <a:ext cx="289638" cy="183633"/>
            </a:xfrm>
            <a:custGeom>
              <a:avLst/>
              <a:gdLst>
                <a:gd name="connsiteX0" fmla="*/ 67339 w 289638"/>
                <a:gd name="connsiteY0" fmla="*/ 3369 h 183633"/>
                <a:gd name="connsiteX1" fmla="*/ 103771 w 289638"/>
                <a:gd name="connsiteY1" fmla="*/ 1895 h 183633"/>
                <a:gd name="connsiteX2" fmla="*/ 133042 w 289638"/>
                <a:gd name="connsiteY2" fmla="*/ 0 h 183633"/>
                <a:gd name="connsiteX3" fmla="*/ 112405 w 289638"/>
                <a:gd name="connsiteY3" fmla="*/ 13478 h 183633"/>
                <a:gd name="connsiteX4" fmla="*/ 105666 w 289638"/>
                <a:gd name="connsiteY4" fmla="*/ 20217 h 183633"/>
                <a:gd name="connsiteX5" fmla="*/ 147363 w 289638"/>
                <a:gd name="connsiteY5" fmla="*/ 18742 h 183633"/>
                <a:gd name="connsiteX6" fmla="*/ 169053 w 289638"/>
                <a:gd name="connsiteY6" fmla="*/ 19795 h 183633"/>
                <a:gd name="connsiteX7" fmla="*/ 150311 w 289638"/>
                <a:gd name="connsiteY7" fmla="*/ 37906 h 183633"/>
                <a:gd name="connsiteX8" fmla="*/ 131568 w 289638"/>
                <a:gd name="connsiteY8" fmla="*/ 51384 h 183633"/>
                <a:gd name="connsiteX9" fmla="*/ 163788 w 289638"/>
                <a:gd name="connsiteY9" fmla="*/ 51384 h 183633"/>
                <a:gd name="connsiteX10" fmla="*/ 183584 w 289638"/>
                <a:gd name="connsiteY10" fmla="*/ 68652 h 183633"/>
                <a:gd name="connsiteX11" fmla="*/ 208433 w 289638"/>
                <a:gd name="connsiteY11" fmla="*/ 78760 h 183633"/>
                <a:gd name="connsiteX12" fmla="*/ 240654 w 289638"/>
                <a:gd name="connsiteY12" fmla="*/ 100451 h 183633"/>
                <a:gd name="connsiteX13" fmla="*/ 237284 w 289638"/>
                <a:gd name="connsiteY13" fmla="*/ 110980 h 183633"/>
                <a:gd name="connsiteX14" fmla="*/ 251183 w 289638"/>
                <a:gd name="connsiteY14" fmla="*/ 109085 h 183633"/>
                <a:gd name="connsiteX15" fmla="*/ 285720 w 289638"/>
                <a:gd name="connsiteY15" fmla="*/ 114350 h 183633"/>
                <a:gd name="connsiteX16" fmla="*/ 280455 w 289638"/>
                <a:gd name="connsiteY16" fmla="*/ 133092 h 183633"/>
                <a:gd name="connsiteX17" fmla="*/ 275190 w 289638"/>
                <a:gd name="connsiteY17" fmla="*/ 142779 h 183633"/>
                <a:gd name="connsiteX18" fmla="*/ 263186 w 289638"/>
                <a:gd name="connsiteY18" fmla="*/ 150992 h 183633"/>
                <a:gd name="connsiteX19" fmla="*/ 212645 w 289638"/>
                <a:gd name="connsiteY19" fmla="*/ 156678 h 183633"/>
                <a:gd name="connsiteX20" fmla="*/ 175160 w 289638"/>
                <a:gd name="connsiteY20" fmla="*/ 163417 h 183633"/>
                <a:gd name="connsiteX21" fmla="*/ 156839 w 289638"/>
                <a:gd name="connsiteY21" fmla="*/ 161943 h 183633"/>
                <a:gd name="connsiteX22" fmla="*/ 133253 w 289638"/>
                <a:gd name="connsiteY22" fmla="*/ 164891 h 183633"/>
                <a:gd name="connsiteX23" fmla="*/ 106298 w 289638"/>
                <a:gd name="connsiteY23" fmla="*/ 166365 h 183633"/>
                <a:gd name="connsiteX24" fmla="*/ 90503 w 289638"/>
                <a:gd name="connsiteY24" fmla="*/ 176053 h 183633"/>
                <a:gd name="connsiteX25" fmla="*/ 63548 w 289638"/>
                <a:gd name="connsiteY25" fmla="*/ 174578 h 183633"/>
                <a:gd name="connsiteX26" fmla="*/ 37646 w 289638"/>
                <a:gd name="connsiteY26" fmla="*/ 183634 h 183633"/>
                <a:gd name="connsiteX27" fmla="*/ 27537 w 289638"/>
                <a:gd name="connsiteY27" fmla="*/ 177316 h 183633"/>
                <a:gd name="connsiteX28" fmla="*/ 62495 w 289638"/>
                <a:gd name="connsiteY28" fmla="*/ 163417 h 183633"/>
                <a:gd name="connsiteX29" fmla="*/ 90293 w 289638"/>
                <a:gd name="connsiteY29" fmla="*/ 157099 h 183633"/>
                <a:gd name="connsiteX30" fmla="*/ 105666 w 289638"/>
                <a:gd name="connsiteY30" fmla="*/ 150782 h 183633"/>
                <a:gd name="connsiteX31" fmla="*/ 64811 w 289638"/>
                <a:gd name="connsiteY31" fmla="*/ 145938 h 183633"/>
                <a:gd name="connsiteX32" fmla="*/ 35961 w 289638"/>
                <a:gd name="connsiteY32" fmla="*/ 143622 h 183633"/>
                <a:gd name="connsiteX33" fmla="*/ 73024 w 289638"/>
                <a:gd name="connsiteY33" fmla="*/ 135409 h 183633"/>
                <a:gd name="connsiteX34" fmla="*/ 82501 w 289638"/>
                <a:gd name="connsiteY34" fmla="*/ 124458 h 183633"/>
                <a:gd name="connsiteX35" fmla="*/ 63759 w 289638"/>
                <a:gd name="connsiteY35" fmla="*/ 121510 h 183633"/>
                <a:gd name="connsiteX36" fmla="*/ 71972 w 289638"/>
                <a:gd name="connsiteY36" fmla="*/ 113718 h 183633"/>
                <a:gd name="connsiteX37" fmla="*/ 68181 w 289638"/>
                <a:gd name="connsiteY37" fmla="*/ 109927 h 183633"/>
                <a:gd name="connsiteX38" fmla="*/ 110931 w 289638"/>
                <a:gd name="connsiteY38" fmla="*/ 106979 h 183633"/>
                <a:gd name="connsiteX39" fmla="*/ 119565 w 289638"/>
                <a:gd name="connsiteY39" fmla="*/ 95397 h 183633"/>
                <a:gd name="connsiteX40" fmla="*/ 102297 w 289638"/>
                <a:gd name="connsiteY40" fmla="*/ 82340 h 183633"/>
                <a:gd name="connsiteX41" fmla="*/ 87976 w 289638"/>
                <a:gd name="connsiteY41" fmla="*/ 77076 h 183633"/>
                <a:gd name="connsiteX42" fmla="*/ 53440 w 289638"/>
                <a:gd name="connsiteY42" fmla="*/ 80024 h 183633"/>
                <a:gd name="connsiteX43" fmla="*/ 68813 w 289638"/>
                <a:gd name="connsiteY43" fmla="*/ 69916 h 183633"/>
                <a:gd name="connsiteX44" fmla="*/ 63127 w 289638"/>
                <a:gd name="connsiteY44" fmla="*/ 61281 h 183633"/>
                <a:gd name="connsiteX45" fmla="*/ 46280 w 289638"/>
                <a:gd name="connsiteY45" fmla="*/ 62124 h 183633"/>
                <a:gd name="connsiteX46" fmla="*/ 35750 w 289638"/>
                <a:gd name="connsiteY46" fmla="*/ 70758 h 183633"/>
                <a:gd name="connsiteX47" fmla="*/ 30486 w 289638"/>
                <a:gd name="connsiteY47" fmla="*/ 63598 h 183633"/>
                <a:gd name="connsiteX48" fmla="*/ 39120 w 289638"/>
                <a:gd name="connsiteY48" fmla="*/ 51173 h 183633"/>
                <a:gd name="connsiteX49" fmla="*/ 48807 w 289638"/>
                <a:gd name="connsiteY49" fmla="*/ 42118 h 183633"/>
                <a:gd name="connsiteX50" fmla="*/ 13217 w 289638"/>
                <a:gd name="connsiteY50" fmla="*/ 54121 h 183633"/>
                <a:gd name="connsiteX51" fmla="*/ 18482 w 289638"/>
                <a:gd name="connsiteY51" fmla="*/ 42118 h 183633"/>
                <a:gd name="connsiteX52" fmla="*/ 33855 w 289638"/>
                <a:gd name="connsiteY52" fmla="*/ 33905 h 183633"/>
                <a:gd name="connsiteX53" fmla="*/ 4162 w 289638"/>
                <a:gd name="connsiteY53" fmla="*/ 28008 h 183633"/>
                <a:gd name="connsiteX54" fmla="*/ 28590 w 289638"/>
                <a:gd name="connsiteY54" fmla="*/ 25060 h 183633"/>
                <a:gd name="connsiteX55" fmla="*/ 46280 w 289638"/>
                <a:gd name="connsiteY55" fmla="*/ 19374 h 183633"/>
                <a:gd name="connsiteX56" fmla="*/ 67339 w 289638"/>
                <a:gd name="connsiteY56" fmla="*/ 3369 h 183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289638" h="183633">
                  <a:moveTo>
                    <a:pt x="67339" y="3369"/>
                  </a:moveTo>
                  <a:cubicBezTo>
                    <a:pt x="75973" y="3369"/>
                    <a:pt x="92399" y="1895"/>
                    <a:pt x="103771" y="1895"/>
                  </a:cubicBezTo>
                  <a:cubicBezTo>
                    <a:pt x="115774" y="1895"/>
                    <a:pt x="135991" y="0"/>
                    <a:pt x="133042" y="0"/>
                  </a:cubicBezTo>
                  <a:cubicBezTo>
                    <a:pt x="135991" y="0"/>
                    <a:pt x="120618" y="13478"/>
                    <a:pt x="112405" y="13478"/>
                  </a:cubicBezTo>
                  <a:cubicBezTo>
                    <a:pt x="103771" y="13478"/>
                    <a:pt x="92609" y="20217"/>
                    <a:pt x="105666" y="20217"/>
                  </a:cubicBezTo>
                  <a:cubicBezTo>
                    <a:pt x="119143" y="20217"/>
                    <a:pt x="136833" y="18742"/>
                    <a:pt x="147363" y="18742"/>
                  </a:cubicBezTo>
                  <a:cubicBezTo>
                    <a:pt x="158524" y="18742"/>
                    <a:pt x="173897" y="19795"/>
                    <a:pt x="169053" y="19795"/>
                  </a:cubicBezTo>
                  <a:cubicBezTo>
                    <a:pt x="173897" y="19795"/>
                    <a:pt x="157471" y="37906"/>
                    <a:pt x="150311" y="37906"/>
                  </a:cubicBezTo>
                  <a:cubicBezTo>
                    <a:pt x="157050" y="37906"/>
                    <a:pt x="137254" y="51384"/>
                    <a:pt x="131568" y="51384"/>
                  </a:cubicBezTo>
                  <a:cubicBezTo>
                    <a:pt x="137886" y="51384"/>
                    <a:pt x="170527" y="51384"/>
                    <a:pt x="163788" y="51384"/>
                  </a:cubicBezTo>
                  <a:cubicBezTo>
                    <a:pt x="170948" y="51384"/>
                    <a:pt x="188427" y="68652"/>
                    <a:pt x="183584" y="68652"/>
                  </a:cubicBezTo>
                  <a:cubicBezTo>
                    <a:pt x="188848" y="68652"/>
                    <a:pt x="197062" y="78760"/>
                    <a:pt x="208433" y="78760"/>
                  </a:cubicBezTo>
                  <a:cubicBezTo>
                    <a:pt x="218963" y="78760"/>
                    <a:pt x="240654" y="93080"/>
                    <a:pt x="240654" y="100451"/>
                  </a:cubicBezTo>
                  <a:cubicBezTo>
                    <a:pt x="240654" y="107611"/>
                    <a:pt x="241075" y="110980"/>
                    <a:pt x="237284" y="110980"/>
                  </a:cubicBezTo>
                  <a:cubicBezTo>
                    <a:pt x="241707" y="110980"/>
                    <a:pt x="241707" y="109085"/>
                    <a:pt x="251183" y="109085"/>
                  </a:cubicBezTo>
                  <a:cubicBezTo>
                    <a:pt x="261713" y="109085"/>
                    <a:pt x="291616" y="114350"/>
                    <a:pt x="285720" y="114350"/>
                  </a:cubicBezTo>
                  <a:cubicBezTo>
                    <a:pt x="291616" y="114350"/>
                    <a:pt x="291616" y="133092"/>
                    <a:pt x="280455" y="133092"/>
                  </a:cubicBezTo>
                  <a:cubicBezTo>
                    <a:pt x="269294" y="133092"/>
                    <a:pt x="280876" y="142779"/>
                    <a:pt x="275190" y="142779"/>
                  </a:cubicBezTo>
                  <a:cubicBezTo>
                    <a:pt x="281087" y="142779"/>
                    <a:pt x="269925" y="150992"/>
                    <a:pt x="263186" y="150992"/>
                  </a:cubicBezTo>
                  <a:cubicBezTo>
                    <a:pt x="269925" y="150992"/>
                    <a:pt x="227597" y="156678"/>
                    <a:pt x="212645" y="156678"/>
                  </a:cubicBezTo>
                  <a:cubicBezTo>
                    <a:pt x="197272" y="156678"/>
                    <a:pt x="181899" y="163417"/>
                    <a:pt x="175160" y="163417"/>
                  </a:cubicBezTo>
                  <a:cubicBezTo>
                    <a:pt x="181899" y="163417"/>
                    <a:pt x="163157" y="161943"/>
                    <a:pt x="156839" y="161943"/>
                  </a:cubicBezTo>
                  <a:cubicBezTo>
                    <a:pt x="163157" y="161943"/>
                    <a:pt x="139992" y="164891"/>
                    <a:pt x="133253" y="164891"/>
                  </a:cubicBezTo>
                  <a:cubicBezTo>
                    <a:pt x="127988" y="170156"/>
                    <a:pt x="114510" y="166365"/>
                    <a:pt x="106298" y="166365"/>
                  </a:cubicBezTo>
                  <a:cubicBezTo>
                    <a:pt x="114510" y="166365"/>
                    <a:pt x="96189" y="176053"/>
                    <a:pt x="90503" y="176053"/>
                  </a:cubicBezTo>
                  <a:cubicBezTo>
                    <a:pt x="96821" y="176053"/>
                    <a:pt x="71761" y="174578"/>
                    <a:pt x="63548" y="174578"/>
                  </a:cubicBezTo>
                  <a:cubicBezTo>
                    <a:pt x="54914" y="174578"/>
                    <a:pt x="45859" y="183634"/>
                    <a:pt x="37646" y="183634"/>
                  </a:cubicBezTo>
                  <a:cubicBezTo>
                    <a:pt x="29433" y="183634"/>
                    <a:pt x="14060" y="177316"/>
                    <a:pt x="27537" y="177316"/>
                  </a:cubicBezTo>
                  <a:cubicBezTo>
                    <a:pt x="39962" y="177316"/>
                    <a:pt x="67339" y="163417"/>
                    <a:pt x="62495" y="163417"/>
                  </a:cubicBezTo>
                  <a:cubicBezTo>
                    <a:pt x="67760" y="163417"/>
                    <a:pt x="81659" y="157099"/>
                    <a:pt x="90293" y="157099"/>
                  </a:cubicBezTo>
                  <a:cubicBezTo>
                    <a:pt x="99980" y="157099"/>
                    <a:pt x="115774" y="150782"/>
                    <a:pt x="105666" y="150782"/>
                  </a:cubicBezTo>
                  <a:cubicBezTo>
                    <a:pt x="95979" y="150782"/>
                    <a:pt x="75341" y="145938"/>
                    <a:pt x="64811" y="145938"/>
                  </a:cubicBezTo>
                  <a:cubicBezTo>
                    <a:pt x="54703" y="145938"/>
                    <a:pt x="25431" y="143622"/>
                    <a:pt x="35961" y="143622"/>
                  </a:cubicBezTo>
                  <a:cubicBezTo>
                    <a:pt x="46912" y="143622"/>
                    <a:pt x="77657" y="135409"/>
                    <a:pt x="73024" y="135409"/>
                  </a:cubicBezTo>
                  <a:cubicBezTo>
                    <a:pt x="77868" y="135409"/>
                    <a:pt x="89451" y="124458"/>
                    <a:pt x="82501" y="124458"/>
                  </a:cubicBezTo>
                  <a:cubicBezTo>
                    <a:pt x="88819" y="124458"/>
                    <a:pt x="72393" y="121510"/>
                    <a:pt x="63759" y="121510"/>
                  </a:cubicBezTo>
                  <a:cubicBezTo>
                    <a:pt x="54703" y="121510"/>
                    <a:pt x="77236" y="113718"/>
                    <a:pt x="71972" y="113718"/>
                  </a:cubicBezTo>
                  <a:cubicBezTo>
                    <a:pt x="77236" y="113718"/>
                    <a:pt x="51334" y="109927"/>
                    <a:pt x="68181" y="109927"/>
                  </a:cubicBezTo>
                  <a:cubicBezTo>
                    <a:pt x="85870" y="109927"/>
                    <a:pt x="106087" y="116666"/>
                    <a:pt x="110931" y="106979"/>
                  </a:cubicBezTo>
                  <a:cubicBezTo>
                    <a:pt x="121460" y="106979"/>
                    <a:pt x="119565" y="103189"/>
                    <a:pt x="119565" y="95397"/>
                  </a:cubicBezTo>
                  <a:cubicBezTo>
                    <a:pt x="127356" y="95397"/>
                    <a:pt x="105666" y="82340"/>
                    <a:pt x="102297" y="82340"/>
                  </a:cubicBezTo>
                  <a:cubicBezTo>
                    <a:pt x="106087" y="82340"/>
                    <a:pt x="96611" y="77076"/>
                    <a:pt x="87976" y="77076"/>
                  </a:cubicBezTo>
                  <a:cubicBezTo>
                    <a:pt x="79342" y="77076"/>
                    <a:pt x="59126" y="80024"/>
                    <a:pt x="53440" y="80024"/>
                  </a:cubicBezTo>
                  <a:cubicBezTo>
                    <a:pt x="58283" y="80024"/>
                    <a:pt x="73656" y="69916"/>
                    <a:pt x="68813" y="69916"/>
                  </a:cubicBezTo>
                  <a:cubicBezTo>
                    <a:pt x="73656" y="69916"/>
                    <a:pt x="70708" y="61281"/>
                    <a:pt x="63127" y="61281"/>
                  </a:cubicBezTo>
                  <a:cubicBezTo>
                    <a:pt x="55335" y="61281"/>
                    <a:pt x="51123" y="62124"/>
                    <a:pt x="46280" y="62124"/>
                  </a:cubicBezTo>
                  <a:cubicBezTo>
                    <a:pt x="50702" y="62124"/>
                    <a:pt x="40594" y="70758"/>
                    <a:pt x="35750" y="70758"/>
                  </a:cubicBezTo>
                  <a:cubicBezTo>
                    <a:pt x="40594" y="70758"/>
                    <a:pt x="36593" y="63598"/>
                    <a:pt x="30486" y="63598"/>
                  </a:cubicBezTo>
                  <a:cubicBezTo>
                    <a:pt x="36803" y="63598"/>
                    <a:pt x="30486" y="51173"/>
                    <a:pt x="39120" y="51173"/>
                  </a:cubicBezTo>
                  <a:cubicBezTo>
                    <a:pt x="46912" y="51173"/>
                    <a:pt x="53018" y="42118"/>
                    <a:pt x="48807" y="42118"/>
                  </a:cubicBezTo>
                  <a:cubicBezTo>
                    <a:pt x="53229" y="42118"/>
                    <a:pt x="17640" y="54121"/>
                    <a:pt x="13217" y="54121"/>
                  </a:cubicBezTo>
                  <a:cubicBezTo>
                    <a:pt x="17008" y="54121"/>
                    <a:pt x="9427" y="42118"/>
                    <a:pt x="18482" y="42118"/>
                  </a:cubicBezTo>
                  <a:cubicBezTo>
                    <a:pt x="28590" y="42118"/>
                    <a:pt x="43963" y="33905"/>
                    <a:pt x="33855" y="33905"/>
                  </a:cubicBezTo>
                  <a:cubicBezTo>
                    <a:pt x="22694" y="33905"/>
                    <a:pt x="-11843" y="28008"/>
                    <a:pt x="4162" y="28008"/>
                  </a:cubicBezTo>
                  <a:cubicBezTo>
                    <a:pt x="19956" y="28008"/>
                    <a:pt x="35329" y="25060"/>
                    <a:pt x="28590" y="25060"/>
                  </a:cubicBezTo>
                  <a:cubicBezTo>
                    <a:pt x="35329" y="25060"/>
                    <a:pt x="54493" y="19374"/>
                    <a:pt x="46280" y="19374"/>
                  </a:cubicBezTo>
                  <a:cubicBezTo>
                    <a:pt x="53861" y="19585"/>
                    <a:pt x="53861" y="3369"/>
                    <a:pt x="67339" y="336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7" name="Forme libre : forme 111">
              <a:extLst>
                <a:ext uri="{FF2B5EF4-FFF2-40B4-BE49-F238E27FC236}">
                  <a16:creationId xmlns:a16="http://schemas.microsoft.com/office/drawing/2014/main" id="{E6E924C3-EACC-49B6-ADBD-0D1E2EEF3C34}"/>
                </a:ext>
              </a:extLst>
            </p:cNvPr>
            <p:cNvSpPr/>
            <p:nvPr/>
          </p:nvSpPr>
          <p:spPr>
            <a:xfrm>
              <a:off x="5099281" y="1929805"/>
              <a:ext cx="36600" cy="13898"/>
            </a:xfrm>
            <a:custGeom>
              <a:avLst/>
              <a:gdLst>
                <a:gd name="connsiteX0" fmla="*/ 27377 w 36600"/>
                <a:gd name="connsiteY0" fmla="*/ 0 h 13898"/>
                <a:gd name="connsiteX1" fmla="*/ 0 w 36600"/>
                <a:gd name="connsiteY1" fmla="*/ 8213 h 13898"/>
                <a:gd name="connsiteX2" fmla="*/ 8213 w 36600"/>
                <a:gd name="connsiteY2" fmla="*/ 13899 h 13898"/>
                <a:gd name="connsiteX3" fmla="*/ 30325 w 36600"/>
                <a:gd name="connsiteY3" fmla="*/ 7160 h 13898"/>
                <a:gd name="connsiteX4" fmla="*/ 27377 w 36600"/>
                <a:gd name="connsiteY4" fmla="*/ 0 h 1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600" h="13898">
                  <a:moveTo>
                    <a:pt x="27377" y="0"/>
                  </a:moveTo>
                  <a:cubicBezTo>
                    <a:pt x="16215" y="0"/>
                    <a:pt x="3791" y="8213"/>
                    <a:pt x="0" y="8213"/>
                  </a:cubicBezTo>
                  <a:cubicBezTo>
                    <a:pt x="3370" y="8213"/>
                    <a:pt x="421" y="13899"/>
                    <a:pt x="8213" y="13899"/>
                  </a:cubicBezTo>
                  <a:cubicBezTo>
                    <a:pt x="15373" y="13899"/>
                    <a:pt x="21691" y="7160"/>
                    <a:pt x="30325" y="7160"/>
                  </a:cubicBezTo>
                  <a:cubicBezTo>
                    <a:pt x="39801" y="7160"/>
                    <a:pt x="38327" y="0"/>
                    <a:pt x="27377"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8" name="Forme libre : forme 112">
              <a:extLst>
                <a:ext uri="{FF2B5EF4-FFF2-40B4-BE49-F238E27FC236}">
                  <a16:creationId xmlns:a16="http://schemas.microsoft.com/office/drawing/2014/main" id="{5067FE8F-E679-44A0-95BD-89A0ABEA7BA0}"/>
                </a:ext>
              </a:extLst>
            </p:cNvPr>
            <p:cNvSpPr/>
            <p:nvPr/>
          </p:nvSpPr>
          <p:spPr>
            <a:xfrm>
              <a:off x="5233637" y="1906640"/>
              <a:ext cx="29135" cy="8637"/>
            </a:xfrm>
            <a:custGeom>
              <a:avLst/>
              <a:gdLst>
                <a:gd name="connsiteX0" fmla="*/ 27377 w 29135"/>
                <a:gd name="connsiteY0" fmla="*/ 0 h 8637"/>
                <a:gd name="connsiteX1" fmla="*/ 0 w 29135"/>
                <a:gd name="connsiteY1" fmla="*/ 6739 h 8637"/>
                <a:gd name="connsiteX2" fmla="*/ 12003 w 29135"/>
                <a:gd name="connsiteY2" fmla="*/ 8634 h 8637"/>
                <a:gd name="connsiteX3" fmla="*/ 27377 w 29135"/>
                <a:gd name="connsiteY3" fmla="*/ 0 h 8637"/>
              </a:gdLst>
              <a:ahLst/>
              <a:cxnLst>
                <a:cxn ang="0">
                  <a:pos x="connsiteX0" y="connsiteY0"/>
                </a:cxn>
                <a:cxn ang="0">
                  <a:pos x="connsiteX1" y="connsiteY1"/>
                </a:cxn>
                <a:cxn ang="0">
                  <a:pos x="connsiteX2" y="connsiteY2"/>
                </a:cxn>
                <a:cxn ang="0">
                  <a:pos x="connsiteX3" y="connsiteY3"/>
                </a:cxn>
              </a:cxnLst>
              <a:rect l="l" t="t" r="r" b="b"/>
              <a:pathLst>
                <a:path w="29135" h="8637">
                  <a:moveTo>
                    <a:pt x="27377" y="0"/>
                  </a:moveTo>
                  <a:cubicBezTo>
                    <a:pt x="32641" y="0"/>
                    <a:pt x="2316" y="6739"/>
                    <a:pt x="0" y="6739"/>
                  </a:cubicBezTo>
                  <a:cubicBezTo>
                    <a:pt x="2316" y="6739"/>
                    <a:pt x="1895" y="8634"/>
                    <a:pt x="12003" y="8634"/>
                  </a:cubicBezTo>
                  <a:cubicBezTo>
                    <a:pt x="21691" y="8845"/>
                    <a:pt x="33694" y="0"/>
                    <a:pt x="27377"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29" name="Forme libre : forme 113">
              <a:extLst>
                <a:ext uri="{FF2B5EF4-FFF2-40B4-BE49-F238E27FC236}">
                  <a16:creationId xmlns:a16="http://schemas.microsoft.com/office/drawing/2014/main" id="{22D6996C-1D1A-4079-8973-8D8A7AA31949}"/>
                </a:ext>
              </a:extLst>
            </p:cNvPr>
            <p:cNvSpPr/>
            <p:nvPr/>
          </p:nvSpPr>
          <p:spPr>
            <a:xfrm>
              <a:off x="4965866" y="1995719"/>
              <a:ext cx="186350" cy="83182"/>
            </a:xfrm>
            <a:custGeom>
              <a:avLst/>
              <a:gdLst>
                <a:gd name="connsiteX0" fmla="*/ 177639 w 186350"/>
                <a:gd name="connsiteY0" fmla="*/ 7160 h 83182"/>
                <a:gd name="connsiteX1" fmla="*/ 163319 w 186350"/>
                <a:gd name="connsiteY1" fmla="*/ 0 h 83182"/>
                <a:gd name="connsiteX2" fmla="*/ 139312 w 186350"/>
                <a:gd name="connsiteY2" fmla="*/ 421 h 83182"/>
                <a:gd name="connsiteX3" fmla="*/ 112357 w 186350"/>
                <a:gd name="connsiteY3" fmla="*/ 0 h 83182"/>
                <a:gd name="connsiteX4" fmla="*/ 76767 w 186350"/>
                <a:gd name="connsiteY4" fmla="*/ 9687 h 83182"/>
                <a:gd name="connsiteX5" fmla="*/ 78241 w 186350"/>
                <a:gd name="connsiteY5" fmla="*/ 17479 h 83182"/>
                <a:gd name="connsiteX6" fmla="*/ 71924 w 186350"/>
                <a:gd name="connsiteY6" fmla="*/ 23165 h 83182"/>
                <a:gd name="connsiteX7" fmla="*/ 30227 w 186350"/>
                <a:gd name="connsiteY7" fmla="*/ 24007 h 83182"/>
                <a:gd name="connsiteX8" fmla="*/ 18645 w 186350"/>
                <a:gd name="connsiteY8" fmla="*/ 32641 h 83182"/>
                <a:gd name="connsiteX9" fmla="*/ 34017 w 186350"/>
                <a:gd name="connsiteY9" fmla="*/ 36432 h 83182"/>
                <a:gd name="connsiteX10" fmla="*/ 20118 w 186350"/>
                <a:gd name="connsiteY10" fmla="*/ 44224 h 83182"/>
                <a:gd name="connsiteX11" fmla="*/ 48969 w 186350"/>
                <a:gd name="connsiteY11" fmla="*/ 48436 h 83182"/>
                <a:gd name="connsiteX12" fmla="*/ 28753 w 186350"/>
                <a:gd name="connsiteY12" fmla="*/ 60439 h 83182"/>
                <a:gd name="connsiteX13" fmla="*/ 14854 w 186350"/>
                <a:gd name="connsiteY13" fmla="*/ 70126 h 83182"/>
                <a:gd name="connsiteX14" fmla="*/ 1797 w 186350"/>
                <a:gd name="connsiteY14" fmla="*/ 73496 h 83182"/>
                <a:gd name="connsiteX15" fmla="*/ 28331 w 186350"/>
                <a:gd name="connsiteY15" fmla="*/ 83183 h 83182"/>
                <a:gd name="connsiteX16" fmla="*/ 75925 w 186350"/>
                <a:gd name="connsiteY16" fmla="*/ 78339 h 83182"/>
                <a:gd name="connsiteX17" fmla="*/ 105618 w 186350"/>
                <a:gd name="connsiteY17" fmla="*/ 67810 h 83182"/>
                <a:gd name="connsiteX18" fmla="*/ 128572 w 186350"/>
                <a:gd name="connsiteY18" fmla="*/ 65914 h 83182"/>
                <a:gd name="connsiteX19" fmla="*/ 155527 w 186350"/>
                <a:gd name="connsiteY19" fmla="*/ 56227 h 83182"/>
                <a:gd name="connsiteX20" fmla="*/ 161213 w 186350"/>
                <a:gd name="connsiteY20" fmla="*/ 37906 h 83182"/>
                <a:gd name="connsiteX21" fmla="*/ 156370 w 186350"/>
                <a:gd name="connsiteY21" fmla="*/ 25481 h 83182"/>
                <a:gd name="connsiteX22" fmla="*/ 180377 w 186350"/>
                <a:gd name="connsiteY22" fmla="*/ 17268 h 83182"/>
                <a:gd name="connsiteX23" fmla="*/ 177639 w 186350"/>
                <a:gd name="connsiteY23" fmla="*/ 7160 h 83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86350" h="83182">
                  <a:moveTo>
                    <a:pt x="177639" y="7160"/>
                  </a:moveTo>
                  <a:cubicBezTo>
                    <a:pt x="167531" y="7160"/>
                    <a:pt x="168584" y="0"/>
                    <a:pt x="163319" y="0"/>
                  </a:cubicBezTo>
                  <a:cubicBezTo>
                    <a:pt x="168584" y="0"/>
                    <a:pt x="147525" y="421"/>
                    <a:pt x="139312" y="421"/>
                  </a:cubicBezTo>
                  <a:cubicBezTo>
                    <a:pt x="130678" y="421"/>
                    <a:pt x="123097" y="0"/>
                    <a:pt x="112357" y="0"/>
                  </a:cubicBezTo>
                  <a:cubicBezTo>
                    <a:pt x="102670" y="0"/>
                    <a:pt x="83927" y="9687"/>
                    <a:pt x="76767" y="9687"/>
                  </a:cubicBezTo>
                  <a:cubicBezTo>
                    <a:pt x="83506" y="9687"/>
                    <a:pt x="82453" y="17479"/>
                    <a:pt x="78241" y="17479"/>
                  </a:cubicBezTo>
                  <a:cubicBezTo>
                    <a:pt x="82453" y="17479"/>
                    <a:pt x="77820" y="23165"/>
                    <a:pt x="71924" y="23165"/>
                  </a:cubicBezTo>
                  <a:cubicBezTo>
                    <a:pt x="77188" y="23165"/>
                    <a:pt x="35913" y="24007"/>
                    <a:pt x="30227" y="24007"/>
                  </a:cubicBezTo>
                  <a:cubicBezTo>
                    <a:pt x="35913" y="24007"/>
                    <a:pt x="12959" y="38327"/>
                    <a:pt x="18645" y="32641"/>
                  </a:cubicBezTo>
                  <a:cubicBezTo>
                    <a:pt x="26857" y="32641"/>
                    <a:pt x="42230" y="36432"/>
                    <a:pt x="34017" y="36432"/>
                  </a:cubicBezTo>
                  <a:cubicBezTo>
                    <a:pt x="24962" y="36432"/>
                    <a:pt x="4324" y="44224"/>
                    <a:pt x="20118" y="44224"/>
                  </a:cubicBezTo>
                  <a:cubicBezTo>
                    <a:pt x="35070" y="44224"/>
                    <a:pt x="52760" y="48436"/>
                    <a:pt x="48969" y="48436"/>
                  </a:cubicBezTo>
                  <a:cubicBezTo>
                    <a:pt x="52339" y="48436"/>
                    <a:pt x="36545" y="60439"/>
                    <a:pt x="28753" y="60439"/>
                  </a:cubicBezTo>
                  <a:cubicBezTo>
                    <a:pt x="36966" y="60439"/>
                    <a:pt x="21171" y="70126"/>
                    <a:pt x="14854" y="70126"/>
                  </a:cubicBezTo>
                  <a:cubicBezTo>
                    <a:pt x="21171" y="70126"/>
                    <a:pt x="-7258" y="73496"/>
                    <a:pt x="1797" y="73496"/>
                  </a:cubicBezTo>
                  <a:cubicBezTo>
                    <a:pt x="10432" y="73496"/>
                    <a:pt x="17170" y="83183"/>
                    <a:pt x="28331" y="83183"/>
                  </a:cubicBezTo>
                  <a:cubicBezTo>
                    <a:pt x="39914" y="83183"/>
                    <a:pt x="67291" y="78339"/>
                    <a:pt x="75925" y="78339"/>
                  </a:cubicBezTo>
                  <a:cubicBezTo>
                    <a:pt x="84559" y="78339"/>
                    <a:pt x="98037" y="67810"/>
                    <a:pt x="105618" y="67810"/>
                  </a:cubicBezTo>
                  <a:cubicBezTo>
                    <a:pt x="113199" y="67810"/>
                    <a:pt x="119096" y="65914"/>
                    <a:pt x="128572" y="65914"/>
                  </a:cubicBezTo>
                  <a:cubicBezTo>
                    <a:pt x="138680" y="65914"/>
                    <a:pt x="161634" y="56227"/>
                    <a:pt x="155527" y="56227"/>
                  </a:cubicBezTo>
                  <a:cubicBezTo>
                    <a:pt x="158265" y="49910"/>
                    <a:pt x="165636" y="37906"/>
                    <a:pt x="161213" y="37906"/>
                  </a:cubicBezTo>
                  <a:cubicBezTo>
                    <a:pt x="165004" y="37906"/>
                    <a:pt x="146893" y="25481"/>
                    <a:pt x="156370" y="25481"/>
                  </a:cubicBezTo>
                  <a:cubicBezTo>
                    <a:pt x="160792" y="17268"/>
                    <a:pt x="171322" y="17268"/>
                    <a:pt x="180377" y="17268"/>
                  </a:cubicBezTo>
                  <a:cubicBezTo>
                    <a:pt x="190064" y="17268"/>
                    <a:pt x="187116" y="7160"/>
                    <a:pt x="177639" y="716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0" name="Forme libre : forme 114">
              <a:extLst>
                <a:ext uri="{FF2B5EF4-FFF2-40B4-BE49-F238E27FC236}">
                  <a16:creationId xmlns:a16="http://schemas.microsoft.com/office/drawing/2014/main" id="{E8F48301-7673-4F71-8C68-7BB46751FDE2}"/>
                </a:ext>
              </a:extLst>
            </p:cNvPr>
            <p:cNvSpPr/>
            <p:nvPr/>
          </p:nvSpPr>
          <p:spPr>
            <a:xfrm>
              <a:off x="5986283" y="1524000"/>
              <a:ext cx="293581" cy="21058"/>
            </a:xfrm>
            <a:custGeom>
              <a:avLst/>
              <a:gdLst>
                <a:gd name="connsiteX0" fmla="*/ 283242 w 293581"/>
                <a:gd name="connsiteY0" fmla="*/ 8213 h 21058"/>
                <a:gd name="connsiteX1" fmla="*/ 220908 w 293581"/>
                <a:gd name="connsiteY1" fmla="*/ 4844 h 21058"/>
                <a:gd name="connsiteX2" fmla="*/ 171841 w 293581"/>
                <a:gd name="connsiteY2" fmla="*/ 4844 h 21058"/>
                <a:gd name="connsiteX3" fmla="*/ 148254 w 293581"/>
                <a:gd name="connsiteY3" fmla="*/ 1895 h 21058"/>
                <a:gd name="connsiteX4" fmla="*/ 127195 w 293581"/>
                <a:gd name="connsiteY4" fmla="*/ 5686 h 21058"/>
                <a:gd name="connsiteX5" fmla="*/ 77707 w 293581"/>
                <a:gd name="connsiteY5" fmla="*/ 4212 h 21058"/>
                <a:gd name="connsiteX6" fmla="*/ 46961 w 293581"/>
                <a:gd name="connsiteY6" fmla="*/ 0 h 21058"/>
                <a:gd name="connsiteX7" fmla="*/ 29272 w 293581"/>
                <a:gd name="connsiteY7" fmla="*/ 5686 h 21058"/>
                <a:gd name="connsiteX8" fmla="*/ 0 w 293581"/>
                <a:gd name="connsiteY8" fmla="*/ 6739 h 21058"/>
                <a:gd name="connsiteX9" fmla="*/ 39801 w 293581"/>
                <a:gd name="connsiteY9" fmla="*/ 13057 h 21058"/>
                <a:gd name="connsiteX10" fmla="*/ 89290 w 293581"/>
                <a:gd name="connsiteY10" fmla="*/ 12004 h 21058"/>
                <a:gd name="connsiteX11" fmla="*/ 58122 w 293581"/>
                <a:gd name="connsiteY11" fmla="*/ 15794 h 21058"/>
                <a:gd name="connsiteX12" fmla="*/ 107611 w 293581"/>
                <a:gd name="connsiteY12" fmla="*/ 19164 h 21058"/>
                <a:gd name="connsiteX13" fmla="*/ 148044 w 293581"/>
                <a:gd name="connsiteY13" fmla="*/ 18742 h 21058"/>
                <a:gd name="connsiteX14" fmla="*/ 180264 w 293581"/>
                <a:gd name="connsiteY14" fmla="*/ 21059 h 21058"/>
                <a:gd name="connsiteX15" fmla="*/ 242178 w 293581"/>
                <a:gd name="connsiteY15" fmla="*/ 17689 h 21058"/>
                <a:gd name="connsiteX16" fmla="*/ 266184 w 293581"/>
                <a:gd name="connsiteY16" fmla="*/ 14320 h 21058"/>
                <a:gd name="connsiteX17" fmla="*/ 283242 w 293581"/>
                <a:gd name="connsiteY17" fmla="*/ 8213 h 21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3581" h="21058">
                  <a:moveTo>
                    <a:pt x="283242" y="8213"/>
                  </a:moveTo>
                  <a:cubicBezTo>
                    <a:pt x="270817" y="8213"/>
                    <a:pt x="235228" y="4844"/>
                    <a:pt x="220908" y="4844"/>
                  </a:cubicBezTo>
                  <a:cubicBezTo>
                    <a:pt x="207430" y="4844"/>
                    <a:pt x="184897" y="4844"/>
                    <a:pt x="171841" y="4844"/>
                  </a:cubicBezTo>
                  <a:cubicBezTo>
                    <a:pt x="158363" y="4844"/>
                    <a:pt x="158784" y="1895"/>
                    <a:pt x="148254" y="1895"/>
                  </a:cubicBezTo>
                  <a:cubicBezTo>
                    <a:pt x="137304" y="1895"/>
                    <a:pt x="133303" y="5686"/>
                    <a:pt x="127195" y="5686"/>
                  </a:cubicBezTo>
                  <a:cubicBezTo>
                    <a:pt x="120035" y="5686"/>
                    <a:pt x="84025" y="4212"/>
                    <a:pt x="77707" y="4212"/>
                  </a:cubicBezTo>
                  <a:cubicBezTo>
                    <a:pt x="70547" y="4212"/>
                    <a:pt x="61492" y="0"/>
                    <a:pt x="46961" y="0"/>
                  </a:cubicBezTo>
                  <a:cubicBezTo>
                    <a:pt x="32430" y="0"/>
                    <a:pt x="40223" y="5686"/>
                    <a:pt x="29272" y="5686"/>
                  </a:cubicBezTo>
                  <a:cubicBezTo>
                    <a:pt x="18110" y="5686"/>
                    <a:pt x="6107" y="6739"/>
                    <a:pt x="0" y="6739"/>
                  </a:cubicBezTo>
                  <a:cubicBezTo>
                    <a:pt x="5686" y="6739"/>
                    <a:pt x="23586" y="13057"/>
                    <a:pt x="39801" y="13057"/>
                  </a:cubicBezTo>
                  <a:cubicBezTo>
                    <a:pt x="57069" y="13057"/>
                    <a:pt x="92659" y="12004"/>
                    <a:pt x="89290" y="12004"/>
                  </a:cubicBezTo>
                  <a:cubicBezTo>
                    <a:pt x="93080" y="12004"/>
                    <a:pt x="60439" y="15794"/>
                    <a:pt x="58122" y="15794"/>
                  </a:cubicBezTo>
                  <a:cubicBezTo>
                    <a:pt x="60439" y="15794"/>
                    <a:pt x="91185" y="19164"/>
                    <a:pt x="107611" y="19164"/>
                  </a:cubicBezTo>
                  <a:cubicBezTo>
                    <a:pt x="123405" y="19164"/>
                    <a:pt x="152677" y="18742"/>
                    <a:pt x="148044" y="18742"/>
                  </a:cubicBezTo>
                  <a:cubicBezTo>
                    <a:pt x="152256" y="18742"/>
                    <a:pt x="165734" y="21059"/>
                    <a:pt x="180264" y="21059"/>
                  </a:cubicBezTo>
                  <a:cubicBezTo>
                    <a:pt x="194584" y="21059"/>
                    <a:pt x="229331" y="17689"/>
                    <a:pt x="242178" y="17689"/>
                  </a:cubicBezTo>
                  <a:cubicBezTo>
                    <a:pt x="254181" y="17689"/>
                    <a:pt x="256497" y="14320"/>
                    <a:pt x="266184" y="14320"/>
                  </a:cubicBezTo>
                  <a:cubicBezTo>
                    <a:pt x="276082" y="14320"/>
                    <a:pt x="310619" y="8213"/>
                    <a:pt x="283242" y="821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1" name="Forme libre : forme 115">
              <a:extLst>
                <a:ext uri="{FF2B5EF4-FFF2-40B4-BE49-F238E27FC236}">
                  <a16:creationId xmlns:a16="http://schemas.microsoft.com/office/drawing/2014/main" id="{BF61C92B-ECAA-48E9-B9D8-B9DD7A4E5F75}"/>
                </a:ext>
              </a:extLst>
            </p:cNvPr>
            <p:cNvSpPr/>
            <p:nvPr/>
          </p:nvSpPr>
          <p:spPr>
            <a:xfrm>
              <a:off x="5744311" y="1531791"/>
              <a:ext cx="438506" cy="52436"/>
            </a:xfrm>
            <a:custGeom>
              <a:avLst/>
              <a:gdLst>
                <a:gd name="connsiteX0" fmla="*/ 222808 w 438506"/>
                <a:gd name="connsiteY0" fmla="*/ 2316 h 52436"/>
                <a:gd name="connsiteX1" fmla="*/ 185323 w 438506"/>
                <a:gd name="connsiteY1" fmla="*/ 0 h 52436"/>
                <a:gd name="connsiteX2" fmla="*/ 161737 w 438506"/>
                <a:gd name="connsiteY2" fmla="*/ 2316 h 52436"/>
                <a:gd name="connsiteX3" fmla="*/ 175636 w 438506"/>
                <a:gd name="connsiteY3" fmla="*/ 13267 h 52436"/>
                <a:gd name="connsiteX4" fmla="*/ 165107 w 438506"/>
                <a:gd name="connsiteY4" fmla="*/ 15162 h 52436"/>
                <a:gd name="connsiteX5" fmla="*/ 132044 w 438506"/>
                <a:gd name="connsiteY5" fmla="*/ 4633 h 52436"/>
                <a:gd name="connsiteX6" fmla="*/ 106563 w 438506"/>
                <a:gd name="connsiteY6" fmla="*/ 6528 h 52436"/>
                <a:gd name="connsiteX7" fmla="*/ 75817 w 438506"/>
                <a:gd name="connsiteY7" fmla="*/ 8002 h 52436"/>
                <a:gd name="connsiteX8" fmla="*/ 106563 w 438506"/>
                <a:gd name="connsiteY8" fmla="*/ 4212 h 52436"/>
                <a:gd name="connsiteX9" fmla="*/ 50336 w 438506"/>
                <a:gd name="connsiteY9" fmla="*/ 3159 h 52436"/>
                <a:gd name="connsiteX10" fmla="*/ 6112 w 438506"/>
                <a:gd name="connsiteY10" fmla="*/ 6107 h 52436"/>
                <a:gd name="connsiteX11" fmla="*/ 4637 w 438506"/>
                <a:gd name="connsiteY11" fmla="*/ 11372 h 52436"/>
                <a:gd name="connsiteX12" fmla="*/ 24854 w 438506"/>
                <a:gd name="connsiteY12" fmla="*/ 17479 h 52436"/>
                <a:gd name="connsiteX13" fmla="*/ 46966 w 438506"/>
                <a:gd name="connsiteY13" fmla="*/ 23797 h 52436"/>
                <a:gd name="connsiteX14" fmla="*/ 79186 w 438506"/>
                <a:gd name="connsiteY14" fmla="*/ 27587 h 52436"/>
                <a:gd name="connsiteX15" fmla="*/ 107616 w 438506"/>
                <a:gd name="connsiteY15" fmla="*/ 26534 h 52436"/>
                <a:gd name="connsiteX16" fmla="*/ 138783 w 438506"/>
                <a:gd name="connsiteY16" fmla="*/ 20848 h 52436"/>
                <a:gd name="connsiteX17" fmla="*/ 162369 w 438506"/>
                <a:gd name="connsiteY17" fmla="*/ 23165 h 52436"/>
                <a:gd name="connsiteX18" fmla="*/ 188693 w 438506"/>
                <a:gd name="connsiteY18" fmla="*/ 23165 h 52436"/>
                <a:gd name="connsiteX19" fmla="*/ 173320 w 438506"/>
                <a:gd name="connsiteY19" fmla="*/ 26955 h 52436"/>
                <a:gd name="connsiteX20" fmla="*/ 135835 w 438506"/>
                <a:gd name="connsiteY20" fmla="*/ 28430 h 52436"/>
                <a:gd name="connsiteX21" fmla="*/ 104246 w 438506"/>
                <a:gd name="connsiteY21" fmla="*/ 30325 h 52436"/>
                <a:gd name="connsiteX22" fmla="*/ 98350 w 438506"/>
                <a:gd name="connsiteY22" fmla="*/ 34115 h 52436"/>
                <a:gd name="connsiteX23" fmla="*/ 127200 w 438506"/>
                <a:gd name="connsiteY23" fmla="*/ 33694 h 52436"/>
                <a:gd name="connsiteX24" fmla="*/ 162369 w 438506"/>
                <a:gd name="connsiteY24" fmla="*/ 32641 h 52436"/>
                <a:gd name="connsiteX25" fmla="*/ 165107 w 438506"/>
                <a:gd name="connsiteY25" fmla="*/ 37064 h 52436"/>
                <a:gd name="connsiteX26" fmla="*/ 118145 w 438506"/>
                <a:gd name="connsiteY26" fmla="*/ 38117 h 52436"/>
                <a:gd name="connsiteX27" fmla="*/ 100877 w 438506"/>
                <a:gd name="connsiteY27" fmla="*/ 39591 h 52436"/>
                <a:gd name="connsiteX28" fmla="*/ 131623 w 438506"/>
                <a:gd name="connsiteY28" fmla="*/ 45277 h 52436"/>
                <a:gd name="connsiteX29" fmla="*/ 163843 w 438506"/>
                <a:gd name="connsiteY29" fmla="*/ 47593 h 52436"/>
                <a:gd name="connsiteX30" fmla="*/ 196484 w 438506"/>
                <a:gd name="connsiteY30" fmla="*/ 52437 h 52436"/>
                <a:gd name="connsiteX31" fmla="*/ 218596 w 438506"/>
                <a:gd name="connsiteY31" fmla="*/ 41907 h 52436"/>
                <a:gd name="connsiteX32" fmla="*/ 244078 w 438506"/>
                <a:gd name="connsiteY32" fmla="*/ 37485 h 52436"/>
                <a:gd name="connsiteX33" fmla="*/ 252290 w 438506"/>
                <a:gd name="connsiteY33" fmla="*/ 31167 h 52436"/>
                <a:gd name="connsiteX34" fmla="*/ 271033 w 438506"/>
                <a:gd name="connsiteY34" fmla="*/ 27798 h 52436"/>
                <a:gd name="connsiteX35" fmla="*/ 285353 w 438506"/>
                <a:gd name="connsiteY35" fmla="*/ 22533 h 52436"/>
                <a:gd name="connsiteX36" fmla="*/ 312309 w 438506"/>
                <a:gd name="connsiteY36" fmla="*/ 22112 h 52436"/>
                <a:gd name="connsiteX37" fmla="*/ 331472 w 438506"/>
                <a:gd name="connsiteY37" fmla="*/ 26955 h 52436"/>
                <a:gd name="connsiteX38" fmla="*/ 348319 w 438506"/>
                <a:gd name="connsiteY38" fmla="*/ 31167 h 52436"/>
                <a:gd name="connsiteX39" fmla="*/ 328524 w 438506"/>
                <a:gd name="connsiteY39" fmla="*/ 38538 h 52436"/>
                <a:gd name="connsiteX40" fmla="*/ 370852 w 438506"/>
                <a:gd name="connsiteY40" fmla="*/ 37064 h 52436"/>
                <a:gd name="connsiteX41" fmla="*/ 391069 w 438506"/>
                <a:gd name="connsiteY41" fmla="*/ 36643 h 52436"/>
                <a:gd name="connsiteX42" fmla="*/ 404547 w 438506"/>
                <a:gd name="connsiteY42" fmla="*/ 43803 h 52436"/>
                <a:gd name="connsiteX43" fmla="*/ 431923 w 438506"/>
                <a:gd name="connsiteY43" fmla="*/ 35590 h 52436"/>
                <a:gd name="connsiteX44" fmla="*/ 428133 w 438506"/>
                <a:gd name="connsiteY44" fmla="*/ 30325 h 52436"/>
                <a:gd name="connsiteX45" fmla="*/ 403704 w 438506"/>
                <a:gd name="connsiteY45" fmla="*/ 28008 h 52436"/>
                <a:gd name="connsiteX46" fmla="*/ 384961 w 438506"/>
                <a:gd name="connsiteY46" fmla="*/ 25060 h 52436"/>
                <a:gd name="connsiteX47" fmla="*/ 367694 w 438506"/>
                <a:gd name="connsiteY47" fmla="*/ 23165 h 52436"/>
                <a:gd name="connsiteX48" fmla="*/ 352741 w 438506"/>
                <a:gd name="connsiteY48" fmla="*/ 20217 h 52436"/>
                <a:gd name="connsiteX49" fmla="*/ 347898 w 438506"/>
                <a:gd name="connsiteY49" fmla="*/ 16005 h 52436"/>
                <a:gd name="connsiteX50" fmla="*/ 322416 w 438506"/>
                <a:gd name="connsiteY50" fmla="*/ 14109 h 52436"/>
                <a:gd name="connsiteX51" fmla="*/ 302622 w 438506"/>
                <a:gd name="connsiteY51" fmla="*/ 13267 h 52436"/>
                <a:gd name="connsiteX52" fmla="*/ 267664 w 438506"/>
                <a:gd name="connsiteY52" fmla="*/ 13267 h 52436"/>
                <a:gd name="connsiteX53" fmla="*/ 252711 w 438506"/>
                <a:gd name="connsiteY53" fmla="*/ 6528 h 52436"/>
                <a:gd name="connsiteX54" fmla="*/ 224282 w 438506"/>
                <a:gd name="connsiteY54" fmla="*/ 9477 h 52436"/>
                <a:gd name="connsiteX55" fmla="*/ 231021 w 438506"/>
                <a:gd name="connsiteY55" fmla="*/ 5686 h 52436"/>
                <a:gd name="connsiteX56" fmla="*/ 222808 w 438506"/>
                <a:gd name="connsiteY56" fmla="*/ 2316 h 52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438506" h="52436">
                  <a:moveTo>
                    <a:pt x="222808" y="2316"/>
                  </a:moveTo>
                  <a:cubicBezTo>
                    <a:pt x="210383" y="2316"/>
                    <a:pt x="196274" y="0"/>
                    <a:pt x="185323" y="0"/>
                  </a:cubicBezTo>
                  <a:cubicBezTo>
                    <a:pt x="174794" y="0"/>
                    <a:pt x="163211" y="2316"/>
                    <a:pt x="161737" y="2316"/>
                  </a:cubicBezTo>
                  <a:cubicBezTo>
                    <a:pt x="163633" y="2316"/>
                    <a:pt x="180901" y="13267"/>
                    <a:pt x="175636" y="13267"/>
                  </a:cubicBezTo>
                  <a:cubicBezTo>
                    <a:pt x="181322" y="13267"/>
                    <a:pt x="173320" y="15162"/>
                    <a:pt x="165107" y="15162"/>
                  </a:cubicBezTo>
                  <a:cubicBezTo>
                    <a:pt x="156894" y="15162"/>
                    <a:pt x="144469" y="4633"/>
                    <a:pt x="132044" y="4633"/>
                  </a:cubicBezTo>
                  <a:cubicBezTo>
                    <a:pt x="119620" y="4633"/>
                    <a:pt x="121936" y="6528"/>
                    <a:pt x="106563" y="6528"/>
                  </a:cubicBezTo>
                  <a:cubicBezTo>
                    <a:pt x="91190" y="6528"/>
                    <a:pt x="66130" y="8002"/>
                    <a:pt x="75817" y="8002"/>
                  </a:cubicBezTo>
                  <a:cubicBezTo>
                    <a:pt x="85504" y="8002"/>
                    <a:pt x="112460" y="4212"/>
                    <a:pt x="106563" y="4212"/>
                  </a:cubicBezTo>
                  <a:cubicBezTo>
                    <a:pt x="111827" y="4212"/>
                    <a:pt x="59391" y="3159"/>
                    <a:pt x="50336" y="3159"/>
                  </a:cubicBezTo>
                  <a:cubicBezTo>
                    <a:pt x="42122" y="3159"/>
                    <a:pt x="15167" y="6107"/>
                    <a:pt x="6112" y="6107"/>
                  </a:cubicBezTo>
                  <a:cubicBezTo>
                    <a:pt x="-2943" y="6107"/>
                    <a:pt x="-627" y="421"/>
                    <a:pt x="4637" y="11372"/>
                  </a:cubicBezTo>
                  <a:cubicBezTo>
                    <a:pt x="16220" y="11372"/>
                    <a:pt x="17695" y="17479"/>
                    <a:pt x="24854" y="17479"/>
                  </a:cubicBezTo>
                  <a:cubicBezTo>
                    <a:pt x="31593" y="17479"/>
                    <a:pt x="36437" y="23797"/>
                    <a:pt x="46966" y="23797"/>
                  </a:cubicBezTo>
                  <a:cubicBezTo>
                    <a:pt x="57075" y="23797"/>
                    <a:pt x="69078" y="27587"/>
                    <a:pt x="79186" y="27587"/>
                  </a:cubicBezTo>
                  <a:cubicBezTo>
                    <a:pt x="89716" y="27587"/>
                    <a:pt x="113723" y="26534"/>
                    <a:pt x="107616" y="26534"/>
                  </a:cubicBezTo>
                  <a:cubicBezTo>
                    <a:pt x="114776" y="26534"/>
                    <a:pt x="127832" y="20848"/>
                    <a:pt x="138783" y="20848"/>
                  </a:cubicBezTo>
                  <a:cubicBezTo>
                    <a:pt x="149944" y="20848"/>
                    <a:pt x="153735" y="23165"/>
                    <a:pt x="162369" y="23165"/>
                  </a:cubicBezTo>
                  <a:cubicBezTo>
                    <a:pt x="171424" y="23165"/>
                    <a:pt x="194378" y="23165"/>
                    <a:pt x="188693" y="23165"/>
                  </a:cubicBezTo>
                  <a:cubicBezTo>
                    <a:pt x="193536" y="23165"/>
                    <a:pt x="188693" y="26955"/>
                    <a:pt x="173320" y="26955"/>
                  </a:cubicBezTo>
                  <a:cubicBezTo>
                    <a:pt x="157104" y="26955"/>
                    <a:pt x="148259" y="28430"/>
                    <a:pt x="135835" y="28430"/>
                  </a:cubicBezTo>
                  <a:cubicBezTo>
                    <a:pt x="123410" y="28430"/>
                    <a:pt x="111195" y="30325"/>
                    <a:pt x="104246" y="30325"/>
                  </a:cubicBezTo>
                  <a:cubicBezTo>
                    <a:pt x="97507" y="30325"/>
                    <a:pt x="88452" y="34115"/>
                    <a:pt x="98350" y="34115"/>
                  </a:cubicBezTo>
                  <a:cubicBezTo>
                    <a:pt x="108458" y="34115"/>
                    <a:pt x="117092" y="33694"/>
                    <a:pt x="127200" y="33694"/>
                  </a:cubicBezTo>
                  <a:cubicBezTo>
                    <a:pt x="137730" y="33694"/>
                    <a:pt x="154577" y="32641"/>
                    <a:pt x="162369" y="32641"/>
                  </a:cubicBezTo>
                  <a:cubicBezTo>
                    <a:pt x="169950" y="32641"/>
                    <a:pt x="169529" y="37064"/>
                    <a:pt x="165107" y="37064"/>
                  </a:cubicBezTo>
                  <a:cubicBezTo>
                    <a:pt x="168897" y="37064"/>
                    <a:pt x="123831" y="38117"/>
                    <a:pt x="118145" y="38117"/>
                  </a:cubicBezTo>
                  <a:cubicBezTo>
                    <a:pt x="123410" y="38117"/>
                    <a:pt x="103194" y="39591"/>
                    <a:pt x="100877" y="39591"/>
                  </a:cubicBezTo>
                  <a:cubicBezTo>
                    <a:pt x="102772" y="39591"/>
                    <a:pt x="121936" y="45277"/>
                    <a:pt x="131623" y="45277"/>
                  </a:cubicBezTo>
                  <a:cubicBezTo>
                    <a:pt x="141310" y="45277"/>
                    <a:pt x="156683" y="33694"/>
                    <a:pt x="163843" y="47593"/>
                  </a:cubicBezTo>
                  <a:cubicBezTo>
                    <a:pt x="178795" y="47593"/>
                    <a:pt x="186376" y="52437"/>
                    <a:pt x="196484" y="52437"/>
                  </a:cubicBezTo>
                  <a:cubicBezTo>
                    <a:pt x="206592" y="52437"/>
                    <a:pt x="209541" y="41907"/>
                    <a:pt x="218596" y="41907"/>
                  </a:cubicBezTo>
                  <a:cubicBezTo>
                    <a:pt x="227230" y="41907"/>
                    <a:pt x="236285" y="37485"/>
                    <a:pt x="244078" y="37485"/>
                  </a:cubicBezTo>
                  <a:cubicBezTo>
                    <a:pt x="251659" y="37485"/>
                    <a:pt x="257555" y="31167"/>
                    <a:pt x="252290" y="31167"/>
                  </a:cubicBezTo>
                  <a:cubicBezTo>
                    <a:pt x="257555" y="31167"/>
                    <a:pt x="276298" y="27798"/>
                    <a:pt x="271033" y="27798"/>
                  </a:cubicBezTo>
                  <a:cubicBezTo>
                    <a:pt x="275876" y="27798"/>
                    <a:pt x="276298" y="22533"/>
                    <a:pt x="285353" y="22533"/>
                  </a:cubicBezTo>
                  <a:cubicBezTo>
                    <a:pt x="294408" y="22533"/>
                    <a:pt x="303043" y="22112"/>
                    <a:pt x="312309" y="22112"/>
                  </a:cubicBezTo>
                  <a:cubicBezTo>
                    <a:pt x="321574" y="22112"/>
                    <a:pt x="333367" y="26955"/>
                    <a:pt x="331472" y="26955"/>
                  </a:cubicBezTo>
                  <a:cubicBezTo>
                    <a:pt x="333367" y="26955"/>
                    <a:pt x="352110" y="31167"/>
                    <a:pt x="348319" y="31167"/>
                  </a:cubicBezTo>
                  <a:cubicBezTo>
                    <a:pt x="352531" y="31167"/>
                    <a:pt x="319048" y="38538"/>
                    <a:pt x="328524" y="38538"/>
                  </a:cubicBezTo>
                  <a:cubicBezTo>
                    <a:pt x="337790" y="38538"/>
                    <a:pt x="363061" y="37064"/>
                    <a:pt x="370852" y="37064"/>
                  </a:cubicBezTo>
                  <a:cubicBezTo>
                    <a:pt x="379065" y="37064"/>
                    <a:pt x="394438" y="36643"/>
                    <a:pt x="391069" y="36643"/>
                  </a:cubicBezTo>
                  <a:cubicBezTo>
                    <a:pt x="394438" y="36643"/>
                    <a:pt x="394859" y="43803"/>
                    <a:pt x="404547" y="43803"/>
                  </a:cubicBezTo>
                  <a:cubicBezTo>
                    <a:pt x="415076" y="43803"/>
                    <a:pt x="420973" y="35590"/>
                    <a:pt x="431923" y="35590"/>
                  </a:cubicBezTo>
                  <a:cubicBezTo>
                    <a:pt x="443927" y="35590"/>
                    <a:pt x="437609" y="30325"/>
                    <a:pt x="428133" y="30325"/>
                  </a:cubicBezTo>
                  <a:cubicBezTo>
                    <a:pt x="418446" y="30325"/>
                    <a:pt x="406863" y="28008"/>
                    <a:pt x="403704" y="28008"/>
                  </a:cubicBezTo>
                  <a:cubicBezTo>
                    <a:pt x="407074" y="28008"/>
                    <a:pt x="390648" y="25060"/>
                    <a:pt x="384961" y="25060"/>
                  </a:cubicBezTo>
                  <a:cubicBezTo>
                    <a:pt x="391700" y="25060"/>
                    <a:pt x="371484" y="23165"/>
                    <a:pt x="367694" y="23165"/>
                  </a:cubicBezTo>
                  <a:cubicBezTo>
                    <a:pt x="372116" y="23165"/>
                    <a:pt x="362007" y="20217"/>
                    <a:pt x="352741" y="20217"/>
                  </a:cubicBezTo>
                  <a:cubicBezTo>
                    <a:pt x="344108" y="20217"/>
                    <a:pt x="357585" y="16005"/>
                    <a:pt x="347898" y="16005"/>
                  </a:cubicBezTo>
                  <a:cubicBezTo>
                    <a:pt x="337790" y="16005"/>
                    <a:pt x="332946" y="14109"/>
                    <a:pt x="322416" y="14109"/>
                  </a:cubicBezTo>
                  <a:cubicBezTo>
                    <a:pt x="312309" y="14109"/>
                    <a:pt x="309992" y="13267"/>
                    <a:pt x="302622" y="13267"/>
                  </a:cubicBezTo>
                  <a:cubicBezTo>
                    <a:pt x="295461" y="13267"/>
                    <a:pt x="274192" y="13267"/>
                    <a:pt x="267664" y="13267"/>
                  </a:cubicBezTo>
                  <a:cubicBezTo>
                    <a:pt x="259872" y="13267"/>
                    <a:pt x="262399" y="6528"/>
                    <a:pt x="252711" y="6528"/>
                  </a:cubicBezTo>
                  <a:cubicBezTo>
                    <a:pt x="243025" y="6528"/>
                    <a:pt x="231232" y="9477"/>
                    <a:pt x="224282" y="9477"/>
                  </a:cubicBezTo>
                  <a:cubicBezTo>
                    <a:pt x="229968" y="9477"/>
                    <a:pt x="232495" y="5686"/>
                    <a:pt x="231021" y="5686"/>
                  </a:cubicBezTo>
                  <a:cubicBezTo>
                    <a:pt x="232284" y="5686"/>
                    <a:pt x="225546" y="2316"/>
                    <a:pt x="222808" y="231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2" name="Forme libre : forme 116">
              <a:extLst>
                <a:ext uri="{FF2B5EF4-FFF2-40B4-BE49-F238E27FC236}">
                  <a16:creationId xmlns:a16="http://schemas.microsoft.com/office/drawing/2014/main" id="{2F7F33AE-0237-4D94-A402-D6440EA74E12}"/>
                </a:ext>
              </a:extLst>
            </p:cNvPr>
            <p:cNvSpPr/>
            <p:nvPr/>
          </p:nvSpPr>
          <p:spPr>
            <a:xfrm>
              <a:off x="6119585" y="1893373"/>
              <a:ext cx="32648" cy="5896"/>
            </a:xfrm>
            <a:custGeom>
              <a:avLst/>
              <a:gdLst>
                <a:gd name="connsiteX0" fmla="*/ 23165 w 32648"/>
                <a:gd name="connsiteY0" fmla="*/ 0 h 5896"/>
                <a:gd name="connsiteX1" fmla="*/ 9687 w 32648"/>
                <a:gd name="connsiteY1" fmla="*/ 421 h 5896"/>
                <a:gd name="connsiteX2" fmla="*/ 0 w 32648"/>
                <a:gd name="connsiteY2" fmla="*/ 1895 h 5896"/>
                <a:gd name="connsiteX3" fmla="*/ 13056 w 32648"/>
                <a:gd name="connsiteY3" fmla="*/ 4844 h 5896"/>
                <a:gd name="connsiteX4" fmla="*/ 22744 w 32648"/>
                <a:gd name="connsiteY4" fmla="*/ 5896 h 5896"/>
                <a:gd name="connsiteX5" fmla="*/ 31378 w 32648"/>
                <a:gd name="connsiteY5" fmla="*/ 3580 h 5896"/>
                <a:gd name="connsiteX6" fmla="*/ 23165 w 32648"/>
                <a:gd name="connsiteY6" fmla="*/ 0 h 5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48" h="5896">
                  <a:moveTo>
                    <a:pt x="23165" y="0"/>
                  </a:moveTo>
                  <a:cubicBezTo>
                    <a:pt x="26955" y="0"/>
                    <a:pt x="13056" y="421"/>
                    <a:pt x="9687" y="421"/>
                  </a:cubicBezTo>
                  <a:cubicBezTo>
                    <a:pt x="13056" y="421"/>
                    <a:pt x="4422" y="1895"/>
                    <a:pt x="0" y="1895"/>
                  </a:cubicBezTo>
                  <a:cubicBezTo>
                    <a:pt x="4212" y="1895"/>
                    <a:pt x="16216" y="4844"/>
                    <a:pt x="13056" y="4844"/>
                  </a:cubicBezTo>
                  <a:cubicBezTo>
                    <a:pt x="16426" y="4844"/>
                    <a:pt x="27377" y="5896"/>
                    <a:pt x="22744" y="5896"/>
                  </a:cubicBezTo>
                  <a:cubicBezTo>
                    <a:pt x="28009" y="5896"/>
                    <a:pt x="34747" y="3580"/>
                    <a:pt x="31378" y="3580"/>
                  </a:cubicBezTo>
                  <a:cubicBezTo>
                    <a:pt x="35169" y="3369"/>
                    <a:pt x="29904" y="0"/>
                    <a:pt x="2316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3" name="Forme libre : forme 117">
              <a:extLst>
                <a:ext uri="{FF2B5EF4-FFF2-40B4-BE49-F238E27FC236}">
                  <a16:creationId xmlns:a16="http://schemas.microsoft.com/office/drawing/2014/main" id="{E706D995-8B9E-4ED1-98BB-57D607DBE242}"/>
                </a:ext>
              </a:extLst>
            </p:cNvPr>
            <p:cNvSpPr/>
            <p:nvPr/>
          </p:nvSpPr>
          <p:spPr>
            <a:xfrm>
              <a:off x="5979333" y="1914432"/>
              <a:ext cx="41617" cy="18321"/>
            </a:xfrm>
            <a:custGeom>
              <a:avLst/>
              <a:gdLst>
                <a:gd name="connsiteX0" fmla="*/ 39591 w 41617"/>
                <a:gd name="connsiteY0" fmla="*/ 0 h 18321"/>
                <a:gd name="connsiteX1" fmla="*/ 14952 w 41617"/>
                <a:gd name="connsiteY1" fmla="*/ 842 h 18321"/>
                <a:gd name="connsiteX2" fmla="*/ 2949 w 41617"/>
                <a:gd name="connsiteY2" fmla="*/ 7581 h 18321"/>
                <a:gd name="connsiteX3" fmla="*/ 0 w 41617"/>
                <a:gd name="connsiteY3" fmla="*/ 17268 h 18321"/>
                <a:gd name="connsiteX4" fmla="*/ 8213 w 41617"/>
                <a:gd name="connsiteY4" fmla="*/ 18321 h 18321"/>
                <a:gd name="connsiteX5" fmla="*/ 20638 w 41617"/>
                <a:gd name="connsiteY5" fmla="*/ 12004 h 18321"/>
                <a:gd name="connsiteX6" fmla="*/ 29693 w 41617"/>
                <a:gd name="connsiteY6" fmla="*/ 9055 h 18321"/>
                <a:gd name="connsiteX7" fmla="*/ 30115 w 41617"/>
                <a:gd name="connsiteY7" fmla="*/ 4212 h 18321"/>
                <a:gd name="connsiteX8" fmla="*/ 39591 w 41617"/>
                <a:gd name="connsiteY8" fmla="*/ 0 h 18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617" h="18321">
                  <a:moveTo>
                    <a:pt x="39591" y="0"/>
                  </a:moveTo>
                  <a:cubicBezTo>
                    <a:pt x="43803" y="0"/>
                    <a:pt x="20849" y="842"/>
                    <a:pt x="14952" y="842"/>
                  </a:cubicBezTo>
                  <a:cubicBezTo>
                    <a:pt x="20217" y="842"/>
                    <a:pt x="6739" y="7581"/>
                    <a:pt x="2949" y="7581"/>
                  </a:cubicBezTo>
                  <a:cubicBezTo>
                    <a:pt x="7160" y="7581"/>
                    <a:pt x="2949" y="17268"/>
                    <a:pt x="0" y="17268"/>
                  </a:cubicBezTo>
                  <a:cubicBezTo>
                    <a:pt x="3370" y="17268"/>
                    <a:pt x="13056" y="18321"/>
                    <a:pt x="8213" y="18321"/>
                  </a:cubicBezTo>
                  <a:cubicBezTo>
                    <a:pt x="13056" y="18321"/>
                    <a:pt x="27377" y="12004"/>
                    <a:pt x="20638" y="12004"/>
                  </a:cubicBezTo>
                  <a:cubicBezTo>
                    <a:pt x="27377" y="12004"/>
                    <a:pt x="33694" y="9055"/>
                    <a:pt x="29693" y="9055"/>
                  </a:cubicBezTo>
                  <a:cubicBezTo>
                    <a:pt x="33063" y="9055"/>
                    <a:pt x="33484" y="4212"/>
                    <a:pt x="30115" y="4212"/>
                  </a:cubicBezTo>
                  <a:cubicBezTo>
                    <a:pt x="32852" y="4422"/>
                    <a:pt x="46751" y="0"/>
                    <a:pt x="39591"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4" name="Forme libre : forme 118">
              <a:extLst>
                <a:ext uri="{FF2B5EF4-FFF2-40B4-BE49-F238E27FC236}">
                  <a16:creationId xmlns:a16="http://schemas.microsoft.com/office/drawing/2014/main" id="{7B5ACDFE-8E61-41F9-AA16-F13BDE16EDD4}"/>
                </a:ext>
              </a:extLst>
            </p:cNvPr>
            <p:cNvSpPr/>
            <p:nvPr/>
          </p:nvSpPr>
          <p:spPr>
            <a:xfrm>
              <a:off x="5919526" y="1926856"/>
              <a:ext cx="26450" cy="23585"/>
            </a:xfrm>
            <a:custGeom>
              <a:avLst/>
              <a:gdLst>
                <a:gd name="connsiteX0" fmla="*/ 21481 w 26450"/>
                <a:gd name="connsiteY0" fmla="*/ 0 h 23585"/>
                <a:gd name="connsiteX1" fmla="*/ 10529 w 26450"/>
                <a:gd name="connsiteY1" fmla="*/ 9687 h 23585"/>
                <a:gd name="connsiteX2" fmla="*/ 1895 w 26450"/>
                <a:gd name="connsiteY2" fmla="*/ 14952 h 23585"/>
                <a:gd name="connsiteX3" fmla="*/ 0 w 26450"/>
                <a:gd name="connsiteY3" fmla="*/ 23586 h 23585"/>
                <a:gd name="connsiteX4" fmla="*/ 12004 w 26450"/>
                <a:gd name="connsiteY4" fmla="*/ 13478 h 23585"/>
                <a:gd name="connsiteX5" fmla="*/ 25060 w 26450"/>
                <a:gd name="connsiteY5" fmla="*/ 2316 h 23585"/>
                <a:gd name="connsiteX6" fmla="*/ 21481 w 26450"/>
                <a:gd name="connsiteY6" fmla="*/ 0 h 23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450" h="23585">
                  <a:moveTo>
                    <a:pt x="21481" y="0"/>
                  </a:moveTo>
                  <a:cubicBezTo>
                    <a:pt x="24849" y="0"/>
                    <a:pt x="13899" y="9687"/>
                    <a:pt x="10529" y="9687"/>
                  </a:cubicBezTo>
                  <a:cubicBezTo>
                    <a:pt x="14320" y="9687"/>
                    <a:pt x="5686" y="14952"/>
                    <a:pt x="1895" y="14952"/>
                  </a:cubicBezTo>
                  <a:cubicBezTo>
                    <a:pt x="5686" y="14952"/>
                    <a:pt x="3790" y="23586"/>
                    <a:pt x="0" y="23586"/>
                  </a:cubicBezTo>
                  <a:cubicBezTo>
                    <a:pt x="3790" y="23586"/>
                    <a:pt x="15373" y="13478"/>
                    <a:pt x="12004" y="13478"/>
                  </a:cubicBezTo>
                  <a:cubicBezTo>
                    <a:pt x="15794" y="13478"/>
                    <a:pt x="28430" y="2316"/>
                    <a:pt x="25060" y="2316"/>
                  </a:cubicBezTo>
                  <a:cubicBezTo>
                    <a:pt x="28430" y="2527"/>
                    <a:pt x="25060" y="0"/>
                    <a:pt x="21481"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5" name="Forme libre : forme 119">
              <a:extLst>
                <a:ext uri="{FF2B5EF4-FFF2-40B4-BE49-F238E27FC236}">
                  <a16:creationId xmlns:a16="http://schemas.microsoft.com/office/drawing/2014/main" id="{7B228FA7-DAE6-4BC6-9A99-3A45EF066385}"/>
                </a:ext>
              </a:extLst>
            </p:cNvPr>
            <p:cNvSpPr/>
            <p:nvPr/>
          </p:nvSpPr>
          <p:spPr>
            <a:xfrm>
              <a:off x="5731580" y="1955286"/>
              <a:ext cx="56462" cy="30746"/>
            </a:xfrm>
            <a:custGeom>
              <a:avLst/>
              <a:gdLst>
                <a:gd name="connsiteX0" fmla="*/ 54011 w 56462"/>
                <a:gd name="connsiteY0" fmla="*/ 0 h 30746"/>
                <a:gd name="connsiteX1" fmla="*/ 52958 w 56462"/>
                <a:gd name="connsiteY1" fmla="*/ 4422 h 30746"/>
                <a:gd name="connsiteX2" fmla="*/ 54432 w 56462"/>
                <a:gd name="connsiteY2" fmla="*/ 9687 h 30746"/>
                <a:gd name="connsiteX3" fmla="*/ 44745 w 56462"/>
                <a:gd name="connsiteY3" fmla="*/ 11161 h 30746"/>
                <a:gd name="connsiteX4" fmla="*/ 50431 w 56462"/>
                <a:gd name="connsiteY4" fmla="*/ 16426 h 30746"/>
                <a:gd name="connsiteX5" fmla="*/ 43692 w 56462"/>
                <a:gd name="connsiteY5" fmla="*/ 18321 h 30746"/>
                <a:gd name="connsiteX6" fmla="*/ 48957 w 56462"/>
                <a:gd name="connsiteY6" fmla="*/ 22112 h 30746"/>
                <a:gd name="connsiteX7" fmla="*/ 36532 w 56462"/>
                <a:gd name="connsiteY7" fmla="*/ 25902 h 30746"/>
                <a:gd name="connsiteX8" fmla="*/ 28951 w 56462"/>
                <a:gd name="connsiteY8" fmla="*/ 30746 h 30746"/>
                <a:gd name="connsiteX9" fmla="*/ 19264 w 56462"/>
                <a:gd name="connsiteY9" fmla="*/ 28851 h 30746"/>
                <a:gd name="connsiteX10" fmla="*/ 3469 w 56462"/>
                <a:gd name="connsiteY10" fmla="*/ 27377 h 30746"/>
                <a:gd name="connsiteX11" fmla="*/ 3049 w 56462"/>
                <a:gd name="connsiteY11" fmla="*/ 22533 h 30746"/>
                <a:gd name="connsiteX12" fmla="*/ 19264 w 56462"/>
                <a:gd name="connsiteY12" fmla="*/ 23586 h 30746"/>
                <a:gd name="connsiteX13" fmla="*/ 23055 w 56462"/>
                <a:gd name="connsiteY13" fmla="*/ 17900 h 30746"/>
                <a:gd name="connsiteX14" fmla="*/ 3469 w 56462"/>
                <a:gd name="connsiteY14" fmla="*/ 16847 h 30746"/>
                <a:gd name="connsiteX15" fmla="*/ 1574 w 56462"/>
                <a:gd name="connsiteY15" fmla="*/ 8634 h 30746"/>
                <a:gd name="connsiteX16" fmla="*/ 11262 w 56462"/>
                <a:gd name="connsiteY16" fmla="*/ 5265 h 30746"/>
                <a:gd name="connsiteX17" fmla="*/ 23265 w 56462"/>
                <a:gd name="connsiteY17" fmla="*/ 4212 h 30746"/>
                <a:gd name="connsiteX18" fmla="*/ 34848 w 56462"/>
                <a:gd name="connsiteY18" fmla="*/ 842 h 30746"/>
                <a:gd name="connsiteX19" fmla="*/ 54011 w 56462"/>
                <a:gd name="connsiteY19" fmla="*/ 0 h 30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462" h="30746">
                  <a:moveTo>
                    <a:pt x="54011" y="0"/>
                  </a:moveTo>
                  <a:cubicBezTo>
                    <a:pt x="55907" y="0"/>
                    <a:pt x="57381" y="4422"/>
                    <a:pt x="52958" y="4422"/>
                  </a:cubicBezTo>
                  <a:cubicBezTo>
                    <a:pt x="56749" y="4422"/>
                    <a:pt x="57802" y="9687"/>
                    <a:pt x="54432" y="9687"/>
                  </a:cubicBezTo>
                  <a:cubicBezTo>
                    <a:pt x="57802" y="9687"/>
                    <a:pt x="47693" y="11161"/>
                    <a:pt x="44745" y="11161"/>
                  </a:cubicBezTo>
                  <a:cubicBezTo>
                    <a:pt x="48115" y="11161"/>
                    <a:pt x="52958" y="16426"/>
                    <a:pt x="50431" y="16426"/>
                  </a:cubicBezTo>
                  <a:cubicBezTo>
                    <a:pt x="52748" y="16426"/>
                    <a:pt x="45587" y="18321"/>
                    <a:pt x="43692" y="18321"/>
                  </a:cubicBezTo>
                  <a:cubicBezTo>
                    <a:pt x="45166" y="18321"/>
                    <a:pt x="50431" y="22112"/>
                    <a:pt x="48957" y="22112"/>
                  </a:cubicBezTo>
                  <a:cubicBezTo>
                    <a:pt x="51274" y="22112"/>
                    <a:pt x="41165" y="25902"/>
                    <a:pt x="36532" y="25902"/>
                  </a:cubicBezTo>
                  <a:cubicBezTo>
                    <a:pt x="41376" y="25902"/>
                    <a:pt x="31689" y="30746"/>
                    <a:pt x="28951" y="30746"/>
                  </a:cubicBezTo>
                  <a:cubicBezTo>
                    <a:pt x="31899" y="30746"/>
                    <a:pt x="24107" y="28851"/>
                    <a:pt x="19264" y="28851"/>
                  </a:cubicBezTo>
                  <a:cubicBezTo>
                    <a:pt x="24107" y="28851"/>
                    <a:pt x="6207" y="27377"/>
                    <a:pt x="3469" y="27377"/>
                  </a:cubicBezTo>
                  <a:cubicBezTo>
                    <a:pt x="7261" y="27377"/>
                    <a:pt x="-5586" y="22533"/>
                    <a:pt x="3049" y="22533"/>
                  </a:cubicBezTo>
                  <a:cubicBezTo>
                    <a:pt x="12525" y="22533"/>
                    <a:pt x="23265" y="23586"/>
                    <a:pt x="19264" y="23586"/>
                  </a:cubicBezTo>
                  <a:cubicBezTo>
                    <a:pt x="23055" y="23586"/>
                    <a:pt x="27898" y="17900"/>
                    <a:pt x="23055" y="17900"/>
                  </a:cubicBezTo>
                  <a:cubicBezTo>
                    <a:pt x="27898" y="17900"/>
                    <a:pt x="8102" y="16847"/>
                    <a:pt x="3469" y="16847"/>
                  </a:cubicBezTo>
                  <a:cubicBezTo>
                    <a:pt x="8313" y="16847"/>
                    <a:pt x="3049" y="8634"/>
                    <a:pt x="1574" y="8634"/>
                  </a:cubicBezTo>
                  <a:cubicBezTo>
                    <a:pt x="3469" y="8634"/>
                    <a:pt x="16947" y="5265"/>
                    <a:pt x="11262" y="5265"/>
                  </a:cubicBezTo>
                  <a:cubicBezTo>
                    <a:pt x="16105" y="5265"/>
                    <a:pt x="28951" y="4212"/>
                    <a:pt x="23265" y="4212"/>
                  </a:cubicBezTo>
                  <a:cubicBezTo>
                    <a:pt x="29583" y="4212"/>
                    <a:pt x="37164" y="842"/>
                    <a:pt x="34848" y="842"/>
                  </a:cubicBezTo>
                  <a:cubicBezTo>
                    <a:pt x="37164" y="842"/>
                    <a:pt x="58644" y="0"/>
                    <a:pt x="54011"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6" name="Forme libre : forme 120">
              <a:extLst>
                <a:ext uri="{FF2B5EF4-FFF2-40B4-BE49-F238E27FC236}">
                  <a16:creationId xmlns:a16="http://schemas.microsoft.com/office/drawing/2014/main" id="{EBA36C4F-4FDE-4F3C-BF2D-0C9271D59A73}"/>
                </a:ext>
              </a:extLst>
            </p:cNvPr>
            <p:cNvSpPr/>
            <p:nvPr/>
          </p:nvSpPr>
          <p:spPr>
            <a:xfrm>
              <a:off x="9853424" y="2094275"/>
              <a:ext cx="187364" cy="57229"/>
            </a:xfrm>
            <a:custGeom>
              <a:avLst/>
              <a:gdLst>
                <a:gd name="connsiteX0" fmla="*/ 98252 w 187364"/>
                <a:gd name="connsiteY0" fmla="*/ 22322 h 57229"/>
                <a:gd name="connsiteX1" fmla="*/ 78035 w 187364"/>
                <a:gd name="connsiteY1" fmla="*/ 15162 h 57229"/>
                <a:gd name="connsiteX2" fmla="*/ 58872 w 187364"/>
                <a:gd name="connsiteY2" fmla="*/ 11372 h 57229"/>
                <a:gd name="connsiteX3" fmla="*/ 40761 w 187364"/>
                <a:gd name="connsiteY3" fmla="*/ 10529 h 57229"/>
                <a:gd name="connsiteX4" fmla="*/ 27283 w 187364"/>
                <a:gd name="connsiteY4" fmla="*/ 8213 h 57229"/>
                <a:gd name="connsiteX5" fmla="*/ 10857 w 187364"/>
                <a:gd name="connsiteY5" fmla="*/ 0 h 57229"/>
                <a:gd name="connsiteX6" fmla="*/ 3276 w 187364"/>
                <a:gd name="connsiteY6" fmla="*/ 4844 h 57229"/>
                <a:gd name="connsiteX7" fmla="*/ 30021 w 187364"/>
                <a:gd name="connsiteY7" fmla="*/ 14952 h 57229"/>
                <a:gd name="connsiteX8" fmla="*/ 50237 w 187364"/>
                <a:gd name="connsiteY8" fmla="*/ 17268 h 57229"/>
                <a:gd name="connsiteX9" fmla="*/ 76140 w 187364"/>
                <a:gd name="connsiteY9" fmla="*/ 26324 h 57229"/>
                <a:gd name="connsiteX10" fmla="*/ 111730 w 187364"/>
                <a:gd name="connsiteY10" fmla="*/ 36432 h 57229"/>
                <a:gd name="connsiteX11" fmla="*/ 146266 w 187364"/>
                <a:gd name="connsiteY11" fmla="*/ 45487 h 57229"/>
                <a:gd name="connsiteX12" fmla="*/ 173221 w 187364"/>
                <a:gd name="connsiteY12" fmla="*/ 54121 h 57229"/>
                <a:gd name="connsiteX13" fmla="*/ 186699 w 187364"/>
                <a:gd name="connsiteY13" fmla="*/ 54543 h 57229"/>
                <a:gd name="connsiteX14" fmla="*/ 169431 w 187364"/>
                <a:gd name="connsiteY14" fmla="*/ 47383 h 57229"/>
                <a:gd name="connsiteX15" fmla="*/ 130893 w 187364"/>
                <a:gd name="connsiteY15" fmla="*/ 31588 h 57229"/>
                <a:gd name="connsiteX16" fmla="*/ 98252 w 187364"/>
                <a:gd name="connsiteY16" fmla="*/ 22322 h 572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364" h="57229">
                  <a:moveTo>
                    <a:pt x="98252" y="22322"/>
                  </a:moveTo>
                  <a:cubicBezTo>
                    <a:pt x="88565" y="22322"/>
                    <a:pt x="85827" y="15162"/>
                    <a:pt x="78035" y="15162"/>
                  </a:cubicBezTo>
                  <a:cubicBezTo>
                    <a:pt x="69401" y="15162"/>
                    <a:pt x="63715" y="11372"/>
                    <a:pt x="58872" y="11372"/>
                  </a:cubicBezTo>
                  <a:cubicBezTo>
                    <a:pt x="63715" y="11372"/>
                    <a:pt x="45604" y="10529"/>
                    <a:pt x="40761" y="10529"/>
                  </a:cubicBezTo>
                  <a:cubicBezTo>
                    <a:pt x="44552" y="10529"/>
                    <a:pt x="34022" y="8213"/>
                    <a:pt x="27283" y="8213"/>
                  </a:cubicBezTo>
                  <a:cubicBezTo>
                    <a:pt x="32969" y="8213"/>
                    <a:pt x="15701" y="0"/>
                    <a:pt x="10857" y="0"/>
                  </a:cubicBezTo>
                  <a:cubicBezTo>
                    <a:pt x="14859" y="0"/>
                    <a:pt x="-8306" y="4844"/>
                    <a:pt x="3276" y="4844"/>
                  </a:cubicBezTo>
                  <a:cubicBezTo>
                    <a:pt x="8962" y="15794"/>
                    <a:pt x="23282" y="14952"/>
                    <a:pt x="30021" y="14952"/>
                  </a:cubicBezTo>
                  <a:cubicBezTo>
                    <a:pt x="37813" y="14952"/>
                    <a:pt x="46447" y="9687"/>
                    <a:pt x="50237" y="17268"/>
                  </a:cubicBezTo>
                  <a:cubicBezTo>
                    <a:pt x="58872" y="17268"/>
                    <a:pt x="68559" y="26324"/>
                    <a:pt x="76140" y="26324"/>
                  </a:cubicBezTo>
                  <a:cubicBezTo>
                    <a:pt x="82878" y="26324"/>
                    <a:pt x="104991" y="36432"/>
                    <a:pt x="111730" y="36432"/>
                  </a:cubicBezTo>
                  <a:cubicBezTo>
                    <a:pt x="119521" y="36432"/>
                    <a:pt x="141423" y="37906"/>
                    <a:pt x="146266" y="45487"/>
                  </a:cubicBezTo>
                  <a:cubicBezTo>
                    <a:pt x="155953" y="45487"/>
                    <a:pt x="165430" y="54121"/>
                    <a:pt x="173221" y="54121"/>
                  </a:cubicBezTo>
                  <a:cubicBezTo>
                    <a:pt x="177012" y="60860"/>
                    <a:pt x="190490" y="54543"/>
                    <a:pt x="186699" y="54543"/>
                  </a:cubicBezTo>
                  <a:cubicBezTo>
                    <a:pt x="189647" y="54543"/>
                    <a:pt x="181013" y="47383"/>
                    <a:pt x="169431" y="47383"/>
                  </a:cubicBezTo>
                  <a:cubicBezTo>
                    <a:pt x="154058" y="31588"/>
                    <a:pt x="153005" y="46330"/>
                    <a:pt x="130893" y="31588"/>
                  </a:cubicBezTo>
                  <a:cubicBezTo>
                    <a:pt x="119521" y="31378"/>
                    <a:pt x="101200" y="29482"/>
                    <a:pt x="98252" y="2232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7" name="Forme libre : forme 121">
              <a:extLst>
                <a:ext uri="{FF2B5EF4-FFF2-40B4-BE49-F238E27FC236}">
                  <a16:creationId xmlns:a16="http://schemas.microsoft.com/office/drawing/2014/main" id="{E027D9F1-E22E-4466-8673-5970814AAFE3}"/>
                </a:ext>
              </a:extLst>
            </p:cNvPr>
            <p:cNvSpPr/>
            <p:nvPr/>
          </p:nvSpPr>
          <p:spPr>
            <a:xfrm>
              <a:off x="10021673" y="2108958"/>
              <a:ext cx="219698" cy="80312"/>
            </a:xfrm>
            <a:custGeom>
              <a:avLst/>
              <a:gdLst>
                <a:gd name="connsiteX0" fmla="*/ 156807 w 219698"/>
                <a:gd name="connsiteY0" fmla="*/ 54601 h 80312"/>
                <a:gd name="connsiteX1" fmla="*/ 115532 w 219698"/>
                <a:gd name="connsiteY1" fmla="*/ 38807 h 80312"/>
                <a:gd name="connsiteX2" fmla="*/ 83734 w 219698"/>
                <a:gd name="connsiteY2" fmla="*/ 30594 h 80312"/>
                <a:gd name="connsiteX3" fmla="*/ 66465 w 219698"/>
                <a:gd name="connsiteY3" fmla="*/ 22381 h 80312"/>
                <a:gd name="connsiteX4" fmla="*/ 41616 w 219698"/>
                <a:gd name="connsiteY4" fmla="*/ 15642 h 80312"/>
                <a:gd name="connsiteX5" fmla="*/ 11712 w 219698"/>
                <a:gd name="connsiteY5" fmla="*/ 4481 h 80312"/>
                <a:gd name="connsiteX6" fmla="*/ 3078 w 219698"/>
                <a:gd name="connsiteY6" fmla="*/ 7429 h 80312"/>
                <a:gd name="connsiteX7" fmla="*/ 43511 w 219698"/>
                <a:gd name="connsiteY7" fmla="*/ 23644 h 80312"/>
                <a:gd name="connsiteX8" fmla="*/ 73204 w 219698"/>
                <a:gd name="connsiteY8" fmla="*/ 37543 h 80312"/>
                <a:gd name="connsiteX9" fmla="*/ 106056 w 219698"/>
                <a:gd name="connsiteY9" fmla="*/ 48494 h 80312"/>
                <a:gd name="connsiteX10" fmla="*/ 131958 w 219698"/>
                <a:gd name="connsiteY10" fmla="*/ 59445 h 80312"/>
                <a:gd name="connsiteX11" fmla="*/ 166495 w 219698"/>
                <a:gd name="connsiteY11" fmla="*/ 68500 h 80312"/>
                <a:gd name="connsiteX12" fmla="*/ 203137 w 219698"/>
                <a:gd name="connsiteY12" fmla="*/ 79450 h 80312"/>
                <a:gd name="connsiteX13" fmla="*/ 214719 w 219698"/>
                <a:gd name="connsiteY13" fmla="*/ 80293 h 80312"/>
                <a:gd name="connsiteX14" fmla="*/ 156807 w 219698"/>
                <a:gd name="connsiteY14" fmla="*/ 54601 h 8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19698" h="80312">
                  <a:moveTo>
                    <a:pt x="156807" y="54601"/>
                  </a:moveTo>
                  <a:cubicBezTo>
                    <a:pt x="147120" y="54601"/>
                    <a:pt x="126061" y="38807"/>
                    <a:pt x="115532" y="38807"/>
                  </a:cubicBezTo>
                  <a:cubicBezTo>
                    <a:pt x="106688" y="38807"/>
                    <a:pt x="92367" y="30594"/>
                    <a:pt x="83734" y="30594"/>
                  </a:cubicBezTo>
                  <a:cubicBezTo>
                    <a:pt x="75941" y="30594"/>
                    <a:pt x="72151" y="22381"/>
                    <a:pt x="66465" y="22381"/>
                  </a:cubicBezTo>
                  <a:cubicBezTo>
                    <a:pt x="59726" y="22381"/>
                    <a:pt x="54882" y="15642"/>
                    <a:pt x="41616" y="15642"/>
                  </a:cubicBezTo>
                  <a:cubicBezTo>
                    <a:pt x="36772" y="5113"/>
                    <a:pt x="19503" y="4481"/>
                    <a:pt x="11712" y="4481"/>
                  </a:cubicBezTo>
                  <a:cubicBezTo>
                    <a:pt x="8763" y="-1626"/>
                    <a:pt x="-6399" y="-2258"/>
                    <a:pt x="3078" y="7429"/>
                  </a:cubicBezTo>
                  <a:cubicBezTo>
                    <a:pt x="17608" y="7429"/>
                    <a:pt x="39510" y="15221"/>
                    <a:pt x="43511" y="23644"/>
                  </a:cubicBezTo>
                  <a:cubicBezTo>
                    <a:pt x="52145" y="23644"/>
                    <a:pt x="79942" y="37543"/>
                    <a:pt x="73204" y="37543"/>
                  </a:cubicBezTo>
                  <a:cubicBezTo>
                    <a:pt x="82891" y="37543"/>
                    <a:pt x="111742" y="48494"/>
                    <a:pt x="106056" y="48494"/>
                  </a:cubicBezTo>
                  <a:cubicBezTo>
                    <a:pt x="112794" y="48494"/>
                    <a:pt x="127115" y="48494"/>
                    <a:pt x="131958" y="59445"/>
                  </a:cubicBezTo>
                  <a:cubicBezTo>
                    <a:pt x="143541" y="59445"/>
                    <a:pt x="171338" y="68500"/>
                    <a:pt x="166495" y="68500"/>
                  </a:cubicBezTo>
                  <a:cubicBezTo>
                    <a:pt x="171338" y="68500"/>
                    <a:pt x="195346" y="71869"/>
                    <a:pt x="203137" y="79450"/>
                  </a:cubicBezTo>
                  <a:cubicBezTo>
                    <a:pt x="213667" y="79450"/>
                    <a:pt x="227145" y="80293"/>
                    <a:pt x="214719" y="80293"/>
                  </a:cubicBezTo>
                  <a:cubicBezTo>
                    <a:pt x="200821" y="81135"/>
                    <a:pt x="168179" y="54601"/>
                    <a:pt x="156807" y="5460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8" name="Forme libre : forme 122">
              <a:extLst>
                <a:ext uri="{FF2B5EF4-FFF2-40B4-BE49-F238E27FC236}">
                  <a16:creationId xmlns:a16="http://schemas.microsoft.com/office/drawing/2014/main" id="{14F571AE-86F7-4B0D-A2C5-FC802441AD68}"/>
                </a:ext>
              </a:extLst>
            </p:cNvPr>
            <p:cNvSpPr/>
            <p:nvPr/>
          </p:nvSpPr>
          <p:spPr>
            <a:xfrm>
              <a:off x="9872073" y="2090695"/>
              <a:ext cx="30394" cy="10529"/>
            </a:xfrm>
            <a:custGeom>
              <a:avLst/>
              <a:gdLst>
                <a:gd name="connsiteX0" fmla="*/ 22112 w 30394"/>
                <a:gd name="connsiteY0" fmla="*/ 4844 h 10529"/>
                <a:gd name="connsiteX1" fmla="*/ 0 w 30394"/>
                <a:gd name="connsiteY1" fmla="*/ 0 h 10529"/>
                <a:gd name="connsiteX2" fmla="*/ 7792 w 30394"/>
                <a:gd name="connsiteY2" fmla="*/ 6318 h 10529"/>
                <a:gd name="connsiteX3" fmla="*/ 20216 w 30394"/>
                <a:gd name="connsiteY3" fmla="*/ 10529 h 10529"/>
                <a:gd name="connsiteX4" fmla="*/ 29904 w 30394"/>
                <a:gd name="connsiteY4" fmla="*/ 10529 h 10529"/>
                <a:gd name="connsiteX5" fmla="*/ 22112 w 30394"/>
                <a:gd name="connsiteY5" fmla="*/ 4844 h 10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394" h="10529">
                  <a:moveTo>
                    <a:pt x="22112" y="4844"/>
                  </a:moveTo>
                  <a:cubicBezTo>
                    <a:pt x="25060" y="4844"/>
                    <a:pt x="1895" y="0"/>
                    <a:pt x="0" y="0"/>
                  </a:cubicBezTo>
                  <a:cubicBezTo>
                    <a:pt x="1053" y="0"/>
                    <a:pt x="13478" y="6318"/>
                    <a:pt x="7792" y="6318"/>
                  </a:cubicBezTo>
                  <a:cubicBezTo>
                    <a:pt x="14531" y="6318"/>
                    <a:pt x="23165" y="10529"/>
                    <a:pt x="20216" y="10529"/>
                  </a:cubicBezTo>
                  <a:cubicBezTo>
                    <a:pt x="23165" y="10529"/>
                    <a:pt x="32641" y="10529"/>
                    <a:pt x="29904" y="10529"/>
                  </a:cubicBezTo>
                  <a:cubicBezTo>
                    <a:pt x="31588" y="10529"/>
                    <a:pt x="27798" y="4844"/>
                    <a:pt x="22112" y="484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39" name="Forme libre : forme 123">
              <a:extLst>
                <a:ext uri="{FF2B5EF4-FFF2-40B4-BE49-F238E27FC236}">
                  <a16:creationId xmlns:a16="http://schemas.microsoft.com/office/drawing/2014/main" id="{1E21293E-DBC7-47DC-9924-9758F8884B8D}"/>
                </a:ext>
              </a:extLst>
            </p:cNvPr>
            <p:cNvSpPr/>
            <p:nvPr/>
          </p:nvSpPr>
          <p:spPr>
            <a:xfrm>
              <a:off x="9722519" y="2031098"/>
              <a:ext cx="289775" cy="81776"/>
            </a:xfrm>
            <a:custGeom>
              <a:avLst/>
              <a:gdLst>
                <a:gd name="connsiteX0" fmla="*/ 246426 w 289775"/>
                <a:gd name="connsiteY0" fmla="*/ 61492 h 81776"/>
                <a:gd name="connsiteX1" fmla="*/ 219681 w 289775"/>
                <a:gd name="connsiteY1" fmla="*/ 51805 h 81776"/>
                <a:gd name="connsiteX2" fmla="*/ 228315 w 289775"/>
                <a:gd name="connsiteY2" fmla="*/ 58544 h 81776"/>
                <a:gd name="connsiteX3" fmla="*/ 194621 w 289775"/>
                <a:gd name="connsiteY3" fmla="*/ 46540 h 81776"/>
                <a:gd name="connsiteX4" fmla="*/ 167665 w 289775"/>
                <a:gd name="connsiteY4" fmla="*/ 35379 h 81776"/>
                <a:gd name="connsiteX5" fmla="*/ 150397 w 289775"/>
                <a:gd name="connsiteY5" fmla="*/ 33905 h 81776"/>
                <a:gd name="connsiteX6" fmla="*/ 147448 w 289775"/>
                <a:gd name="connsiteY6" fmla="*/ 36221 h 81776"/>
                <a:gd name="connsiteX7" fmla="*/ 124494 w 289775"/>
                <a:gd name="connsiteY7" fmla="*/ 28640 h 81776"/>
                <a:gd name="connsiteX8" fmla="*/ 91853 w 289775"/>
                <a:gd name="connsiteY8" fmla="*/ 17058 h 81776"/>
                <a:gd name="connsiteX9" fmla="*/ 64898 w 289775"/>
                <a:gd name="connsiteY9" fmla="*/ 11161 h 81776"/>
                <a:gd name="connsiteX10" fmla="*/ 39838 w 289775"/>
                <a:gd name="connsiteY10" fmla="*/ 10108 h 81776"/>
                <a:gd name="connsiteX11" fmla="*/ 7196 w 289775"/>
                <a:gd name="connsiteY11" fmla="*/ 0 h 81776"/>
                <a:gd name="connsiteX12" fmla="*/ 4248 w 289775"/>
                <a:gd name="connsiteY12" fmla="*/ 6739 h 81776"/>
                <a:gd name="connsiteX13" fmla="*/ 36889 w 289775"/>
                <a:gd name="connsiteY13" fmla="*/ 15373 h 81776"/>
                <a:gd name="connsiteX14" fmla="*/ 56895 w 289775"/>
                <a:gd name="connsiteY14" fmla="*/ 24007 h 81776"/>
                <a:gd name="connsiteX15" fmla="*/ 74164 w 289775"/>
                <a:gd name="connsiteY15" fmla="*/ 31167 h 81776"/>
                <a:gd name="connsiteX16" fmla="*/ 100908 w 289775"/>
                <a:gd name="connsiteY16" fmla="*/ 41275 h 81776"/>
                <a:gd name="connsiteX17" fmla="*/ 127021 w 289775"/>
                <a:gd name="connsiteY17" fmla="*/ 47593 h 81776"/>
                <a:gd name="connsiteX18" fmla="*/ 138604 w 289775"/>
                <a:gd name="connsiteY18" fmla="*/ 48646 h 81776"/>
                <a:gd name="connsiteX19" fmla="*/ 171245 w 289775"/>
                <a:gd name="connsiteY19" fmla="*/ 56859 h 81776"/>
                <a:gd name="connsiteX20" fmla="*/ 195253 w 289775"/>
                <a:gd name="connsiteY20" fmla="*/ 62545 h 81776"/>
                <a:gd name="connsiteX21" fmla="*/ 227894 w 289775"/>
                <a:gd name="connsiteY21" fmla="*/ 73706 h 81776"/>
                <a:gd name="connsiteX22" fmla="*/ 248952 w 289775"/>
                <a:gd name="connsiteY22" fmla="*/ 76023 h 81776"/>
                <a:gd name="connsiteX23" fmla="*/ 274013 w 289775"/>
                <a:gd name="connsiteY23" fmla="*/ 80234 h 81776"/>
                <a:gd name="connsiteX24" fmla="*/ 282647 w 289775"/>
                <a:gd name="connsiteY24" fmla="*/ 80234 h 81776"/>
                <a:gd name="connsiteX25" fmla="*/ 285595 w 289775"/>
                <a:gd name="connsiteY25" fmla="*/ 77497 h 81776"/>
                <a:gd name="connsiteX26" fmla="*/ 260535 w 289775"/>
                <a:gd name="connsiteY26" fmla="*/ 67810 h 81776"/>
                <a:gd name="connsiteX27" fmla="*/ 246426 w 289775"/>
                <a:gd name="connsiteY27" fmla="*/ 61492 h 817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9775" h="81776">
                  <a:moveTo>
                    <a:pt x="246426" y="61492"/>
                  </a:moveTo>
                  <a:cubicBezTo>
                    <a:pt x="234001" y="61492"/>
                    <a:pt x="221576" y="51805"/>
                    <a:pt x="219681" y="51805"/>
                  </a:cubicBezTo>
                  <a:cubicBezTo>
                    <a:pt x="222418" y="51805"/>
                    <a:pt x="233158" y="58544"/>
                    <a:pt x="228315" y="58544"/>
                  </a:cubicBezTo>
                  <a:cubicBezTo>
                    <a:pt x="233158" y="58544"/>
                    <a:pt x="201359" y="46540"/>
                    <a:pt x="194621" y="46540"/>
                  </a:cubicBezTo>
                  <a:cubicBezTo>
                    <a:pt x="202412" y="46540"/>
                    <a:pt x="171666" y="44013"/>
                    <a:pt x="167665" y="35379"/>
                  </a:cubicBezTo>
                  <a:cubicBezTo>
                    <a:pt x="158189" y="35379"/>
                    <a:pt x="161979" y="33905"/>
                    <a:pt x="150397" y="33905"/>
                  </a:cubicBezTo>
                  <a:cubicBezTo>
                    <a:pt x="138814" y="33905"/>
                    <a:pt x="151239" y="36221"/>
                    <a:pt x="147448" y="36221"/>
                  </a:cubicBezTo>
                  <a:cubicBezTo>
                    <a:pt x="152292" y="36221"/>
                    <a:pt x="129127" y="37274"/>
                    <a:pt x="124494" y="28640"/>
                  </a:cubicBezTo>
                  <a:cubicBezTo>
                    <a:pt x="114807" y="28640"/>
                    <a:pt x="99434" y="17058"/>
                    <a:pt x="91853" y="17058"/>
                  </a:cubicBezTo>
                  <a:cubicBezTo>
                    <a:pt x="84061" y="17058"/>
                    <a:pt x="75427" y="11161"/>
                    <a:pt x="64898" y="11161"/>
                  </a:cubicBezTo>
                  <a:cubicBezTo>
                    <a:pt x="60054" y="2106"/>
                    <a:pt x="49525" y="10108"/>
                    <a:pt x="39838" y="10108"/>
                  </a:cubicBezTo>
                  <a:cubicBezTo>
                    <a:pt x="30151" y="10108"/>
                    <a:pt x="11197" y="0"/>
                    <a:pt x="7196" y="0"/>
                  </a:cubicBezTo>
                  <a:cubicBezTo>
                    <a:pt x="10987" y="0"/>
                    <a:pt x="-8177" y="6739"/>
                    <a:pt x="4248" y="6739"/>
                  </a:cubicBezTo>
                  <a:cubicBezTo>
                    <a:pt x="9092" y="17689"/>
                    <a:pt x="43628" y="15373"/>
                    <a:pt x="36889" y="15373"/>
                  </a:cubicBezTo>
                  <a:cubicBezTo>
                    <a:pt x="43628" y="15373"/>
                    <a:pt x="49314" y="24007"/>
                    <a:pt x="56895" y="24007"/>
                  </a:cubicBezTo>
                  <a:cubicBezTo>
                    <a:pt x="64687" y="24007"/>
                    <a:pt x="62792" y="31167"/>
                    <a:pt x="74164" y="31167"/>
                  </a:cubicBezTo>
                  <a:cubicBezTo>
                    <a:pt x="79849" y="41697"/>
                    <a:pt x="94380" y="41275"/>
                    <a:pt x="100908" y="41275"/>
                  </a:cubicBezTo>
                  <a:cubicBezTo>
                    <a:pt x="107647" y="41275"/>
                    <a:pt x="116282" y="47593"/>
                    <a:pt x="127021" y="47593"/>
                  </a:cubicBezTo>
                  <a:cubicBezTo>
                    <a:pt x="135655" y="47593"/>
                    <a:pt x="135655" y="42750"/>
                    <a:pt x="138604" y="48646"/>
                  </a:cubicBezTo>
                  <a:cubicBezTo>
                    <a:pt x="147238" y="48646"/>
                    <a:pt x="166401" y="48225"/>
                    <a:pt x="171245" y="56859"/>
                  </a:cubicBezTo>
                  <a:cubicBezTo>
                    <a:pt x="179037" y="56859"/>
                    <a:pt x="183881" y="62545"/>
                    <a:pt x="195253" y="62545"/>
                  </a:cubicBezTo>
                  <a:cubicBezTo>
                    <a:pt x="206624" y="62545"/>
                    <a:pt x="221155" y="73706"/>
                    <a:pt x="227894" y="73706"/>
                  </a:cubicBezTo>
                  <a:cubicBezTo>
                    <a:pt x="232737" y="73706"/>
                    <a:pt x="236528" y="76023"/>
                    <a:pt x="248952" y="76023"/>
                  </a:cubicBezTo>
                  <a:cubicBezTo>
                    <a:pt x="253796" y="85710"/>
                    <a:pt x="275908" y="80234"/>
                    <a:pt x="274013" y="80234"/>
                  </a:cubicBezTo>
                  <a:cubicBezTo>
                    <a:pt x="275908" y="80234"/>
                    <a:pt x="287490" y="80234"/>
                    <a:pt x="282647" y="80234"/>
                  </a:cubicBezTo>
                  <a:cubicBezTo>
                    <a:pt x="289386" y="80234"/>
                    <a:pt x="293176" y="77497"/>
                    <a:pt x="285595" y="77497"/>
                  </a:cubicBezTo>
                  <a:cubicBezTo>
                    <a:pt x="293176" y="77497"/>
                    <a:pt x="266431" y="67810"/>
                    <a:pt x="260535" y="67810"/>
                  </a:cubicBezTo>
                  <a:cubicBezTo>
                    <a:pt x="253165" y="68231"/>
                    <a:pt x="253165" y="61492"/>
                    <a:pt x="246426" y="6149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0" name="Forme libre : forme 124">
              <a:extLst>
                <a:ext uri="{FF2B5EF4-FFF2-40B4-BE49-F238E27FC236}">
                  <a16:creationId xmlns:a16="http://schemas.microsoft.com/office/drawing/2014/main" id="{DDEDCF78-EC1A-4554-BC32-A1889BD84DC2}"/>
                </a:ext>
              </a:extLst>
            </p:cNvPr>
            <p:cNvSpPr/>
            <p:nvPr/>
          </p:nvSpPr>
          <p:spPr>
            <a:xfrm>
              <a:off x="4583836" y="2379623"/>
              <a:ext cx="2695850" cy="2539072"/>
            </a:xfrm>
            <a:custGeom>
              <a:avLst/>
              <a:gdLst>
                <a:gd name="connsiteX0" fmla="*/ 2679038 w 2695850"/>
                <a:gd name="connsiteY0" fmla="*/ 790762 h 2539072"/>
                <a:gd name="connsiteX1" fmla="*/ 2682407 w 2695850"/>
                <a:gd name="connsiteY1" fmla="*/ 773072 h 2539072"/>
                <a:gd name="connsiteX2" fmla="*/ 2682407 w 2695850"/>
                <a:gd name="connsiteY2" fmla="*/ 756857 h 2539072"/>
                <a:gd name="connsiteX3" fmla="*/ 2661348 w 2695850"/>
                <a:gd name="connsiteY3" fmla="*/ 751592 h 2539072"/>
                <a:gd name="connsiteX4" fmla="*/ 2645975 w 2695850"/>
                <a:gd name="connsiteY4" fmla="*/ 764017 h 2539072"/>
                <a:gd name="connsiteX5" fmla="*/ 2604700 w 2695850"/>
                <a:gd name="connsiteY5" fmla="*/ 771177 h 2539072"/>
                <a:gd name="connsiteX6" fmla="*/ 2587431 w 2695850"/>
                <a:gd name="connsiteY6" fmla="*/ 771598 h 2539072"/>
                <a:gd name="connsiteX7" fmla="*/ 2564898 w 2695850"/>
                <a:gd name="connsiteY7" fmla="*/ 773494 h 2539072"/>
                <a:gd name="connsiteX8" fmla="*/ 2538996 w 2695850"/>
                <a:gd name="connsiteY8" fmla="*/ 773072 h 2539072"/>
                <a:gd name="connsiteX9" fmla="*/ 2515831 w 2695850"/>
                <a:gd name="connsiteY9" fmla="*/ 779811 h 2539072"/>
                <a:gd name="connsiteX10" fmla="*/ 2489928 w 2695850"/>
                <a:gd name="connsiteY10" fmla="*/ 785497 h 2539072"/>
                <a:gd name="connsiteX11" fmla="*/ 2460235 w 2695850"/>
                <a:gd name="connsiteY11" fmla="*/ 782128 h 2539072"/>
                <a:gd name="connsiteX12" fmla="*/ 2425699 w 2695850"/>
                <a:gd name="connsiteY12" fmla="*/ 792236 h 2539072"/>
                <a:gd name="connsiteX13" fmla="*/ 2394953 w 2695850"/>
                <a:gd name="connsiteY13" fmla="*/ 777284 h 2539072"/>
                <a:gd name="connsiteX14" fmla="*/ 2368208 w 2695850"/>
                <a:gd name="connsiteY14" fmla="*/ 751382 h 2539072"/>
                <a:gd name="connsiteX15" fmla="*/ 2345675 w 2695850"/>
                <a:gd name="connsiteY15" fmla="*/ 753277 h 2539072"/>
                <a:gd name="connsiteX16" fmla="*/ 2370525 w 2695850"/>
                <a:gd name="connsiteY16" fmla="*/ 742748 h 2539072"/>
                <a:gd name="connsiteX17" fmla="*/ 2373894 w 2695850"/>
                <a:gd name="connsiteY17" fmla="*/ 724426 h 2539072"/>
                <a:gd name="connsiteX18" fmla="*/ 2353888 w 2695850"/>
                <a:gd name="connsiteY18" fmla="*/ 703368 h 2539072"/>
                <a:gd name="connsiteX19" fmla="*/ 2334093 w 2695850"/>
                <a:gd name="connsiteY19" fmla="*/ 696208 h 2539072"/>
                <a:gd name="connsiteX20" fmla="*/ 2318719 w 2695850"/>
                <a:gd name="connsiteY20" fmla="*/ 679782 h 2539072"/>
                <a:gd name="connsiteX21" fmla="*/ 2301451 w 2695850"/>
                <a:gd name="connsiteY21" fmla="*/ 668831 h 2539072"/>
                <a:gd name="connsiteX22" fmla="*/ 2281234 w 2695850"/>
                <a:gd name="connsiteY22" fmla="*/ 651563 h 2539072"/>
                <a:gd name="connsiteX23" fmla="*/ 2259544 w 2695850"/>
                <a:gd name="connsiteY23" fmla="*/ 639980 h 2539072"/>
                <a:gd name="connsiteX24" fmla="*/ 2246066 w 2695850"/>
                <a:gd name="connsiteY24" fmla="*/ 635137 h 2539072"/>
                <a:gd name="connsiteX25" fmla="*/ 2229851 w 2695850"/>
                <a:gd name="connsiteY25" fmla="*/ 623133 h 2539072"/>
                <a:gd name="connsiteX26" fmla="*/ 2226060 w 2695850"/>
                <a:gd name="connsiteY26" fmla="*/ 634715 h 2539072"/>
                <a:gd name="connsiteX27" fmla="*/ 2215321 w 2695850"/>
                <a:gd name="connsiteY27" fmla="*/ 609234 h 2539072"/>
                <a:gd name="connsiteX28" fmla="*/ 2196789 w 2695850"/>
                <a:gd name="connsiteY28" fmla="*/ 571749 h 2539072"/>
                <a:gd name="connsiteX29" fmla="*/ 2171728 w 2695850"/>
                <a:gd name="connsiteY29" fmla="*/ 540582 h 2539072"/>
                <a:gd name="connsiteX30" fmla="*/ 2139087 w 2695850"/>
                <a:gd name="connsiteY30" fmla="*/ 520787 h 2539072"/>
                <a:gd name="connsiteX31" fmla="*/ 2124767 w 2695850"/>
                <a:gd name="connsiteY31" fmla="*/ 481407 h 2539072"/>
                <a:gd name="connsiteX32" fmla="*/ 2122872 w 2695850"/>
                <a:gd name="connsiteY32" fmla="*/ 453188 h 2539072"/>
                <a:gd name="connsiteX33" fmla="*/ 2110447 w 2695850"/>
                <a:gd name="connsiteY33" fmla="*/ 436341 h 2539072"/>
                <a:gd name="connsiteX34" fmla="*/ 2104550 w 2695850"/>
                <a:gd name="connsiteY34" fmla="*/ 422020 h 2539072"/>
                <a:gd name="connsiteX35" fmla="*/ 2084334 w 2695850"/>
                <a:gd name="connsiteY35" fmla="*/ 408543 h 2539072"/>
                <a:gd name="connsiteX36" fmla="*/ 2057379 w 2695850"/>
                <a:gd name="connsiteY36" fmla="*/ 394223 h 2539072"/>
                <a:gd name="connsiteX37" fmla="*/ 2051061 w 2695850"/>
                <a:gd name="connsiteY37" fmla="*/ 367899 h 2539072"/>
                <a:gd name="connsiteX38" fmla="*/ 2053588 w 2695850"/>
                <a:gd name="connsiteY38" fmla="*/ 357370 h 2539072"/>
                <a:gd name="connsiteX39" fmla="*/ 2029581 w 2695850"/>
                <a:gd name="connsiteY39" fmla="*/ 336732 h 2539072"/>
                <a:gd name="connsiteX40" fmla="*/ 2007468 w 2695850"/>
                <a:gd name="connsiteY40" fmla="*/ 306407 h 2539072"/>
                <a:gd name="connsiteX41" fmla="*/ 1990201 w 2695850"/>
                <a:gd name="connsiteY41" fmla="*/ 282400 h 2539072"/>
                <a:gd name="connsiteX42" fmla="*/ 1971458 w 2695850"/>
                <a:gd name="connsiteY42" fmla="*/ 262183 h 2539072"/>
                <a:gd name="connsiteX43" fmla="*/ 1969563 w 2695850"/>
                <a:gd name="connsiteY43" fmla="*/ 249127 h 2539072"/>
                <a:gd name="connsiteX44" fmla="*/ 1948925 w 2695850"/>
                <a:gd name="connsiteY44" fmla="*/ 233754 h 2539072"/>
                <a:gd name="connsiteX45" fmla="*/ 1936922 w 2695850"/>
                <a:gd name="connsiteY45" fmla="*/ 223646 h 2539072"/>
                <a:gd name="connsiteX46" fmla="*/ 1928708 w 2695850"/>
                <a:gd name="connsiteY46" fmla="*/ 208694 h 2539072"/>
                <a:gd name="connsiteX47" fmla="*/ 1927656 w 2695850"/>
                <a:gd name="connsiteY47" fmla="*/ 195216 h 2539072"/>
                <a:gd name="connsiteX48" fmla="*/ 1930604 w 2695850"/>
                <a:gd name="connsiteY48" fmla="*/ 197111 h 2539072"/>
                <a:gd name="connsiteX49" fmla="*/ 1928708 w 2695850"/>
                <a:gd name="connsiteY49" fmla="*/ 188056 h 2539072"/>
                <a:gd name="connsiteX50" fmla="*/ 1919021 w 2695850"/>
                <a:gd name="connsiteY50" fmla="*/ 172683 h 2539072"/>
                <a:gd name="connsiteX51" fmla="*/ 1918390 w 2695850"/>
                <a:gd name="connsiteY51" fmla="*/ 159626 h 2539072"/>
                <a:gd name="connsiteX52" fmla="*/ 1905333 w 2695850"/>
                <a:gd name="connsiteY52" fmla="*/ 155836 h 2539072"/>
                <a:gd name="connsiteX53" fmla="*/ 1883643 w 2695850"/>
                <a:gd name="connsiteY53" fmla="*/ 152888 h 2539072"/>
                <a:gd name="connsiteX54" fmla="*/ 1857108 w 2695850"/>
                <a:gd name="connsiteY54" fmla="*/ 150992 h 2539072"/>
                <a:gd name="connsiteX55" fmla="*/ 1822150 w 2695850"/>
                <a:gd name="connsiteY55" fmla="*/ 162575 h 2539072"/>
                <a:gd name="connsiteX56" fmla="*/ 1803829 w 2695850"/>
                <a:gd name="connsiteY56" fmla="*/ 169314 h 2539072"/>
                <a:gd name="connsiteX57" fmla="*/ 1775610 w 2695850"/>
                <a:gd name="connsiteY57" fmla="*/ 163628 h 2539072"/>
                <a:gd name="connsiteX58" fmla="*/ 1741495 w 2695850"/>
                <a:gd name="connsiteY58" fmla="*/ 159205 h 2539072"/>
                <a:gd name="connsiteX59" fmla="*/ 1718962 w 2695850"/>
                <a:gd name="connsiteY59" fmla="*/ 152466 h 2539072"/>
                <a:gd name="connsiteX60" fmla="*/ 1685688 w 2695850"/>
                <a:gd name="connsiteY60" fmla="*/ 147623 h 2539072"/>
                <a:gd name="connsiteX61" fmla="*/ 1665472 w 2695850"/>
                <a:gd name="connsiteY61" fmla="*/ 148044 h 2539072"/>
                <a:gd name="connsiteX62" fmla="*/ 1646308 w 2695850"/>
                <a:gd name="connsiteY62" fmla="*/ 136883 h 2539072"/>
                <a:gd name="connsiteX63" fmla="*/ 1615141 w 2695850"/>
                <a:gd name="connsiteY63" fmla="*/ 134988 h 2539072"/>
                <a:gd name="connsiteX64" fmla="*/ 1592187 w 2695850"/>
                <a:gd name="connsiteY64" fmla="*/ 129091 h 2539072"/>
                <a:gd name="connsiteX65" fmla="*/ 1574919 w 2695850"/>
                <a:gd name="connsiteY65" fmla="*/ 120457 h 2539072"/>
                <a:gd name="connsiteX66" fmla="*/ 1545647 w 2695850"/>
                <a:gd name="connsiteY66" fmla="*/ 111823 h 2539072"/>
                <a:gd name="connsiteX67" fmla="*/ 1499949 w 2695850"/>
                <a:gd name="connsiteY67" fmla="*/ 115192 h 2539072"/>
                <a:gd name="connsiteX68" fmla="*/ 1460568 w 2695850"/>
                <a:gd name="connsiteY68" fmla="*/ 132882 h 2539072"/>
                <a:gd name="connsiteX69" fmla="*/ 1466255 w 2695850"/>
                <a:gd name="connsiteY69" fmla="*/ 160258 h 2539072"/>
                <a:gd name="connsiteX70" fmla="*/ 1442669 w 2695850"/>
                <a:gd name="connsiteY70" fmla="*/ 179843 h 2539072"/>
                <a:gd name="connsiteX71" fmla="*/ 1403288 w 2695850"/>
                <a:gd name="connsiteY71" fmla="*/ 175631 h 2539072"/>
                <a:gd name="connsiteX72" fmla="*/ 1360118 w 2695850"/>
                <a:gd name="connsiteY72" fmla="*/ 159205 h 2539072"/>
                <a:gd name="connsiteX73" fmla="*/ 1299679 w 2695850"/>
                <a:gd name="connsiteY73" fmla="*/ 152888 h 2539072"/>
                <a:gd name="connsiteX74" fmla="*/ 1283885 w 2695850"/>
                <a:gd name="connsiteY74" fmla="*/ 131197 h 2539072"/>
                <a:gd name="connsiteX75" fmla="*/ 1262405 w 2695850"/>
                <a:gd name="connsiteY75" fmla="*/ 124458 h 2539072"/>
                <a:gd name="connsiteX76" fmla="*/ 1240713 w 2695850"/>
                <a:gd name="connsiteY76" fmla="*/ 114771 h 2539072"/>
                <a:gd name="connsiteX77" fmla="*/ 1219023 w 2695850"/>
                <a:gd name="connsiteY77" fmla="*/ 112455 h 2539072"/>
                <a:gd name="connsiteX78" fmla="*/ 1192067 w 2695850"/>
                <a:gd name="connsiteY78" fmla="*/ 114350 h 2539072"/>
                <a:gd name="connsiteX79" fmla="*/ 1152056 w 2695850"/>
                <a:gd name="connsiteY79" fmla="*/ 110559 h 2539072"/>
                <a:gd name="connsiteX80" fmla="*/ 1130365 w 2695850"/>
                <a:gd name="connsiteY80" fmla="*/ 102767 h 2539072"/>
                <a:gd name="connsiteX81" fmla="*/ 1118361 w 2695850"/>
                <a:gd name="connsiteY81" fmla="*/ 87816 h 2539072"/>
                <a:gd name="connsiteX82" fmla="*/ 1098566 w 2695850"/>
                <a:gd name="connsiteY82" fmla="*/ 91606 h 2539072"/>
                <a:gd name="connsiteX83" fmla="*/ 1096250 w 2695850"/>
                <a:gd name="connsiteY83" fmla="*/ 78550 h 2539072"/>
                <a:gd name="connsiteX84" fmla="*/ 1125522 w 2695850"/>
                <a:gd name="connsiteY84" fmla="*/ 58965 h 2539072"/>
                <a:gd name="connsiteX85" fmla="*/ 1127417 w 2695850"/>
                <a:gd name="connsiteY85" fmla="*/ 43171 h 2539072"/>
                <a:gd name="connsiteX86" fmla="*/ 1108253 w 2695850"/>
                <a:gd name="connsiteY86" fmla="*/ 31588 h 2539072"/>
                <a:gd name="connsiteX87" fmla="*/ 1128049 w 2695850"/>
                <a:gd name="connsiteY87" fmla="*/ 13899 h 2539072"/>
                <a:gd name="connsiteX88" fmla="*/ 1125100 w 2695850"/>
                <a:gd name="connsiteY88" fmla="*/ 5686 h 2539072"/>
                <a:gd name="connsiteX89" fmla="*/ 1103409 w 2695850"/>
                <a:gd name="connsiteY89" fmla="*/ 13899 h 2539072"/>
                <a:gd name="connsiteX90" fmla="*/ 1082772 w 2695850"/>
                <a:gd name="connsiteY90" fmla="*/ 0 h 2539072"/>
                <a:gd name="connsiteX91" fmla="*/ 1050973 w 2695850"/>
                <a:gd name="connsiteY91" fmla="*/ 12004 h 2539072"/>
                <a:gd name="connsiteX92" fmla="*/ 1014541 w 2695850"/>
                <a:gd name="connsiteY92" fmla="*/ 14320 h 2539072"/>
                <a:gd name="connsiteX93" fmla="*/ 986322 w 2695850"/>
                <a:gd name="connsiteY93" fmla="*/ 8002 h 2539072"/>
                <a:gd name="connsiteX94" fmla="*/ 973266 w 2695850"/>
                <a:gd name="connsiteY94" fmla="*/ 13688 h 2539072"/>
                <a:gd name="connsiteX95" fmla="*/ 950101 w 2695850"/>
                <a:gd name="connsiteY95" fmla="*/ 11793 h 2539072"/>
                <a:gd name="connsiteX96" fmla="*/ 933254 w 2695850"/>
                <a:gd name="connsiteY96" fmla="*/ 18953 h 2539072"/>
                <a:gd name="connsiteX97" fmla="*/ 911773 w 2695850"/>
                <a:gd name="connsiteY97" fmla="*/ 22322 h 2539072"/>
                <a:gd name="connsiteX98" fmla="*/ 891136 w 2695850"/>
                <a:gd name="connsiteY98" fmla="*/ 16005 h 2539072"/>
                <a:gd name="connsiteX99" fmla="*/ 850282 w 2695850"/>
                <a:gd name="connsiteY99" fmla="*/ 20217 h 2539072"/>
                <a:gd name="connsiteX100" fmla="*/ 820588 w 2695850"/>
                <a:gd name="connsiteY100" fmla="*/ 23165 h 2539072"/>
                <a:gd name="connsiteX101" fmla="*/ 781629 w 2695850"/>
                <a:gd name="connsiteY101" fmla="*/ 28429 h 2539072"/>
                <a:gd name="connsiteX102" fmla="*/ 743723 w 2695850"/>
                <a:gd name="connsiteY102" fmla="*/ 35800 h 2539072"/>
                <a:gd name="connsiteX103" fmla="*/ 720769 w 2695850"/>
                <a:gd name="connsiteY103" fmla="*/ 48225 h 2539072"/>
                <a:gd name="connsiteX104" fmla="*/ 700974 w 2695850"/>
                <a:gd name="connsiteY104" fmla="*/ 51173 h 2539072"/>
                <a:gd name="connsiteX105" fmla="*/ 670649 w 2695850"/>
                <a:gd name="connsiteY105" fmla="*/ 61281 h 2539072"/>
                <a:gd name="connsiteX106" fmla="*/ 654855 w 2695850"/>
                <a:gd name="connsiteY106" fmla="*/ 71390 h 2539072"/>
                <a:gd name="connsiteX107" fmla="*/ 610631 w 2695850"/>
                <a:gd name="connsiteY107" fmla="*/ 70337 h 2539072"/>
                <a:gd name="connsiteX108" fmla="*/ 601575 w 2695850"/>
                <a:gd name="connsiteY108" fmla="*/ 67599 h 2539072"/>
                <a:gd name="connsiteX109" fmla="*/ 579043 w 2695850"/>
                <a:gd name="connsiteY109" fmla="*/ 70969 h 2539072"/>
                <a:gd name="connsiteX110" fmla="*/ 546401 w 2695850"/>
                <a:gd name="connsiteY110" fmla="*/ 72021 h 2539072"/>
                <a:gd name="connsiteX111" fmla="*/ 526606 w 2695850"/>
                <a:gd name="connsiteY111" fmla="*/ 61913 h 2539072"/>
                <a:gd name="connsiteX112" fmla="*/ 503652 w 2695850"/>
                <a:gd name="connsiteY112" fmla="*/ 60439 h 2539072"/>
                <a:gd name="connsiteX113" fmla="*/ 481961 w 2695850"/>
                <a:gd name="connsiteY113" fmla="*/ 91606 h 2539072"/>
                <a:gd name="connsiteX114" fmla="*/ 444897 w 2695850"/>
                <a:gd name="connsiteY114" fmla="*/ 116035 h 2539072"/>
                <a:gd name="connsiteX115" fmla="*/ 397936 w 2695850"/>
                <a:gd name="connsiteY115" fmla="*/ 131829 h 2539072"/>
                <a:gd name="connsiteX116" fmla="*/ 374771 w 2695850"/>
                <a:gd name="connsiteY116" fmla="*/ 150150 h 2539072"/>
                <a:gd name="connsiteX117" fmla="*/ 365716 w 2695850"/>
                <a:gd name="connsiteY117" fmla="*/ 162154 h 2539072"/>
                <a:gd name="connsiteX118" fmla="*/ 349922 w 2695850"/>
                <a:gd name="connsiteY118" fmla="*/ 181317 h 2539072"/>
                <a:gd name="connsiteX119" fmla="*/ 347605 w 2695850"/>
                <a:gd name="connsiteY119" fmla="*/ 199638 h 2539072"/>
                <a:gd name="connsiteX120" fmla="*/ 346131 w 2695850"/>
                <a:gd name="connsiteY120" fmla="*/ 218381 h 2539072"/>
                <a:gd name="connsiteX121" fmla="*/ 322545 w 2695850"/>
                <a:gd name="connsiteY121" fmla="*/ 243441 h 2539072"/>
                <a:gd name="connsiteX122" fmla="*/ 289904 w 2695850"/>
                <a:gd name="connsiteY122" fmla="*/ 258393 h 2539072"/>
                <a:gd name="connsiteX123" fmla="*/ 268845 w 2695850"/>
                <a:gd name="connsiteY123" fmla="*/ 272923 h 2539072"/>
                <a:gd name="connsiteX124" fmla="*/ 227991 w 2695850"/>
                <a:gd name="connsiteY124" fmla="*/ 281558 h 2539072"/>
                <a:gd name="connsiteX125" fmla="*/ 209880 w 2695850"/>
                <a:gd name="connsiteY125" fmla="*/ 294614 h 2539072"/>
                <a:gd name="connsiteX126" fmla="*/ 193033 w 2695850"/>
                <a:gd name="connsiteY126" fmla="*/ 320095 h 2539072"/>
                <a:gd name="connsiteX127" fmla="*/ 161866 w 2695850"/>
                <a:gd name="connsiteY127" fmla="*/ 335047 h 2539072"/>
                <a:gd name="connsiteX128" fmla="*/ 139332 w 2695850"/>
                <a:gd name="connsiteY128" fmla="*/ 372953 h 2539072"/>
                <a:gd name="connsiteX129" fmla="*/ 113430 w 2695850"/>
                <a:gd name="connsiteY129" fmla="*/ 394433 h 2539072"/>
                <a:gd name="connsiteX130" fmla="*/ 86053 w 2695850"/>
                <a:gd name="connsiteY130" fmla="*/ 421389 h 2539072"/>
                <a:gd name="connsiteX131" fmla="*/ 68785 w 2695850"/>
                <a:gd name="connsiteY131" fmla="*/ 448765 h 2539072"/>
                <a:gd name="connsiteX132" fmla="*/ 50464 w 2695850"/>
                <a:gd name="connsiteY132" fmla="*/ 464559 h 2539072"/>
                <a:gd name="connsiteX133" fmla="*/ 38881 w 2695850"/>
                <a:gd name="connsiteY133" fmla="*/ 498254 h 2539072"/>
                <a:gd name="connsiteX134" fmla="*/ 48990 w 2695850"/>
                <a:gd name="connsiteY134" fmla="*/ 491094 h 2539072"/>
                <a:gd name="connsiteX135" fmla="*/ 59519 w 2695850"/>
                <a:gd name="connsiteY135" fmla="*/ 503519 h 2539072"/>
                <a:gd name="connsiteX136" fmla="*/ 71523 w 2695850"/>
                <a:gd name="connsiteY136" fmla="*/ 519313 h 2539072"/>
                <a:gd name="connsiteX137" fmla="*/ 59519 w 2695850"/>
                <a:gd name="connsiteY137" fmla="*/ 527947 h 2539072"/>
                <a:gd name="connsiteX138" fmla="*/ 61836 w 2695850"/>
                <a:gd name="connsiteY138" fmla="*/ 548585 h 2539072"/>
                <a:gd name="connsiteX139" fmla="*/ 68574 w 2695850"/>
                <a:gd name="connsiteY139" fmla="*/ 587544 h 2539072"/>
                <a:gd name="connsiteX140" fmla="*/ 50885 w 2695850"/>
                <a:gd name="connsiteY140" fmla="*/ 619764 h 2539072"/>
                <a:gd name="connsiteX141" fmla="*/ 40356 w 2695850"/>
                <a:gd name="connsiteY141" fmla="*/ 648193 h 2539072"/>
                <a:gd name="connsiteX142" fmla="*/ 17191 w 2695850"/>
                <a:gd name="connsiteY142" fmla="*/ 675149 h 2539072"/>
                <a:gd name="connsiteX143" fmla="*/ 4134 w 2695850"/>
                <a:gd name="connsiteY143" fmla="*/ 684204 h 2539072"/>
                <a:gd name="connsiteX144" fmla="*/ 28141 w 2695850"/>
                <a:gd name="connsiteY144" fmla="*/ 706737 h 2539072"/>
                <a:gd name="connsiteX145" fmla="*/ 24772 w 2695850"/>
                <a:gd name="connsiteY145" fmla="*/ 726954 h 2539072"/>
                <a:gd name="connsiteX146" fmla="*/ 22455 w 2695850"/>
                <a:gd name="connsiteY146" fmla="*/ 773072 h 2539072"/>
                <a:gd name="connsiteX147" fmla="*/ 38881 w 2695850"/>
                <a:gd name="connsiteY147" fmla="*/ 786971 h 2539072"/>
                <a:gd name="connsiteX148" fmla="*/ 60993 w 2695850"/>
                <a:gd name="connsiteY148" fmla="*/ 791183 h 2539072"/>
                <a:gd name="connsiteX149" fmla="*/ 82684 w 2695850"/>
                <a:gd name="connsiteY149" fmla="*/ 811400 h 2539072"/>
                <a:gd name="connsiteX150" fmla="*/ 99531 w 2695850"/>
                <a:gd name="connsiteY150" fmla="*/ 820034 h 2539072"/>
                <a:gd name="connsiteX151" fmla="*/ 131119 w 2695850"/>
                <a:gd name="connsiteY151" fmla="*/ 835828 h 2539072"/>
                <a:gd name="connsiteX152" fmla="*/ 140807 w 2695850"/>
                <a:gd name="connsiteY152" fmla="*/ 853518 h 2539072"/>
                <a:gd name="connsiteX153" fmla="*/ 150494 w 2695850"/>
                <a:gd name="connsiteY153" fmla="*/ 883211 h 2539072"/>
                <a:gd name="connsiteX154" fmla="*/ 161444 w 2695850"/>
                <a:gd name="connsiteY154" fmla="*/ 898584 h 2539072"/>
                <a:gd name="connsiteX155" fmla="*/ 162918 w 2695850"/>
                <a:gd name="connsiteY155" fmla="*/ 910587 h 2539072"/>
                <a:gd name="connsiteX156" fmla="*/ 192190 w 2695850"/>
                <a:gd name="connsiteY156" fmla="*/ 915852 h 2539072"/>
                <a:gd name="connsiteX157" fmla="*/ 225253 w 2695850"/>
                <a:gd name="connsiteY157" fmla="*/ 933541 h 2539072"/>
                <a:gd name="connsiteX158" fmla="*/ 255999 w 2695850"/>
                <a:gd name="connsiteY158" fmla="*/ 950389 h 2539072"/>
                <a:gd name="connsiteX159" fmla="*/ 275162 w 2695850"/>
                <a:gd name="connsiteY159" fmla="*/ 969552 h 2539072"/>
                <a:gd name="connsiteX160" fmla="*/ 310752 w 2695850"/>
                <a:gd name="connsiteY160" fmla="*/ 983030 h 2539072"/>
                <a:gd name="connsiteX161" fmla="*/ 349079 w 2695850"/>
                <a:gd name="connsiteY161" fmla="*/ 996508 h 2539072"/>
                <a:gd name="connsiteX162" fmla="*/ 394145 w 2695850"/>
                <a:gd name="connsiteY162" fmla="*/ 989348 h 2539072"/>
                <a:gd name="connsiteX163" fmla="*/ 440685 w 2695850"/>
                <a:gd name="connsiteY163" fmla="*/ 973553 h 2539072"/>
                <a:gd name="connsiteX164" fmla="*/ 513128 w 2695850"/>
                <a:gd name="connsiteY164" fmla="*/ 965972 h 2539072"/>
                <a:gd name="connsiteX165" fmla="*/ 565986 w 2695850"/>
                <a:gd name="connsiteY165" fmla="*/ 975659 h 2539072"/>
                <a:gd name="connsiteX166" fmla="*/ 586624 w 2695850"/>
                <a:gd name="connsiteY166" fmla="*/ 974606 h 2539072"/>
                <a:gd name="connsiteX167" fmla="*/ 642430 w 2695850"/>
                <a:gd name="connsiteY167" fmla="*/ 952494 h 2539072"/>
                <a:gd name="connsiteX168" fmla="*/ 680757 w 2695850"/>
                <a:gd name="connsiteY168" fmla="*/ 937543 h 2539072"/>
                <a:gd name="connsiteX169" fmla="*/ 710661 w 2695850"/>
                <a:gd name="connsiteY169" fmla="*/ 933331 h 2539072"/>
                <a:gd name="connsiteX170" fmla="*/ 755306 w 2695850"/>
                <a:gd name="connsiteY170" fmla="*/ 916905 h 2539072"/>
                <a:gd name="connsiteX171" fmla="*/ 825432 w 2695850"/>
                <a:gd name="connsiteY171" fmla="*/ 915010 h 2539072"/>
                <a:gd name="connsiteX172" fmla="*/ 854283 w 2695850"/>
                <a:gd name="connsiteY172" fmla="*/ 925539 h 2539072"/>
                <a:gd name="connsiteX173" fmla="*/ 874499 w 2695850"/>
                <a:gd name="connsiteY173" fmla="*/ 961550 h 2539072"/>
                <a:gd name="connsiteX174" fmla="*/ 904192 w 2695850"/>
                <a:gd name="connsiteY174" fmla="*/ 987031 h 2539072"/>
                <a:gd name="connsiteX175" fmla="*/ 930094 w 2695850"/>
                <a:gd name="connsiteY175" fmla="*/ 982609 h 2539072"/>
                <a:gd name="connsiteX176" fmla="*/ 961262 w 2695850"/>
                <a:gd name="connsiteY176" fmla="*/ 979239 h 2539072"/>
                <a:gd name="connsiteX177" fmla="*/ 983374 w 2695850"/>
                <a:gd name="connsiteY177" fmla="*/ 975870 h 2539072"/>
                <a:gd name="connsiteX178" fmla="*/ 1010750 w 2695850"/>
                <a:gd name="connsiteY178" fmla="*/ 978186 h 2539072"/>
                <a:gd name="connsiteX179" fmla="*/ 1042550 w 2695850"/>
                <a:gd name="connsiteY179" fmla="*/ 1007879 h 2539072"/>
                <a:gd name="connsiteX180" fmla="*/ 1048656 w 2695850"/>
                <a:gd name="connsiteY180" fmla="*/ 1053577 h 2539072"/>
                <a:gd name="connsiteX181" fmla="*/ 1038127 w 2695850"/>
                <a:gd name="connsiteY181" fmla="*/ 1075268 h 2539072"/>
                <a:gd name="connsiteX182" fmla="*/ 1031809 w 2695850"/>
                <a:gd name="connsiteY182" fmla="*/ 1102644 h 2539072"/>
                <a:gd name="connsiteX183" fmla="*/ 1026965 w 2695850"/>
                <a:gd name="connsiteY183" fmla="*/ 1123703 h 2539072"/>
                <a:gd name="connsiteX184" fmla="*/ 1019174 w 2695850"/>
                <a:gd name="connsiteY184" fmla="*/ 1146868 h 2539072"/>
                <a:gd name="connsiteX185" fmla="*/ 1001905 w 2695850"/>
                <a:gd name="connsiteY185" fmla="*/ 1165189 h 2539072"/>
                <a:gd name="connsiteX186" fmla="*/ 1023386 w 2695850"/>
                <a:gd name="connsiteY186" fmla="*/ 1196778 h 2539072"/>
                <a:gd name="connsiteX187" fmla="*/ 1077297 w 2695850"/>
                <a:gd name="connsiteY187" fmla="*/ 1255322 h 2539072"/>
                <a:gd name="connsiteX188" fmla="*/ 1115624 w 2695850"/>
                <a:gd name="connsiteY188" fmla="*/ 1298071 h 2539072"/>
                <a:gd name="connsiteX189" fmla="*/ 1135419 w 2695850"/>
                <a:gd name="connsiteY189" fmla="*/ 1328817 h 2539072"/>
                <a:gd name="connsiteX190" fmla="*/ 1145527 w 2695850"/>
                <a:gd name="connsiteY190" fmla="*/ 1363354 h 2539072"/>
                <a:gd name="connsiteX191" fmla="*/ 1172904 w 2695850"/>
                <a:gd name="connsiteY191" fmla="*/ 1409052 h 2539072"/>
                <a:gd name="connsiteX192" fmla="*/ 1179222 w 2695850"/>
                <a:gd name="connsiteY192" fmla="*/ 1449906 h 2539072"/>
                <a:gd name="connsiteX193" fmla="*/ 1170167 w 2695850"/>
                <a:gd name="connsiteY193" fmla="*/ 1472860 h 2539072"/>
                <a:gd name="connsiteX194" fmla="*/ 1192278 w 2695850"/>
                <a:gd name="connsiteY194" fmla="*/ 1517084 h 2539072"/>
                <a:gd name="connsiteX195" fmla="*/ 1201965 w 2695850"/>
                <a:gd name="connsiteY195" fmla="*/ 1560255 h 2539072"/>
                <a:gd name="connsiteX196" fmla="*/ 1180274 w 2695850"/>
                <a:gd name="connsiteY196" fmla="*/ 1599635 h 2539072"/>
                <a:gd name="connsiteX197" fmla="*/ 1159637 w 2695850"/>
                <a:gd name="connsiteY197" fmla="*/ 1617324 h 2539072"/>
                <a:gd name="connsiteX198" fmla="*/ 1144685 w 2695850"/>
                <a:gd name="connsiteY198" fmla="*/ 1638383 h 2539072"/>
                <a:gd name="connsiteX199" fmla="*/ 1137525 w 2695850"/>
                <a:gd name="connsiteY199" fmla="*/ 1656073 h 2539072"/>
                <a:gd name="connsiteX200" fmla="*/ 1134155 w 2695850"/>
                <a:gd name="connsiteY200" fmla="*/ 1681554 h 2539072"/>
                <a:gd name="connsiteX201" fmla="*/ 1122152 w 2695850"/>
                <a:gd name="connsiteY201" fmla="*/ 1705561 h 2539072"/>
                <a:gd name="connsiteX202" fmla="*/ 1115834 w 2695850"/>
                <a:gd name="connsiteY202" fmla="*/ 1728094 h 2539072"/>
                <a:gd name="connsiteX203" fmla="*/ 1110569 w 2695850"/>
                <a:gd name="connsiteY203" fmla="*/ 1749785 h 2539072"/>
                <a:gd name="connsiteX204" fmla="*/ 1108253 w 2695850"/>
                <a:gd name="connsiteY204" fmla="*/ 1787691 h 2539072"/>
                <a:gd name="connsiteX205" fmla="*/ 1126995 w 2695850"/>
                <a:gd name="connsiteY205" fmla="*/ 1839075 h 2539072"/>
                <a:gd name="connsiteX206" fmla="*/ 1156689 w 2695850"/>
                <a:gd name="connsiteY206" fmla="*/ 1884773 h 2539072"/>
                <a:gd name="connsiteX207" fmla="*/ 1181117 w 2695850"/>
                <a:gd name="connsiteY207" fmla="*/ 1942263 h 2539072"/>
                <a:gd name="connsiteX208" fmla="*/ 1218602 w 2695850"/>
                <a:gd name="connsiteY208" fmla="*/ 1995542 h 2539072"/>
                <a:gd name="connsiteX209" fmla="*/ 1219023 w 2695850"/>
                <a:gd name="connsiteY209" fmla="*/ 2025867 h 2539072"/>
                <a:gd name="connsiteX210" fmla="*/ 1229552 w 2695850"/>
                <a:gd name="connsiteY210" fmla="*/ 2099784 h 2539072"/>
                <a:gd name="connsiteX211" fmla="*/ 1235659 w 2695850"/>
                <a:gd name="connsiteY211" fmla="*/ 2141481 h 2539072"/>
                <a:gd name="connsiteX212" fmla="*/ 1245768 w 2695850"/>
                <a:gd name="connsiteY212" fmla="*/ 2190969 h 2539072"/>
                <a:gd name="connsiteX213" fmla="*/ 1284727 w 2695850"/>
                <a:gd name="connsiteY213" fmla="*/ 2250987 h 2539072"/>
                <a:gd name="connsiteX214" fmla="*/ 1319895 w 2695850"/>
                <a:gd name="connsiteY214" fmla="*/ 2290367 h 2539072"/>
                <a:gd name="connsiteX215" fmla="*/ 1347693 w 2695850"/>
                <a:gd name="connsiteY215" fmla="*/ 2359019 h 2539072"/>
                <a:gd name="connsiteX216" fmla="*/ 1379913 w 2695850"/>
                <a:gd name="connsiteY216" fmla="*/ 2403664 h 2539072"/>
                <a:gd name="connsiteX217" fmla="*/ 1381387 w 2695850"/>
                <a:gd name="connsiteY217" fmla="*/ 2443044 h 2539072"/>
                <a:gd name="connsiteX218" fmla="*/ 1362645 w 2695850"/>
                <a:gd name="connsiteY218" fmla="*/ 2451678 h 2539072"/>
                <a:gd name="connsiteX219" fmla="*/ 1380966 w 2695850"/>
                <a:gd name="connsiteY219" fmla="*/ 2484741 h 2539072"/>
                <a:gd name="connsiteX220" fmla="*/ 1386652 w 2695850"/>
                <a:gd name="connsiteY220" fmla="*/ 2510643 h 2539072"/>
                <a:gd name="connsiteX221" fmla="*/ 1399709 w 2695850"/>
                <a:gd name="connsiteY221" fmla="*/ 2518856 h 2539072"/>
                <a:gd name="connsiteX222" fmla="*/ 1411712 w 2695850"/>
                <a:gd name="connsiteY222" fmla="*/ 2519277 h 2539072"/>
                <a:gd name="connsiteX223" fmla="*/ 1440563 w 2695850"/>
                <a:gd name="connsiteY223" fmla="*/ 2539073 h 2539072"/>
                <a:gd name="connsiteX224" fmla="*/ 1485208 w 2695850"/>
                <a:gd name="connsiteY224" fmla="*/ 2526648 h 2539072"/>
                <a:gd name="connsiteX225" fmla="*/ 1536171 w 2695850"/>
                <a:gd name="connsiteY225" fmla="*/ 2525174 h 2539072"/>
                <a:gd name="connsiteX226" fmla="*/ 1566916 w 2695850"/>
                <a:gd name="connsiteY226" fmla="*/ 2506853 h 2539072"/>
                <a:gd name="connsiteX227" fmla="*/ 1597662 w 2695850"/>
                <a:gd name="connsiteY227" fmla="*/ 2509801 h 2539072"/>
                <a:gd name="connsiteX228" fmla="*/ 1625460 w 2695850"/>
                <a:gd name="connsiteY228" fmla="*/ 2502220 h 2539072"/>
                <a:gd name="connsiteX229" fmla="*/ 1656627 w 2695850"/>
                <a:gd name="connsiteY229" fmla="*/ 2513381 h 2539072"/>
                <a:gd name="connsiteX230" fmla="*/ 1684425 w 2695850"/>
                <a:gd name="connsiteY230" fmla="*/ 2501377 h 2539072"/>
                <a:gd name="connsiteX231" fmla="*/ 1706115 w 2695850"/>
                <a:gd name="connsiteY231" fmla="*/ 2506642 h 2539072"/>
                <a:gd name="connsiteX232" fmla="*/ 1722963 w 2695850"/>
                <a:gd name="connsiteY232" fmla="*/ 2492743 h 2539072"/>
                <a:gd name="connsiteX233" fmla="*/ 1764238 w 2695850"/>
                <a:gd name="connsiteY233" fmla="*/ 2490216 h 2539072"/>
                <a:gd name="connsiteX234" fmla="*/ 1835418 w 2695850"/>
                <a:gd name="connsiteY234" fmla="*/ 2435463 h 2539072"/>
                <a:gd name="connsiteX235" fmla="*/ 1903648 w 2695850"/>
                <a:gd name="connsiteY235" fmla="*/ 2365758 h 2539072"/>
                <a:gd name="connsiteX236" fmla="*/ 1948293 w 2695850"/>
                <a:gd name="connsiteY236" fmla="*/ 2303845 h 2539072"/>
                <a:gd name="connsiteX237" fmla="*/ 2001994 w 2695850"/>
                <a:gd name="connsiteY237" fmla="*/ 2233719 h 2539072"/>
                <a:gd name="connsiteX238" fmla="*/ 2010628 w 2695850"/>
                <a:gd name="connsiteY238" fmla="*/ 2175596 h 2539072"/>
                <a:gd name="connsiteX239" fmla="*/ 1997571 w 2695850"/>
                <a:gd name="connsiteY239" fmla="*/ 2155379 h 2539072"/>
                <a:gd name="connsiteX240" fmla="*/ 2013365 w 2695850"/>
                <a:gd name="connsiteY240" fmla="*/ 2129056 h 2539072"/>
                <a:gd name="connsiteX241" fmla="*/ 2076752 w 2695850"/>
                <a:gd name="connsiteY241" fmla="*/ 2106944 h 2539072"/>
                <a:gd name="connsiteX242" fmla="*/ 2113816 w 2695850"/>
                <a:gd name="connsiteY242" fmla="*/ 2063773 h 2539072"/>
                <a:gd name="connsiteX243" fmla="*/ 2113816 w 2695850"/>
                <a:gd name="connsiteY243" fmla="*/ 2002702 h 2539072"/>
                <a:gd name="connsiteX244" fmla="*/ 2093599 w 2695850"/>
                <a:gd name="connsiteY244" fmla="*/ 1944158 h 2539072"/>
                <a:gd name="connsiteX245" fmla="*/ 2093178 w 2695850"/>
                <a:gd name="connsiteY245" fmla="*/ 1895302 h 2539072"/>
                <a:gd name="connsiteX246" fmla="*/ 2126873 w 2695850"/>
                <a:gd name="connsiteY246" fmla="*/ 1865609 h 2539072"/>
                <a:gd name="connsiteX247" fmla="*/ 2165832 w 2695850"/>
                <a:gd name="connsiteY247" fmla="*/ 1833389 h 2539072"/>
                <a:gd name="connsiteX248" fmla="*/ 2209423 w 2695850"/>
                <a:gd name="connsiteY248" fmla="*/ 1803064 h 2539072"/>
                <a:gd name="connsiteX249" fmla="*/ 2272811 w 2695850"/>
                <a:gd name="connsiteY249" fmla="*/ 1775687 h 2539072"/>
                <a:gd name="connsiteX250" fmla="*/ 2317877 w 2695850"/>
                <a:gd name="connsiteY250" fmla="*/ 1715669 h 2539072"/>
                <a:gd name="connsiteX251" fmla="*/ 2326090 w 2695850"/>
                <a:gd name="connsiteY251" fmla="*/ 1676289 h 2539072"/>
                <a:gd name="connsiteX252" fmla="*/ 2315982 w 2695850"/>
                <a:gd name="connsiteY252" fmla="*/ 1635014 h 2539072"/>
                <a:gd name="connsiteX253" fmla="*/ 2309664 w 2695850"/>
                <a:gd name="connsiteY253" fmla="*/ 1571626 h 2539072"/>
                <a:gd name="connsiteX254" fmla="*/ 2303768 w 2695850"/>
                <a:gd name="connsiteY254" fmla="*/ 1527824 h 2539072"/>
                <a:gd name="connsiteX255" fmla="*/ 2270705 w 2695850"/>
                <a:gd name="connsiteY255" fmla="*/ 1508239 h 2539072"/>
                <a:gd name="connsiteX256" fmla="*/ 2268178 w 2695850"/>
                <a:gd name="connsiteY256" fmla="*/ 1470754 h 2539072"/>
                <a:gd name="connsiteX257" fmla="*/ 2253858 w 2695850"/>
                <a:gd name="connsiteY257" fmla="*/ 1438534 h 2539072"/>
                <a:gd name="connsiteX258" fmla="*/ 2256596 w 2695850"/>
                <a:gd name="connsiteY258" fmla="*/ 1416422 h 2539072"/>
                <a:gd name="connsiteX259" fmla="*/ 2258070 w 2695850"/>
                <a:gd name="connsiteY259" fmla="*/ 1394310 h 2539072"/>
                <a:gd name="connsiteX260" fmla="*/ 2234063 w 2695850"/>
                <a:gd name="connsiteY260" fmla="*/ 1378516 h 2539072"/>
                <a:gd name="connsiteX261" fmla="*/ 2234694 w 2695850"/>
                <a:gd name="connsiteY261" fmla="*/ 1331976 h 2539072"/>
                <a:gd name="connsiteX262" fmla="*/ 2243750 w 2695850"/>
                <a:gd name="connsiteY262" fmla="*/ 1304599 h 2539072"/>
                <a:gd name="connsiteX263" fmla="*/ 2259544 w 2695850"/>
                <a:gd name="connsiteY263" fmla="*/ 1293438 h 2539072"/>
                <a:gd name="connsiteX264" fmla="*/ 2274917 w 2695850"/>
                <a:gd name="connsiteY264" fmla="*/ 1260797 h 2539072"/>
                <a:gd name="connsiteX265" fmla="*/ 2280603 w 2695850"/>
                <a:gd name="connsiteY265" fmla="*/ 1234894 h 2539072"/>
                <a:gd name="connsiteX266" fmla="*/ 2300820 w 2695850"/>
                <a:gd name="connsiteY266" fmla="*/ 1231525 h 2539072"/>
                <a:gd name="connsiteX267" fmla="*/ 2326722 w 2695850"/>
                <a:gd name="connsiteY267" fmla="*/ 1201621 h 2539072"/>
                <a:gd name="connsiteX268" fmla="*/ 2386740 w 2695850"/>
                <a:gd name="connsiteY268" fmla="*/ 1138234 h 2539072"/>
                <a:gd name="connsiteX269" fmla="*/ 2457919 w 2695850"/>
                <a:gd name="connsiteY269" fmla="*/ 1085797 h 2539072"/>
                <a:gd name="connsiteX270" fmla="*/ 2504038 w 2695850"/>
                <a:gd name="connsiteY270" fmla="*/ 1059474 h 2539072"/>
                <a:gd name="connsiteX271" fmla="*/ 2563003 w 2695850"/>
                <a:gd name="connsiteY271" fmla="*/ 1006616 h 2539072"/>
                <a:gd name="connsiteX272" fmla="*/ 2600067 w 2695850"/>
                <a:gd name="connsiteY272" fmla="*/ 957127 h 2539072"/>
                <a:gd name="connsiteX273" fmla="*/ 2613966 w 2695850"/>
                <a:gd name="connsiteY273" fmla="*/ 926803 h 2539072"/>
                <a:gd name="connsiteX274" fmla="*/ 2635866 w 2695850"/>
                <a:gd name="connsiteY274" fmla="*/ 896057 h 2539072"/>
                <a:gd name="connsiteX275" fmla="*/ 2645554 w 2695850"/>
                <a:gd name="connsiteY275" fmla="*/ 875419 h 2539072"/>
                <a:gd name="connsiteX276" fmla="*/ 2662401 w 2695850"/>
                <a:gd name="connsiteY276" fmla="*/ 851833 h 2539072"/>
                <a:gd name="connsiteX277" fmla="*/ 2672509 w 2695850"/>
                <a:gd name="connsiteY277" fmla="*/ 834565 h 2539072"/>
                <a:gd name="connsiteX278" fmla="*/ 2676300 w 2695850"/>
                <a:gd name="connsiteY278" fmla="*/ 807188 h 2539072"/>
                <a:gd name="connsiteX279" fmla="*/ 2693989 w 2695850"/>
                <a:gd name="connsiteY279" fmla="*/ 802766 h 2539072"/>
                <a:gd name="connsiteX280" fmla="*/ 2679038 w 2695850"/>
                <a:gd name="connsiteY280" fmla="*/ 790762 h 2539072"/>
                <a:gd name="connsiteX281" fmla="*/ 1836681 w 2695850"/>
                <a:gd name="connsiteY281" fmla="*/ 1137813 h 2539072"/>
                <a:gd name="connsiteX282" fmla="*/ 1852896 w 2695850"/>
                <a:gd name="connsiteY282" fmla="*/ 1131074 h 2539072"/>
                <a:gd name="connsiteX283" fmla="*/ 1847000 w 2695850"/>
                <a:gd name="connsiteY283" fmla="*/ 1145394 h 2539072"/>
                <a:gd name="connsiteX284" fmla="*/ 1834996 w 2695850"/>
                <a:gd name="connsiteY284" fmla="*/ 1152554 h 2539072"/>
                <a:gd name="connsiteX285" fmla="*/ 1836681 w 2695850"/>
                <a:gd name="connsiteY285" fmla="*/ 1137813 h 2539072"/>
                <a:gd name="connsiteX286" fmla="*/ 1819833 w 2695850"/>
                <a:gd name="connsiteY286" fmla="*/ 1767053 h 2539072"/>
                <a:gd name="connsiteX287" fmla="*/ 1802566 w 2695850"/>
                <a:gd name="connsiteY287" fmla="*/ 1773160 h 2539072"/>
                <a:gd name="connsiteX288" fmla="*/ 1786140 w 2695850"/>
                <a:gd name="connsiteY288" fmla="*/ 1778004 h 2539072"/>
                <a:gd name="connsiteX289" fmla="*/ 1770767 w 2695850"/>
                <a:gd name="connsiteY289" fmla="*/ 1794851 h 2539072"/>
                <a:gd name="connsiteX290" fmla="*/ 1760237 w 2695850"/>
                <a:gd name="connsiteY290" fmla="*/ 1798641 h 2539072"/>
                <a:gd name="connsiteX291" fmla="*/ 1777084 w 2695850"/>
                <a:gd name="connsiteY291" fmla="*/ 1775055 h 2539072"/>
                <a:gd name="connsiteX292" fmla="*/ 1790983 w 2695850"/>
                <a:gd name="connsiteY292" fmla="*/ 1767895 h 2539072"/>
                <a:gd name="connsiteX293" fmla="*/ 1807199 w 2695850"/>
                <a:gd name="connsiteY293" fmla="*/ 1756734 h 2539072"/>
                <a:gd name="connsiteX294" fmla="*/ 1832680 w 2695850"/>
                <a:gd name="connsiteY294" fmla="*/ 1760104 h 2539072"/>
                <a:gd name="connsiteX295" fmla="*/ 1819833 w 2695850"/>
                <a:gd name="connsiteY295" fmla="*/ 1767053 h 2539072"/>
                <a:gd name="connsiteX296" fmla="*/ 1823625 w 2695850"/>
                <a:gd name="connsiteY296" fmla="*/ 1192566 h 2539072"/>
                <a:gd name="connsiteX297" fmla="*/ 1833312 w 2695850"/>
                <a:gd name="connsiteY297" fmla="*/ 1194040 h 2539072"/>
                <a:gd name="connsiteX298" fmla="*/ 1832680 w 2695850"/>
                <a:gd name="connsiteY298" fmla="*/ 1212361 h 2539072"/>
                <a:gd name="connsiteX299" fmla="*/ 1822993 w 2695850"/>
                <a:gd name="connsiteY299" fmla="*/ 1210466 h 2539072"/>
                <a:gd name="connsiteX300" fmla="*/ 1823625 w 2695850"/>
                <a:gd name="connsiteY300" fmla="*/ 1192566 h 2539072"/>
                <a:gd name="connsiteX301" fmla="*/ 1911019 w 2695850"/>
                <a:gd name="connsiteY301" fmla="*/ 1452854 h 2539072"/>
                <a:gd name="connsiteX302" fmla="*/ 1893750 w 2695850"/>
                <a:gd name="connsiteY302" fmla="*/ 1444641 h 2539072"/>
                <a:gd name="connsiteX303" fmla="*/ 1889960 w 2695850"/>
                <a:gd name="connsiteY303" fmla="*/ 1434533 h 2539072"/>
                <a:gd name="connsiteX304" fmla="*/ 1882168 w 2695850"/>
                <a:gd name="connsiteY304" fmla="*/ 1419581 h 2539072"/>
                <a:gd name="connsiteX305" fmla="*/ 1875850 w 2695850"/>
                <a:gd name="connsiteY305" fmla="*/ 1401892 h 2539072"/>
                <a:gd name="connsiteX306" fmla="*/ 1863847 w 2695850"/>
                <a:gd name="connsiteY306" fmla="*/ 1388414 h 2539072"/>
                <a:gd name="connsiteX307" fmla="*/ 1847631 w 2695850"/>
                <a:gd name="connsiteY307" fmla="*/ 1372620 h 2539072"/>
                <a:gd name="connsiteX308" fmla="*/ 1834996 w 2695850"/>
                <a:gd name="connsiteY308" fmla="*/ 1349666 h 2539072"/>
                <a:gd name="connsiteX309" fmla="*/ 1840682 w 2695850"/>
                <a:gd name="connsiteY309" fmla="*/ 1333871 h 2539072"/>
                <a:gd name="connsiteX310" fmla="*/ 1826783 w 2695850"/>
                <a:gd name="connsiteY310" fmla="*/ 1314076 h 2539072"/>
                <a:gd name="connsiteX311" fmla="*/ 1833522 w 2695850"/>
                <a:gd name="connsiteY311" fmla="*/ 1295334 h 2539072"/>
                <a:gd name="connsiteX312" fmla="*/ 1834996 w 2695850"/>
                <a:gd name="connsiteY312" fmla="*/ 1275749 h 2539072"/>
                <a:gd name="connsiteX313" fmla="*/ 1837313 w 2695850"/>
                <a:gd name="connsiteY313" fmla="*/ 1252584 h 2539072"/>
                <a:gd name="connsiteX314" fmla="*/ 1844894 w 2695850"/>
                <a:gd name="connsiteY314" fmla="*/ 1278908 h 2539072"/>
                <a:gd name="connsiteX315" fmla="*/ 1852686 w 2695850"/>
                <a:gd name="connsiteY315" fmla="*/ 1295755 h 2539072"/>
                <a:gd name="connsiteX316" fmla="*/ 1853107 w 2695850"/>
                <a:gd name="connsiteY316" fmla="*/ 1310707 h 2539072"/>
                <a:gd name="connsiteX317" fmla="*/ 1857529 w 2695850"/>
                <a:gd name="connsiteY317" fmla="*/ 1323131 h 2539072"/>
                <a:gd name="connsiteX318" fmla="*/ 1858372 w 2695850"/>
                <a:gd name="connsiteY318" fmla="*/ 1336609 h 2539072"/>
                <a:gd name="connsiteX319" fmla="*/ 1856476 w 2695850"/>
                <a:gd name="connsiteY319" fmla="*/ 1353877 h 2539072"/>
                <a:gd name="connsiteX320" fmla="*/ 1867006 w 2695850"/>
                <a:gd name="connsiteY320" fmla="*/ 1365881 h 2539072"/>
                <a:gd name="connsiteX321" fmla="*/ 1880062 w 2695850"/>
                <a:gd name="connsiteY321" fmla="*/ 1374094 h 2539072"/>
                <a:gd name="connsiteX322" fmla="*/ 1895857 w 2695850"/>
                <a:gd name="connsiteY322" fmla="*/ 1396627 h 2539072"/>
                <a:gd name="connsiteX323" fmla="*/ 1901121 w 2695850"/>
                <a:gd name="connsiteY323" fmla="*/ 1421055 h 2539072"/>
                <a:gd name="connsiteX324" fmla="*/ 1915441 w 2695850"/>
                <a:gd name="connsiteY324" fmla="*/ 1444220 h 2539072"/>
                <a:gd name="connsiteX325" fmla="*/ 1911019 w 2695850"/>
                <a:gd name="connsiteY325" fmla="*/ 1452854 h 2539072"/>
                <a:gd name="connsiteX326" fmla="*/ 1915863 w 2695850"/>
                <a:gd name="connsiteY326" fmla="*/ 1067266 h 2539072"/>
                <a:gd name="connsiteX327" fmla="*/ 1889328 w 2695850"/>
                <a:gd name="connsiteY327" fmla="*/ 1085587 h 2539072"/>
                <a:gd name="connsiteX328" fmla="*/ 1877746 w 2695850"/>
                <a:gd name="connsiteY328" fmla="*/ 1088535 h 2539072"/>
                <a:gd name="connsiteX329" fmla="*/ 1895436 w 2695850"/>
                <a:gd name="connsiteY329" fmla="*/ 1067897 h 2539072"/>
                <a:gd name="connsiteX330" fmla="*/ 1913757 w 2695850"/>
                <a:gd name="connsiteY330" fmla="*/ 1056947 h 2539072"/>
                <a:gd name="connsiteX331" fmla="*/ 1915863 w 2695850"/>
                <a:gd name="connsiteY331" fmla="*/ 1067266 h 2539072"/>
                <a:gd name="connsiteX332" fmla="*/ 2017156 w 2695850"/>
                <a:gd name="connsiteY332" fmla="*/ 1214257 h 2539072"/>
                <a:gd name="connsiteX333" fmla="*/ 1997361 w 2695850"/>
                <a:gd name="connsiteY333" fmla="*/ 1219943 h 2539072"/>
                <a:gd name="connsiteX334" fmla="*/ 1974827 w 2695850"/>
                <a:gd name="connsiteY334" fmla="*/ 1221838 h 2539072"/>
                <a:gd name="connsiteX335" fmla="*/ 1952294 w 2695850"/>
                <a:gd name="connsiteY335" fmla="*/ 1216152 h 2539072"/>
                <a:gd name="connsiteX336" fmla="*/ 1937974 w 2695850"/>
                <a:gd name="connsiteY336" fmla="*/ 1227313 h 2539072"/>
                <a:gd name="connsiteX337" fmla="*/ 1934184 w 2695850"/>
                <a:gd name="connsiteY337" fmla="*/ 1203727 h 2539072"/>
                <a:gd name="connsiteX338" fmla="*/ 1940922 w 2695850"/>
                <a:gd name="connsiteY338" fmla="*/ 1171086 h 2539072"/>
                <a:gd name="connsiteX339" fmla="*/ 1942818 w 2695850"/>
                <a:gd name="connsiteY339" fmla="*/ 1133180 h 2539072"/>
                <a:gd name="connsiteX340" fmla="*/ 1983251 w 2695850"/>
                <a:gd name="connsiteY340" fmla="*/ 1128968 h 2539072"/>
                <a:gd name="connsiteX341" fmla="*/ 2027475 w 2695850"/>
                <a:gd name="connsiteY341" fmla="*/ 1136128 h 2539072"/>
                <a:gd name="connsiteX342" fmla="*/ 2030423 w 2695850"/>
                <a:gd name="connsiteY342" fmla="*/ 1146236 h 2539072"/>
                <a:gd name="connsiteX343" fmla="*/ 2024526 w 2695850"/>
                <a:gd name="connsiteY343" fmla="*/ 1169401 h 2539072"/>
                <a:gd name="connsiteX344" fmla="*/ 2014418 w 2695850"/>
                <a:gd name="connsiteY344" fmla="*/ 1191092 h 2539072"/>
                <a:gd name="connsiteX345" fmla="*/ 1983672 w 2695850"/>
                <a:gd name="connsiteY345" fmla="*/ 1198252 h 2539072"/>
                <a:gd name="connsiteX346" fmla="*/ 1996518 w 2695850"/>
                <a:gd name="connsiteY346" fmla="*/ 1207939 h 2539072"/>
                <a:gd name="connsiteX347" fmla="*/ 2017156 w 2695850"/>
                <a:gd name="connsiteY347" fmla="*/ 1214257 h 2539072"/>
                <a:gd name="connsiteX348" fmla="*/ 2096548 w 2695850"/>
                <a:gd name="connsiteY348" fmla="*/ 1677131 h 2539072"/>
                <a:gd name="connsiteX349" fmla="*/ 2086439 w 2695850"/>
                <a:gd name="connsiteY349" fmla="*/ 1668497 h 2539072"/>
                <a:gd name="connsiteX350" fmla="*/ 2073383 w 2695850"/>
                <a:gd name="connsiteY350" fmla="*/ 1672288 h 2539072"/>
                <a:gd name="connsiteX351" fmla="*/ 2064328 w 2695850"/>
                <a:gd name="connsiteY351" fmla="*/ 1663233 h 2539072"/>
                <a:gd name="connsiteX352" fmla="*/ 2058010 w 2695850"/>
                <a:gd name="connsiteY352" fmla="*/ 1649334 h 2539072"/>
                <a:gd name="connsiteX353" fmla="*/ 2055062 w 2695850"/>
                <a:gd name="connsiteY353" fmla="*/ 1629749 h 2539072"/>
                <a:gd name="connsiteX354" fmla="*/ 2046007 w 2695850"/>
                <a:gd name="connsiteY354" fmla="*/ 1605110 h 2539072"/>
                <a:gd name="connsiteX355" fmla="*/ 2047481 w 2695850"/>
                <a:gd name="connsiteY355" fmla="*/ 1581103 h 2539072"/>
                <a:gd name="connsiteX356" fmla="*/ 2048113 w 2695850"/>
                <a:gd name="connsiteY356" fmla="*/ 1558991 h 2539072"/>
                <a:gd name="connsiteX357" fmla="*/ 2046217 w 2695850"/>
                <a:gd name="connsiteY357" fmla="*/ 1533089 h 2539072"/>
                <a:gd name="connsiteX358" fmla="*/ 2042005 w 2695850"/>
                <a:gd name="connsiteY358" fmla="*/ 1510977 h 2539072"/>
                <a:gd name="connsiteX359" fmla="*/ 2031476 w 2695850"/>
                <a:gd name="connsiteY359" fmla="*/ 1487391 h 2539072"/>
                <a:gd name="connsiteX360" fmla="*/ 2046849 w 2695850"/>
                <a:gd name="connsiteY360" fmla="*/ 1489286 h 2539072"/>
                <a:gd name="connsiteX361" fmla="*/ 2062643 w 2695850"/>
                <a:gd name="connsiteY361" fmla="*/ 1514767 h 2539072"/>
                <a:gd name="connsiteX362" fmla="*/ 2063696 w 2695850"/>
                <a:gd name="connsiteY362" fmla="*/ 1540249 h 2539072"/>
                <a:gd name="connsiteX363" fmla="*/ 2076752 w 2695850"/>
                <a:gd name="connsiteY363" fmla="*/ 1560465 h 2539072"/>
                <a:gd name="connsiteX364" fmla="*/ 2070013 w 2695850"/>
                <a:gd name="connsiteY364" fmla="*/ 1581524 h 2539072"/>
                <a:gd name="connsiteX365" fmla="*/ 2072330 w 2695850"/>
                <a:gd name="connsiteY365" fmla="*/ 1603636 h 2539072"/>
                <a:gd name="connsiteX366" fmla="*/ 2070013 w 2695850"/>
                <a:gd name="connsiteY366" fmla="*/ 1633961 h 2539072"/>
                <a:gd name="connsiteX367" fmla="*/ 2086229 w 2695850"/>
                <a:gd name="connsiteY367" fmla="*/ 1653124 h 2539072"/>
                <a:gd name="connsiteX368" fmla="*/ 2096548 w 2695850"/>
                <a:gd name="connsiteY368" fmla="*/ 1677131 h 253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Lst>
              <a:rect l="l" t="t" r="r" b="b"/>
              <a:pathLst>
                <a:path w="2695850" h="2539072">
                  <a:moveTo>
                    <a:pt x="2679038" y="790762"/>
                  </a:moveTo>
                  <a:cubicBezTo>
                    <a:pt x="2688725" y="790762"/>
                    <a:pt x="2692515" y="773072"/>
                    <a:pt x="2682407" y="773072"/>
                  </a:cubicBezTo>
                  <a:cubicBezTo>
                    <a:pt x="2692515" y="773072"/>
                    <a:pt x="2691041" y="756857"/>
                    <a:pt x="2682407" y="756857"/>
                  </a:cubicBezTo>
                  <a:cubicBezTo>
                    <a:pt x="2672720" y="756857"/>
                    <a:pt x="2671246" y="751592"/>
                    <a:pt x="2661348" y="751592"/>
                  </a:cubicBezTo>
                  <a:cubicBezTo>
                    <a:pt x="2650819" y="751592"/>
                    <a:pt x="2652293" y="764017"/>
                    <a:pt x="2645975" y="764017"/>
                  </a:cubicBezTo>
                  <a:cubicBezTo>
                    <a:pt x="2651871" y="764017"/>
                    <a:pt x="2611860" y="771177"/>
                    <a:pt x="2604700" y="771177"/>
                  </a:cubicBezTo>
                  <a:cubicBezTo>
                    <a:pt x="2612070" y="771177"/>
                    <a:pt x="2603436" y="771598"/>
                    <a:pt x="2587431" y="771598"/>
                  </a:cubicBezTo>
                  <a:cubicBezTo>
                    <a:pt x="2576270" y="760648"/>
                    <a:pt x="2572901" y="773494"/>
                    <a:pt x="2564898" y="773494"/>
                  </a:cubicBezTo>
                  <a:cubicBezTo>
                    <a:pt x="2572690" y="773494"/>
                    <a:pt x="2550578" y="773072"/>
                    <a:pt x="2538996" y="773072"/>
                  </a:cubicBezTo>
                  <a:cubicBezTo>
                    <a:pt x="2526992" y="773072"/>
                    <a:pt x="2524044" y="779811"/>
                    <a:pt x="2515831" y="779811"/>
                  </a:cubicBezTo>
                  <a:cubicBezTo>
                    <a:pt x="2524044" y="779811"/>
                    <a:pt x="2500458" y="785497"/>
                    <a:pt x="2489928" y="785497"/>
                  </a:cubicBezTo>
                  <a:cubicBezTo>
                    <a:pt x="2479820" y="785497"/>
                    <a:pt x="2470765" y="782128"/>
                    <a:pt x="2460235" y="782128"/>
                  </a:cubicBezTo>
                  <a:cubicBezTo>
                    <a:pt x="2450548" y="782128"/>
                    <a:pt x="2442546" y="792236"/>
                    <a:pt x="2425699" y="792236"/>
                  </a:cubicBezTo>
                  <a:cubicBezTo>
                    <a:pt x="2408851" y="792236"/>
                    <a:pt x="2406114" y="787814"/>
                    <a:pt x="2394953" y="777284"/>
                  </a:cubicBezTo>
                  <a:cubicBezTo>
                    <a:pt x="2394953" y="761911"/>
                    <a:pt x="2378737" y="751382"/>
                    <a:pt x="2368208" y="751382"/>
                  </a:cubicBezTo>
                  <a:cubicBezTo>
                    <a:pt x="2358521" y="751382"/>
                    <a:pt x="2351993" y="753277"/>
                    <a:pt x="2345675" y="753277"/>
                  </a:cubicBezTo>
                  <a:cubicBezTo>
                    <a:pt x="2351361" y="753277"/>
                    <a:pt x="2378737" y="742748"/>
                    <a:pt x="2370525" y="742748"/>
                  </a:cubicBezTo>
                  <a:cubicBezTo>
                    <a:pt x="2378737" y="742748"/>
                    <a:pt x="2381686" y="724426"/>
                    <a:pt x="2373894" y="724426"/>
                  </a:cubicBezTo>
                  <a:cubicBezTo>
                    <a:pt x="2381264" y="724426"/>
                    <a:pt x="2365260" y="703368"/>
                    <a:pt x="2353888" y="703368"/>
                  </a:cubicBezTo>
                  <a:cubicBezTo>
                    <a:pt x="2343358" y="703368"/>
                    <a:pt x="2341884" y="696208"/>
                    <a:pt x="2334093" y="696208"/>
                  </a:cubicBezTo>
                  <a:cubicBezTo>
                    <a:pt x="2341674" y="696208"/>
                    <a:pt x="2328196" y="679782"/>
                    <a:pt x="2318719" y="679782"/>
                  </a:cubicBezTo>
                  <a:cubicBezTo>
                    <a:pt x="2308190" y="679782"/>
                    <a:pt x="2310507" y="668831"/>
                    <a:pt x="2301451" y="668831"/>
                  </a:cubicBezTo>
                  <a:cubicBezTo>
                    <a:pt x="2310086" y="668831"/>
                    <a:pt x="2297660" y="651563"/>
                    <a:pt x="2281234" y="651563"/>
                  </a:cubicBezTo>
                  <a:cubicBezTo>
                    <a:pt x="2265862" y="651563"/>
                    <a:pt x="2268178" y="639980"/>
                    <a:pt x="2259544" y="639980"/>
                  </a:cubicBezTo>
                  <a:cubicBezTo>
                    <a:pt x="2268810" y="639980"/>
                    <a:pt x="2255332" y="635137"/>
                    <a:pt x="2246066" y="635137"/>
                  </a:cubicBezTo>
                  <a:cubicBezTo>
                    <a:pt x="2255332" y="635137"/>
                    <a:pt x="2237011" y="623133"/>
                    <a:pt x="2229851" y="623133"/>
                  </a:cubicBezTo>
                  <a:cubicBezTo>
                    <a:pt x="2237011" y="623133"/>
                    <a:pt x="2234273" y="634715"/>
                    <a:pt x="2226060" y="634715"/>
                  </a:cubicBezTo>
                  <a:cubicBezTo>
                    <a:pt x="2234694" y="634715"/>
                    <a:pt x="2225007" y="618290"/>
                    <a:pt x="2215321" y="609234"/>
                  </a:cubicBezTo>
                  <a:cubicBezTo>
                    <a:pt x="2209003" y="597231"/>
                    <a:pt x="2196789" y="587122"/>
                    <a:pt x="2196789" y="571749"/>
                  </a:cubicBezTo>
                  <a:cubicBezTo>
                    <a:pt x="2196789" y="555955"/>
                    <a:pt x="2187101" y="540582"/>
                    <a:pt x="2171728" y="540582"/>
                  </a:cubicBezTo>
                  <a:cubicBezTo>
                    <a:pt x="2155934" y="540582"/>
                    <a:pt x="2149616" y="520787"/>
                    <a:pt x="2139087" y="520787"/>
                  </a:cubicBezTo>
                  <a:cubicBezTo>
                    <a:pt x="2127505" y="520787"/>
                    <a:pt x="2124767" y="492989"/>
                    <a:pt x="2124767" y="481407"/>
                  </a:cubicBezTo>
                  <a:cubicBezTo>
                    <a:pt x="2119502" y="470877"/>
                    <a:pt x="2128557" y="453188"/>
                    <a:pt x="2122872" y="453188"/>
                  </a:cubicBezTo>
                  <a:cubicBezTo>
                    <a:pt x="2127715" y="453188"/>
                    <a:pt x="2117396" y="436341"/>
                    <a:pt x="2110447" y="436341"/>
                  </a:cubicBezTo>
                  <a:cubicBezTo>
                    <a:pt x="2117607" y="436341"/>
                    <a:pt x="2112763" y="422020"/>
                    <a:pt x="2104550" y="422020"/>
                  </a:cubicBezTo>
                  <a:cubicBezTo>
                    <a:pt x="2112342" y="422020"/>
                    <a:pt x="2097811" y="408543"/>
                    <a:pt x="2084334" y="408543"/>
                  </a:cubicBezTo>
                  <a:cubicBezTo>
                    <a:pt x="2070435" y="408543"/>
                    <a:pt x="2067066" y="394223"/>
                    <a:pt x="2057379" y="394223"/>
                  </a:cubicBezTo>
                  <a:cubicBezTo>
                    <a:pt x="2067066" y="394223"/>
                    <a:pt x="2058010" y="367899"/>
                    <a:pt x="2051061" y="367899"/>
                  </a:cubicBezTo>
                  <a:cubicBezTo>
                    <a:pt x="2057800" y="367899"/>
                    <a:pt x="2063485" y="357370"/>
                    <a:pt x="2053588" y="357370"/>
                  </a:cubicBezTo>
                  <a:cubicBezTo>
                    <a:pt x="2043480" y="357370"/>
                    <a:pt x="2029581" y="351263"/>
                    <a:pt x="2029581" y="336732"/>
                  </a:cubicBezTo>
                  <a:cubicBezTo>
                    <a:pt x="2044111" y="336732"/>
                    <a:pt x="2007468" y="317990"/>
                    <a:pt x="2007468" y="306407"/>
                  </a:cubicBezTo>
                  <a:cubicBezTo>
                    <a:pt x="2007468" y="295456"/>
                    <a:pt x="1990201" y="292929"/>
                    <a:pt x="1990201" y="282400"/>
                  </a:cubicBezTo>
                  <a:cubicBezTo>
                    <a:pt x="1990201" y="271449"/>
                    <a:pt x="1978197" y="262183"/>
                    <a:pt x="1971458" y="262183"/>
                  </a:cubicBezTo>
                  <a:cubicBezTo>
                    <a:pt x="1977775" y="262183"/>
                    <a:pt x="1976302" y="249127"/>
                    <a:pt x="1969563" y="249127"/>
                  </a:cubicBezTo>
                  <a:cubicBezTo>
                    <a:pt x="1976302" y="249127"/>
                    <a:pt x="1955664" y="233754"/>
                    <a:pt x="1948925" y="233754"/>
                  </a:cubicBezTo>
                  <a:cubicBezTo>
                    <a:pt x="1955664" y="233754"/>
                    <a:pt x="1942186" y="223646"/>
                    <a:pt x="1936922" y="223646"/>
                  </a:cubicBezTo>
                  <a:cubicBezTo>
                    <a:pt x="1942186" y="223646"/>
                    <a:pt x="1939238" y="208694"/>
                    <a:pt x="1928708" y="208694"/>
                  </a:cubicBezTo>
                  <a:cubicBezTo>
                    <a:pt x="1937343" y="208694"/>
                    <a:pt x="1928077" y="195216"/>
                    <a:pt x="1927656" y="195216"/>
                  </a:cubicBezTo>
                  <a:cubicBezTo>
                    <a:pt x="1928077" y="195216"/>
                    <a:pt x="1931446" y="197111"/>
                    <a:pt x="1930604" y="197111"/>
                  </a:cubicBezTo>
                  <a:cubicBezTo>
                    <a:pt x="1933973" y="197111"/>
                    <a:pt x="1931025" y="188056"/>
                    <a:pt x="1928708" y="188056"/>
                  </a:cubicBezTo>
                  <a:cubicBezTo>
                    <a:pt x="1932920" y="188056"/>
                    <a:pt x="1925339" y="172683"/>
                    <a:pt x="1919021" y="172683"/>
                  </a:cubicBezTo>
                  <a:cubicBezTo>
                    <a:pt x="1922391" y="172683"/>
                    <a:pt x="1923865" y="159626"/>
                    <a:pt x="1918390" y="159626"/>
                  </a:cubicBezTo>
                  <a:cubicBezTo>
                    <a:pt x="1923654" y="159626"/>
                    <a:pt x="1909334" y="155836"/>
                    <a:pt x="1905333" y="155836"/>
                  </a:cubicBezTo>
                  <a:cubicBezTo>
                    <a:pt x="1911651" y="155836"/>
                    <a:pt x="1890381" y="152888"/>
                    <a:pt x="1883643" y="152888"/>
                  </a:cubicBezTo>
                  <a:cubicBezTo>
                    <a:pt x="1889960" y="152888"/>
                    <a:pt x="1873534" y="150992"/>
                    <a:pt x="1857108" y="150992"/>
                  </a:cubicBezTo>
                  <a:cubicBezTo>
                    <a:pt x="1849948" y="136041"/>
                    <a:pt x="1829310" y="162575"/>
                    <a:pt x="1822150" y="162575"/>
                  </a:cubicBezTo>
                  <a:cubicBezTo>
                    <a:pt x="1829310" y="162575"/>
                    <a:pt x="1810568" y="169314"/>
                    <a:pt x="1803829" y="169314"/>
                  </a:cubicBezTo>
                  <a:cubicBezTo>
                    <a:pt x="1811621" y="169314"/>
                    <a:pt x="1789930" y="163628"/>
                    <a:pt x="1775610" y="163628"/>
                  </a:cubicBezTo>
                  <a:cubicBezTo>
                    <a:pt x="1761711" y="163628"/>
                    <a:pt x="1750129" y="159205"/>
                    <a:pt x="1741495" y="159205"/>
                  </a:cubicBezTo>
                  <a:cubicBezTo>
                    <a:pt x="1748655" y="159205"/>
                    <a:pt x="1731807" y="152466"/>
                    <a:pt x="1718962" y="152466"/>
                  </a:cubicBezTo>
                  <a:cubicBezTo>
                    <a:pt x="1705484" y="152466"/>
                    <a:pt x="1700641" y="147623"/>
                    <a:pt x="1685688" y="147623"/>
                  </a:cubicBezTo>
                  <a:cubicBezTo>
                    <a:pt x="1670316" y="147623"/>
                    <a:pt x="1678528" y="148044"/>
                    <a:pt x="1665472" y="148044"/>
                  </a:cubicBezTo>
                  <a:cubicBezTo>
                    <a:pt x="1651573" y="148044"/>
                    <a:pt x="1655363" y="136883"/>
                    <a:pt x="1646308" y="136883"/>
                  </a:cubicBezTo>
                  <a:cubicBezTo>
                    <a:pt x="1637042" y="136883"/>
                    <a:pt x="1625039" y="134988"/>
                    <a:pt x="1615141" y="134988"/>
                  </a:cubicBezTo>
                  <a:cubicBezTo>
                    <a:pt x="1604612" y="134988"/>
                    <a:pt x="1601663" y="129091"/>
                    <a:pt x="1592187" y="129091"/>
                  </a:cubicBezTo>
                  <a:cubicBezTo>
                    <a:pt x="1581657" y="129091"/>
                    <a:pt x="1583132" y="120457"/>
                    <a:pt x="1574919" y="120457"/>
                  </a:cubicBezTo>
                  <a:cubicBezTo>
                    <a:pt x="1583132" y="120457"/>
                    <a:pt x="1553860" y="111823"/>
                    <a:pt x="1545647" y="111823"/>
                  </a:cubicBezTo>
                  <a:cubicBezTo>
                    <a:pt x="1537434" y="111823"/>
                    <a:pt x="1509636" y="115192"/>
                    <a:pt x="1499949" y="115192"/>
                  </a:cubicBezTo>
                  <a:cubicBezTo>
                    <a:pt x="1490262" y="115192"/>
                    <a:pt x="1460568" y="118562"/>
                    <a:pt x="1460568" y="132882"/>
                  </a:cubicBezTo>
                  <a:cubicBezTo>
                    <a:pt x="1474046" y="132882"/>
                    <a:pt x="1474889" y="160258"/>
                    <a:pt x="1466255" y="160258"/>
                  </a:cubicBezTo>
                  <a:cubicBezTo>
                    <a:pt x="1474889" y="160258"/>
                    <a:pt x="1451935" y="179843"/>
                    <a:pt x="1442669" y="179843"/>
                  </a:cubicBezTo>
                  <a:cubicBezTo>
                    <a:pt x="1433613" y="179843"/>
                    <a:pt x="1420136" y="175631"/>
                    <a:pt x="1403288" y="175631"/>
                  </a:cubicBezTo>
                  <a:cubicBezTo>
                    <a:pt x="1395076" y="160258"/>
                    <a:pt x="1381177" y="159205"/>
                    <a:pt x="1360118" y="159205"/>
                  </a:cubicBezTo>
                  <a:cubicBezTo>
                    <a:pt x="1338006" y="159205"/>
                    <a:pt x="1310208" y="163628"/>
                    <a:pt x="1299679" y="152888"/>
                  </a:cubicBezTo>
                  <a:cubicBezTo>
                    <a:pt x="1292940" y="140042"/>
                    <a:pt x="1293993" y="131197"/>
                    <a:pt x="1283885" y="131197"/>
                  </a:cubicBezTo>
                  <a:cubicBezTo>
                    <a:pt x="1274198" y="131197"/>
                    <a:pt x="1273355" y="124458"/>
                    <a:pt x="1262405" y="124458"/>
                  </a:cubicBezTo>
                  <a:cubicBezTo>
                    <a:pt x="1252296" y="124458"/>
                    <a:pt x="1257140" y="114771"/>
                    <a:pt x="1240713" y="114771"/>
                  </a:cubicBezTo>
                  <a:cubicBezTo>
                    <a:pt x="1224498" y="114771"/>
                    <a:pt x="1232080" y="112455"/>
                    <a:pt x="1219023" y="112455"/>
                  </a:cubicBezTo>
                  <a:cubicBezTo>
                    <a:pt x="1206598" y="112455"/>
                    <a:pt x="1207020" y="114350"/>
                    <a:pt x="1192067" y="114350"/>
                  </a:cubicBezTo>
                  <a:cubicBezTo>
                    <a:pt x="1176273" y="114350"/>
                    <a:pt x="1161321" y="110559"/>
                    <a:pt x="1152056" y="110559"/>
                  </a:cubicBezTo>
                  <a:cubicBezTo>
                    <a:pt x="1142369" y="110559"/>
                    <a:pt x="1130365" y="112876"/>
                    <a:pt x="1130365" y="102767"/>
                  </a:cubicBezTo>
                  <a:cubicBezTo>
                    <a:pt x="1140473" y="102767"/>
                    <a:pt x="1127417" y="87816"/>
                    <a:pt x="1118361" y="87816"/>
                  </a:cubicBezTo>
                  <a:cubicBezTo>
                    <a:pt x="1126574" y="87816"/>
                    <a:pt x="1109728" y="91606"/>
                    <a:pt x="1098566" y="91606"/>
                  </a:cubicBezTo>
                  <a:cubicBezTo>
                    <a:pt x="1086984" y="91606"/>
                    <a:pt x="1077928" y="78550"/>
                    <a:pt x="1096250" y="78550"/>
                  </a:cubicBezTo>
                  <a:cubicBezTo>
                    <a:pt x="1114992" y="78550"/>
                    <a:pt x="1131839" y="58965"/>
                    <a:pt x="1125522" y="58965"/>
                  </a:cubicBezTo>
                  <a:cubicBezTo>
                    <a:pt x="1131628" y="58965"/>
                    <a:pt x="1136472" y="43171"/>
                    <a:pt x="1127417" y="43171"/>
                  </a:cubicBezTo>
                  <a:cubicBezTo>
                    <a:pt x="1117729" y="43171"/>
                    <a:pt x="1116887" y="31588"/>
                    <a:pt x="1108253" y="31588"/>
                  </a:cubicBezTo>
                  <a:cubicBezTo>
                    <a:pt x="1116887" y="31588"/>
                    <a:pt x="1134787" y="13899"/>
                    <a:pt x="1128049" y="13899"/>
                  </a:cubicBezTo>
                  <a:cubicBezTo>
                    <a:pt x="1134787" y="13899"/>
                    <a:pt x="1135209" y="5686"/>
                    <a:pt x="1125100" y="5686"/>
                  </a:cubicBezTo>
                  <a:cubicBezTo>
                    <a:pt x="1114571" y="5686"/>
                    <a:pt x="1111623" y="13899"/>
                    <a:pt x="1103409" y="13899"/>
                  </a:cubicBezTo>
                  <a:cubicBezTo>
                    <a:pt x="1111623" y="13899"/>
                    <a:pt x="1089511" y="0"/>
                    <a:pt x="1082772" y="0"/>
                  </a:cubicBezTo>
                  <a:cubicBezTo>
                    <a:pt x="1089932" y="0"/>
                    <a:pt x="1062977" y="12004"/>
                    <a:pt x="1050973" y="12004"/>
                  </a:cubicBezTo>
                  <a:cubicBezTo>
                    <a:pt x="1037917" y="12004"/>
                    <a:pt x="1021280" y="14320"/>
                    <a:pt x="1014541" y="14320"/>
                  </a:cubicBezTo>
                  <a:cubicBezTo>
                    <a:pt x="1021280" y="14320"/>
                    <a:pt x="991587" y="8002"/>
                    <a:pt x="986322" y="8002"/>
                  </a:cubicBezTo>
                  <a:cubicBezTo>
                    <a:pt x="992008" y="8002"/>
                    <a:pt x="983374" y="13688"/>
                    <a:pt x="973266" y="13688"/>
                  </a:cubicBezTo>
                  <a:cubicBezTo>
                    <a:pt x="963579" y="13688"/>
                    <a:pt x="958735" y="11793"/>
                    <a:pt x="950101" y="11793"/>
                  </a:cubicBezTo>
                  <a:cubicBezTo>
                    <a:pt x="958735" y="11793"/>
                    <a:pt x="941466" y="18953"/>
                    <a:pt x="933254" y="18953"/>
                  </a:cubicBezTo>
                  <a:cubicBezTo>
                    <a:pt x="924619" y="18953"/>
                    <a:pt x="917460" y="22322"/>
                    <a:pt x="911773" y="22322"/>
                  </a:cubicBezTo>
                  <a:cubicBezTo>
                    <a:pt x="916617" y="22322"/>
                    <a:pt x="902718" y="16005"/>
                    <a:pt x="891136" y="16005"/>
                  </a:cubicBezTo>
                  <a:cubicBezTo>
                    <a:pt x="882502" y="24639"/>
                    <a:pt x="862285" y="20217"/>
                    <a:pt x="850282" y="20217"/>
                  </a:cubicBezTo>
                  <a:cubicBezTo>
                    <a:pt x="837857" y="20217"/>
                    <a:pt x="829644" y="23165"/>
                    <a:pt x="820588" y="23165"/>
                  </a:cubicBezTo>
                  <a:cubicBezTo>
                    <a:pt x="814270" y="29904"/>
                    <a:pt x="796581" y="28429"/>
                    <a:pt x="781629" y="28429"/>
                  </a:cubicBezTo>
                  <a:cubicBezTo>
                    <a:pt x="765835" y="28429"/>
                    <a:pt x="750883" y="35800"/>
                    <a:pt x="743723" y="35800"/>
                  </a:cubicBezTo>
                  <a:cubicBezTo>
                    <a:pt x="751936" y="35800"/>
                    <a:pt x="725402" y="38117"/>
                    <a:pt x="720769" y="48225"/>
                  </a:cubicBezTo>
                  <a:cubicBezTo>
                    <a:pt x="710240" y="48225"/>
                    <a:pt x="709187" y="51173"/>
                    <a:pt x="700974" y="51173"/>
                  </a:cubicBezTo>
                  <a:cubicBezTo>
                    <a:pt x="693392" y="51173"/>
                    <a:pt x="678862" y="61281"/>
                    <a:pt x="670649" y="61281"/>
                  </a:cubicBezTo>
                  <a:cubicBezTo>
                    <a:pt x="679283" y="61281"/>
                    <a:pt x="667700" y="71390"/>
                    <a:pt x="654855" y="71390"/>
                  </a:cubicBezTo>
                  <a:cubicBezTo>
                    <a:pt x="641798" y="71390"/>
                    <a:pt x="615474" y="70337"/>
                    <a:pt x="610631" y="70337"/>
                  </a:cubicBezTo>
                  <a:cubicBezTo>
                    <a:pt x="615053" y="70337"/>
                    <a:pt x="608314" y="67599"/>
                    <a:pt x="601575" y="67599"/>
                  </a:cubicBezTo>
                  <a:cubicBezTo>
                    <a:pt x="608314" y="67599"/>
                    <a:pt x="587045" y="70969"/>
                    <a:pt x="579043" y="70969"/>
                  </a:cubicBezTo>
                  <a:cubicBezTo>
                    <a:pt x="586203" y="70969"/>
                    <a:pt x="556509" y="72021"/>
                    <a:pt x="546401" y="72021"/>
                  </a:cubicBezTo>
                  <a:cubicBezTo>
                    <a:pt x="536293" y="72021"/>
                    <a:pt x="533977" y="61913"/>
                    <a:pt x="526606" y="61913"/>
                  </a:cubicBezTo>
                  <a:cubicBezTo>
                    <a:pt x="533766" y="61913"/>
                    <a:pt x="510180" y="60439"/>
                    <a:pt x="503652" y="60439"/>
                  </a:cubicBezTo>
                  <a:cubicBezTo>
                    <a:pt x="510390" y="60439"/>
                    <a:pt x="498387" y="91606"/>
                    <a:pt x="481961" y="91606"/>
                  </a:cubicBezTo>
                  <a:cubicBezTo>
                    <a:pt x="474801" y="105926"/>
                    <a:pt x="464693" y="116035"/>
                    <a:pt x="444897" y="116035"/>
                  </a:cubicBezTo>
                  <a:cubicBezTo>
                    <a:pt x="424681" y="116035"/>
                    <a:pt x="410361" y="131829"/>
                    <a:pt x="397936" y="131829"/>
                  </a:cubicBezTo>
                  <a:cubicBezTo>
                    <a:pt x="389302" y="140463"/>
                    <a:pt x="384458" y="150150"/>
                    <a:pt x="374771" y="150150"/>
                  </a:cubicBezTo>
                  <a:cubicBezTo>
                    <a:pt x="384458" y="150150"/>
                    <a:pt x="375824" y="162154"/>
                    <a:pt x="365716" y="162154"/>
                  </a:cubicBezTo>
                  <a:cubicBezTo>
                    <a:pt x="375824" y="162154"/>
                    <a:pt x="356661" y="181317"/>
                    <a:pt x="349922" y="181317"/>
                  </a:cubicBezTo>
                  <a:cubicBezTo>
                    <a:pt x="356239" y="181317"/>
                    <a:pt x="338339" y="190372"/>
                    <a:pt x="347605" y="199638"/>
                  </a:cubicBezTo>
                  <a:cubicBezTo>
                    <a:pt x="353501" y="211221"/>
                    <a:pt x="346131" y="205956"/>
                    <a:pt x="346131" y="218381"/>
                  </a:cubicBezTo>
                  <a:cubicBezTo>
                    <a:pt x="346131" y="230806"/>
                    <a:pt x="337497" y="243441"/>
                    <a:pt x="322545" y="243441"/>
                  </a:cubicBezTo>
                  <a:cubicBezTo>
                    <a:pt x="307593" y="243441"/>
                    <a:pt x="301907" y="258393"/>
                    <a:pt x="289904" y="258393"/>
                  </a:cubicBezTo>
                  <a:cubicBezTo>
                    <a:pt x="277900" y="258393"/>
                    <a:pt x="278953" y="272923"/>
                    <a:pt x="268845" y="272923"/>
                  </a:cubicBezTo>
                  <a:cubicBezTo>
                    <a:pt x="257894" y="272923"/>
                    <a:pt x="239994" y="281558"/>
                    <a:pt x="227991" y="281558"/>
                  </a:cubicBezTo>
                  <a:cubicBezTo>
                    <a:pt x="217040" y="281558"/>
                    <a:pt x="209880" y="281979"/>
                    <a:pt x="209880" y="294614"/>
                  </a:cubicBezTo>
                  <a:cubicBezTo>
                    <a:pt x="209880" y="306618"/>
                    <a:pt x="210301" y="320095"/>
                    <a:pt x="193033" y="320095"/>
                  </a:cubicBezTo>
                  <a:cubicBezTo>
                    <a:pt x="176185" y="320095"/>
                    <a:pt x="172395" y="324307"/>
                    <a:pt x="161866" y="335047"/>
                  </a:cubicBezTo>
                  <a:cubicBezTo>
                    <a:pt x="155127" y="348525"/>
                    <a:pt x="139332" y="360950"/>
                    <a:pt x="139332" y="372953"/>
                  </a:cubicBezTo>
                  <a:cubicBezTo>
                    <a:pt x="139332" y="384957"/>
                    <a:pt x="129224" y="394433"/>
                    <a:pt x="113430" y="394433"/>
                  </a:cubicBezTo>
                  <a:cubicBezTo>
                    <a:pt x="97636" y="394433"/>
                    <a:pt x="99531" y="421389"/>
                    <a:pt x="86053" y="421389"/>
                  </a:cubicBezTo>
                  <a:cubicBezTo>
                    <a:pt x="86053" y="434866"/>
                    <a:pt x="83105" y="448765"/>
                    <a:pt x="68785" y="448765"/>
                  </a:cubicBezTo>
                  <a:cubicBezTo>
                    <a:pt x="54465" y="448765"/>
                    <a:pt x="50464" y="448344"/>
                    <a:pt x="50464" y="464559"/>
                  </a:cubicBezTo>
                  <a:cubicBezTo>
                    <a:pt x="50464" y="480775"/>
                    <a:pt x="42251" y="498254"/>
                    <a:pt x="38881" y="498254"/>
                  </a:cubicBezTo>
                  <a:cubicBezTo>
                    <a:pt x="42251" y="498254"/>
                    <a:pt x="52780" y="491094"/>
                    <a:pt x="48990" y="491094"/>
                  </a:cubicBezTo>
                  <a:cubicBezTo>
                    <a:pt x="53833" y="491094"/>
                    <a:pt x="48569" y="503519"/>
                    <a:pt x="59519" y="503519"/>
                  </a:cubicBezTo>
                  <a:cubicBezTo>
                    <a:pt x="70680" y="503519"/>
                    <a:pt x="80157" y="519313"/>
                    <a:pt x="71523" y="519313"/>
                  </a:cubicBezTo>
                  <a:cubicBezTo>
                    <a:pt x="80789" y="519313"/>
                    <a:pt x="67732" y="527947"/>
                    <a:pt x="59519" y="527947"/>
                  </a:cubicBezTo>
                  <a:cubicBezTo>
                    <a:pt x="67732" y="527947"/>
                    <a:pt x="70049" y="548585"/>
                    <a:pt x="61836" y="548585"/>
                  </a:cubicBezTo>
                  <a:cubicBezTo>
                    <a:pt x="70049" y="548585"/>
                    <a:pt x="82895" y="573013"/>
                    <a:pt x="68574" y="587544"/>
                  </a:cubicBezTo>
                  <a:cubicBezTo>
                    <a:pt x="58887" y="606707"/>
                    <a:pt x="50885" y="605654"/>
                    <a:pt x="50885" y="619764"/>
                  </a:cubicBezTo>
                  <a:cubicBezTo>
                    <a:pt x="50885" y="633241"/>
                    <a:pt x="40356" y="637032"/>
                    <a:pt x="40356" y="648193"/>
                  </a:cubicBezTo>
                  <a:cubicBezTo>
                    <a:pt x="40356" y="658301"/>
                    <a:pt x="28352" y="675149"/>
                    <a:pt x="17191" y="675149"/>
                  </a:cubicBezTo>
                  <a:cubicBezTo>
                    <a:pt x="6240" y="675149"/>
                    <a:pt x="-6817" y="684204"/>
                    <a:pt x="4134" y="684204"/>
                  </a:cubicBezTo>
                  <a:cubicBezTo>
                    <a:pt x="15295" y="684204"/>
                    <a:pt x="28141" y="697260"/>
                    <a:pt x="28141" y="706737"/>
                  </a:cubicBezTo>
                  <a:cubicBezTo>
                    <a:pt x="28141" y="716003"/>
                    <a:pt x="24772" y="714950"/>
                    <a:pt x="24772" y="726954"/>
                  </a:cubicBezTo>
                  <a:cubicBezTo>
                    <a:pt x="24772" y="738957"/>
                    <a:pt x="28563" y="773072"/>
                    <a:pt x="22455" y="773072"/>
                  </a:cubicBezTo>
                  <a:cubicBezTo>
                    <a:pt x="29194" y="773072"/>
                    <a:pt x="28773" y="786971"/>
                    <a:pt x="38881" y="786971"/>
                  </a:cubicBezTo>
                  <a:cubicBezTo>
                    <a:pt x="48990" y="786971"/>
                    <a:pt x="69627" y="791183"/>
                    <a:pt x="60993" y="791183"/>
                  </a:cubicBezTo>
                  <a:cubicBezTo>
                    <a:pt x="70680" y="791183"/>
                    <a:pt x="89844" y="811400"/>
                    <a:pt x="82684" y="811400"/>
                  </a:cubicBezTo>
                  <a:cubicBezTo>
                    <a:pt x="89002" y="811400"/>
                    <a:pt x="87528" y="820034"/>
                    <a:pt x="99531" y="820034"/>
                  </a:cubicBezTo>
                  <a:cubicBezTo>
                    <a:pt x="105217" y="831616"/>
                    <a:pt x="118695" y="835828"/>
                    <a:pt x="131119" y="835828"/>
                  </a:cubicBezTo>
                  <a:cubicBezTo>
                    <a:pt x="144597" y="835828"/>
                    <a:pt x="140807" y="842567"/>
                    <a:pt x="140807" y="853518"/>
                  </a:cubicBezTo>
                  <a:cubicBezTo>
                    <a:pt x="135963" y="863626"/>
                    <a:pt x="159128" y="883211"/>
                    <a:pt x="150494" y="883211"/>
                  </a:cubicBezTo>
                  <a:cubicBezTo>
                    <a:pt x="159128" y="883211"/>
                    <a:pt x="166288" y="898584"/>
                    <a:pt x="161444" y="898584"/>
                  </a:cubicBezTo>
                  <a:cubicBezTo>
                    <a:pt x="166709" y="898584"/>
                    <a:pt x="168183" y="910587"/>
                    <a:pt x="162918" y="910587"/>
                  </a:cubicBezTo>
                  <a:cubicBezTo>
                    <a:pt x="168604" y="910587"/>
                    <a:pt x="200824" y="915852"/>
                    <a:pt x="192190" y="915852"/>
                  </a:cubicBezTo>
                  <a:cubicBezTo>
                    <a:pt x="200824" y="915852"/>
                    <a:pt x="214723" y="933541"/>
                    <a:pt x="225253" y="933541"/>
                  </a:cubicBezTo>
                  <a:cubicBezTo>
                    <a:pt x="236204" y="933541"/>
                    <a:pt x="246943" y="950389"/>
                    <a:pt x="255999" y="950389"/>
                  </a:cubicBezTo>
                  <a:cubicBezTo>
                    <a:pt x="266107" y="950389"/>
                    <a:pt x="283375" y="969552"/>
                    <a:pt x="275162" y="969552"/>
                  </a:cubicBezTo>
                  <a:cubicBezTo>
                    <a:pt x="282744" y="969552"/>
                    <a:pt x="298117" y="983030"/>
                    <a:pt x="310752" y="983030"/>
                  </a:cubicBezTo>
                  <a:cubicBezTo>
                    <a:pt x="322756" y="983030"/>
                    <a:pt x="340445" y="996508"/>
                    <a:pt x="349079" y="996508"/>
                  </a:cubicBezTo>
                  <a:cubicBezTo>
                    <a:pt x="358345" y="996508"/>
                    <a:pt x="382142" y="989348"/>
                    <a:pt x="394145" y="989348"/>
                  </a:cubicBezTo>
                  <a:cubicBezTo>
                    <a:pt x="406570" y="989348"/>
                    <a:pt x="421943" y="973553"/>
                    <a:pt x="440685" y="973553"/>
                  </a:cubicBezTo>
                  <a:cubicBezTo>
                    <a:pt x="454584" y="959654"/>
                    <a:pt x="502599" y="965972"/>
                    <a:pt x="513128" y="965972"/>
                  </a:cubicBezTo>
                  <a:cubicBezTo>
                    <a:pt x="523658" y="965972"/>
                    <a:pt x="572725" y="975659"/>
                    <a:pt x="565986" y="975659"/>
                  </a:cubicBezTo>
                  <a:cubicBezTo>
                    <a:pt x="572725" y="975659"/>
                    <a:pt x="570408" y="974606"/>
                    <a:pt x="586624" y="974606"/>
                  </a:cubicBezTo>
                  <a:cubicBezTo>
                    <a:pt x="603471" y="974606"/>
                    <a:pt x="631269" y="952494"/>
                    <a:pt x="642430" y="952494"/>
                  </a:cubicBezTo>
                  <a:cubicBezTo>
                    <a:pt x="652538" y="952494"/>
                    <a:pt x="670228" y="937543"/>
                    <a:pt x="680757" y="937543"/>
                  </a:cubicBezTo>
                  <a:cubicBezTo>
                    <a:pt x="691918" y="937543"/>
                    <a:pt x="716347" y="933331"/>
                    <a:pt x="710661" y="933331"/>
                  </a:cubicBezTo>
                  <a:cubicBezTo>
                    <a:pt x="717400" y="933331"/>
                    <a:pt x="744776" y="916905"/>
                    <a:pt x="755306" y="916905"/>
                  </a:cubicBezTo>
                  <a:cubicBezTo>
                    <a:pt x="760570" y="907218"/>
                    <a:pt x="809638" y="915010"/>
                    <a:pt x="825432" y="915010"/>
                  </a:cubicBezTo>
                  <a:cubicBezTo>
                    <a:pt x="835962" y="904059"/>
                    <a:pt x="854283" y="911640"/>
                    <a:pt x="854283" y="925539"/>
                  </a:cubicBezTo>
                  <a:cubicBezTo>
                    <a:pt x="854283" y="939859"/>
                    <a:pt x="885029" y="961550"/>
                    <a:pt x="874499" y="961550"/>
                  </a:cubicBezTo>
                  <a:cubicBezTo>
                    <a:pt x="885029" y="961550"/>
                    <a:pt x="893663" y="987031"/>
                    <a:pt x="904192" y="987031"/>
                  </a:cubicBezTo>
                  <a:cubicBezTo>
                    <a:pt x="914722" y="987031"/>
                    <a:pt x="911984" y="982609"/>
                    <a:pt x="930094" y="982609"/>
                  </a:cubicBezTo>
                  <a:cubicBezTo>
                    <a:pt x="947363" y="982609"/>
                    <a:pt x="951786" y="979239"/>
                    <a:pt x="961262" y="979239"/>
                  </a:cubicBezTo>
                  <a:cubicBezTo>
                    <a:pt x="971791" y="979239"/>
                    <a:pt x="969475" y="975870"/>
                    <a:pt x="983374" y="975870"/>
                  </a:cubicBezTo>
                  <a:cubicBezTo>
                    <a:pt x="997272" y="975870"/>
                    <a:pt x="997272" y="978186"/>
                    <a:pt x="1010750" y="978186"/>
                  </a:cubicBezTo>
                  <a:cubicBezTo>
                    <a:pt x="1023175" y="978186"/>
                    <a:pt x="1031809" y="1007879"/>
                    <a:pt x="1042550" y="1007879"/>
                  </a:cubicBezTo>
                  <a:cubicBezTo>
                    <a:pt x="1054132" y="1007879"/>
                    <a:pt x="1048656" y="1040099"/>
                    <a:pt x="1048656" y="1053577"/>
                  </a:cubicBezTo>
                  <a:cubicBezTo>
                    <a:pt x="1048656" y="1066634"/>
                    <a:pt x="1049078" y="1064107"/>
                    <a:pt x="1038127" y="1075268"/>
                  </a:cubicBezTo>
                  <a:cubicBezTo>
                    <a:pt x="1030967" y="1089588"/>
                    <a:pt x="1041918" y="1102644"/>
                    <a:pt x="1031809" y="1102644"/>
                  </a:cubicBezTo>
                  <a:cubicBezTo>
                    <a:pt x="1041918" y="1102644"/>
                    <a:pt x="1033284" y="1123703"/>
                    <a:pt x="1026965" y="1123703"/>
                  </a:cubicBezTo>
                  <a:cubicBezTo>
                    <a:pt x="1033073" y="1123703"/>
                    <a:pt x="1028019" y="1146868"/>
                    <a:pt x="1019174" y="1146868"/>
                  </a:cubicBezTo>
                  <a:cubicBezTo>
                    <a:pt x="1028229" y="1146868"/>
                    <a:pt x="1010961" y="1165189"/>
                    <a:pt x="1001905" y="1165189"/>
                  </a:cubicBezTo>
                  <a:cubicBezTo>
                    <a:pt x="1012014" y="1165189"/>
                    <a:pt x="1012014" y="1185827"/>
                    <a:pt x="1023386" y="1196778"/>
                  </a:cubicBezTo>
                  <a:cubicBezTo>
                    <a:pt x="1030124" y="1211098"/>
                    <a:pt x="1064240" y="1255322"/>
                    <a:pt x="1077297" y="1255322"/>
                  </a:cubicBezTo>
                  <a:cubicBezTo>
                    <a:pt x="1089300" y="1255322"/>
                    <a:pt x="1102357" y="1298071"/>
                    <a:pt x="1115624" y="1298071"/>
                  </a:cubicBezTo>
                  <a:cubicBezTo>
                    <a:pt x="1129101" y="1298071"/>
                    <a:pt x="1145527" y="1328817"/>
                    <a:pt x="1135419" y="1328817"/>
                  </a:cubicBezTo>
                  <a:cubicBezTo>
                    <a:pt x="1145106" y="1328817"/>
                    <a:pt x="1132471" y="1350297"/>
                    <a:pt x="1145527" y="1363354"/>
                  </a:cubicBezTo>
                  <a:cubicBezTo>
                    <a:pt x="1153741" y="1379148"/>
                    <a:pt x="1164270" y="1391783"/>
                    <a:pt x="1172904" y="1409052"/>
                  </a:cubicBezTo>
                  <a:cubicBezTo>
                    <a:pt x="1172904" y="1428215"/>
                    <a:pt x="1195858" y="1449906"/>
                    <a:pt x="1179222" y="1449906"/>
                  </a:cubicBezTo>
                  <a:cubicBezTo>
                    <a:pt x="1162375" y="1449906"/>
                    <a:pt x="1170167" y="1458119"/>
                    <a:pt x="1170167" y="1472860"/>
                  </a:cubicBezTo>
                  <a:cubicBezTo>
                    <a:pt x="1170167" y="1487180"/>
                    <a:pt x="1192278" y="1502132"/>
                    <a:pt x="1192278" y="1517084"/>
                  </a:cubicBezTo>
                  <a:cubicBezTo>
                    <a:pt x="1192278" y="1530983"/>
                    <a:pt x="1213337" y="1560255"/>
                    <a:pt x="1201965" y="1560255"/>
                  </a:cubicBezTo>
                  <a:cubicBezTo>
                    <a:pt x="1201965" y="1572258"/>
                    <a:pt x="1191436" y="1599635"/>
                    <a:pt x="1180274" y="1599635"/>
                  </a:cubicBezTo>
                  <a:cubicBezTo>
                    <a:pt x="1167850" y="1599635"/>
                    <a:pt x="1169324" y="1617324"/>
                    <a:pt x="1159637" y="1617324"/>
                  </a:cubicBezTo>
                  <a:cubicBezTo>
                    <a:pt x="1168692" y="1617324"/>
                    <a:pt x="1154372" y="1638383"/>
                    <a:pt x="1144685" y="1638383"/>
                  </a:cubicBezTo>
                  <a:cubicBezTo>
                    <a:pt x="1154372" y="1638383"/>
                    <a:pt x="1146581" y="1656073"/>
                    <a:pt x="1137525" y="1656073"/>
                  </a:cubicBezTo>
                  <a:cubicBezTo>
                    <a:pt x="1146791" y="1656073"/>
                    <a:pt x="1140473" y="1681554"/>
                    <a:pt x="1134155" y="1681554"/>
                  </a:cubicBezTo>
                  <a:cubicBezTo>
                    <a:pt x="1139842" y="1681554"/>
                    <a:pt x="1133734" y="1705561"/>
                    <a:pt x="1122152" y="1705561"/>
                  </a:cubicBezTo>
                  <a:cubicBezTo>
                    <a:pt x="1133734" y="1705561"/>
                    <a:pt x="1123626" y="1728094"/>
                    <a:pt x="1115834" y="1728094"/>
                  </a:cubicBezTo>
                  <a:cubicBezTo>
                    <a:pt x="1124468" y="1728094"/>
                    <a:pt x="1110569" y="1736728"/>
                    <a:pt x="1110569" y="1749785"/>
                  </a:cubicBezTo>
                  <a:cubicBezTo>
                    <a:pt x="1110569" y="1763684"/>
                    <a:pt x="1108253" y="1768527"/>
                    <a:pt x="1108253" y="1787691"/>
                  </a:cubicBezTo>
                  <a:cubicBezTo>
                    <a:pt x="1108253" y="1806854"/>
                    <a:pt x="1112465" y="1824754"/>
                    <a:pt x="1126995" y="1839075"/>
                  </a:cubicBezTo>
                  <a:cubicBezTo>
                    <a:pt x="1141948" y="1854026"/>
                    <a:pt x="1142790" y="1870663"/>
                    <a:pt x="1156689" y="1884773"/>
                  </a:cubicBezTo>
                  <a:cubicBezTo>
                    <a:pt x="1170167" y="1898250"/>
                    <a:pt x="1171008" y="1922257"/>
                    <a:pt x="1181117" y="1942263"/>
                  </a:cubicBezTo>
                  <a:cubicBezTo>
                    <a:pt x="1197332" y="1958689"/>
                    <a:pt x="1218602" y="1979748"/>
                    <a:pt x="1218602" y="1995542"/>
                  </a:cubicBezTo>
                  <a:cubicBezTo>
                    <a:pt x="1218602" y="2011336"/>
                    <a:pt x="1219023" y="2012811"/>
                    <a:pt x="1219023" y="2025867"/>
                  </a:cubicBezTo>
                  <a:cubicBezTo>
                    <a:pt x="1219023" y="2039766"/>
                    <a:pt x="1229552" y="2085885"/>
                    <a:pt x="1229552" y="2099784"/>
                  </a:cubicBezTo>
                  <a:cubicBezTo>
                    <a:pt x="1229552" y="2114736"/>
                    <a:pt x="1235659" y="2125687"/>
                    <a:pt x="1235659" y="2141481"/>
                  </a:cubicBezTo>
                  <a:cubicBezTo>
                    <a:pt x="1235659" y="2158328"/>
                    <a:pt x="1237555" y="2174543"/>
                    <a:pt x="1245768" y="2190969"/>
                  </a:cubicBezTo>
                  <a:cubicBezTo>
                    <a:pt x="1245768" y="2209711"/>
                    <a:pt x="1264510" y="2250987"/>
                    <a:pt x="1284727" y="2250987"/>
                  </a:cubicBezTo>
                  <a:cubicBezTo>
                    <a:pt x="1299679" y="2265939"/>
                    <a:pt x="1319895" y="2273099"/>
                    <a:pt x="1319895" y="2290367"/>
                  </a:cubicBezTo>
                  <a:cubicBezTo>
                    <a:pt x="1319895" y="2307636"/>
                    <a:pt x="1334215" y="2345541"/>
                    <a:pt x="1347693" y="2359019"/>
                  </a:cubicBezTo>
                  <a:cubicBezTo>
                    <a:pt x="1356327" y="2375866"/>
                    <a:pt x="1392338" y="2403664"/>
                    <a:pt x="1379913" y="2403664"/>
                  </a:cubicBezTo>
                  <a:cubicBezTo>
                    <a:pt x="1392338" y="2403664"/>
                    <a:pt x="1390443" y="2443044"/>
                    <a:pt x="1381387" y="2443044"/>
                  </a:cubicBezTo>
                  <a:cubicBezTo>
                    <a:pt x="1371700" y="2443044"/>
                    <a:pt x="1371700" y="2451678"/>
                    <a:pt x="1362645" y="2451678"/>
                  </a:cubicBezTo>
                  <a:cubicBezTo>
                    <a:pt x="1372121" y="2451678"/>
                    <a:pt x="1380966" y="2469368"/>
                    <a:pt x="1380966" y="2484741"/>
                  </a:cubicBezTo>
                  <a:cubicBezTo>
                    <a:pt x="1380966" y="2500535"/>
                    <a:pt x="1400761" y="2510643"/>
                    <a:pt x="1386652" y="2510643"/>
                  </a:cubicBezTo>
                  <a:cubicBezTo>
                    <a:pt x="1400551" y="2510643"/>
                    <a:pt x="1406868" y="2518856"/>
                    <a:pt x="1399709" y="2518856"/>
                  </a:cubicBezTo>
                  <a:cubicBezTo>
                    <a:pt x="1406448" y="2518856"/>
                    <a:pt x="1420978" y="2519277"/>
                    <a:pt x="1411712" y="2519277"/>
                  </a:cubicBezTo>
                  <a:cubicBezTo>
                    <a:pt x="1421399" y="2519277"/>
                    <a:pt x="1428559" y="2539073"/>
                    <a:pt x="1440563" y="2539073"/>
                  </a:cubicBezTo>
                  <a:cubicBezTo>
                    <a:pt x="1451092" y="2539073"/>
                    <a:pt x="1464991" y="2526648"/>
                    <a:pt x="1485208" y="2526648"/>
                  </a:cubicBezTo>
                  <a:cubicBezTo>
                    <a:pt x="1505846" y="2526648"/>
                    <a:pt x="1523113" y="2525174"/>
                    <a:pt x="1536171" y="2525174"/>
                  </a:cubicBezTo>
                  <a:cubicBezTo>
                    <a:pt x="1550069" y="2525174"/>
                    <a:pt x="1554913" y="2506853"/>
                    <a:pt x="1566916" y="2506853"/>
                  </a:cubicBezTo>
                  <a:cubicBezTo>
                    <a:pt x="1578499" y="2506853"/>
                    <a:pt x="1588185" y="2509801"/>
                    <a:pt x="1597662" y="2509801"/>
                  </a:cubicBezTo>
                  <a:cubicBezTo>
                    <a:pt x="1605875" y="2509801"/>
                    <a:pt x="1609244" y="2502220"/>
                    <a:pt x="1625460" y="2502220"/>
                  </a:cubicBezTo>
                  <a:cubicBezTo>
                    <a:pt x="1640412" y="2502220"/>
                    <a:pt x="1644624" y="2513381"/>
                    <a:pt x="1656627" y="2513381"/>
                  </a:cubicBezTo>
                  <a:cubicBezTo>
                    <a:pt x="1668210" y="2513381"/>
                    <a:pt x="1669473" y="2501377"/>
                    <a:pt x="1684425" y="2501377"/>
                  </a:cubicBezTo>
                  <a:cubicBezTo>
                    <a:pt x="1699798" y="2501377"/>
                    <a:pt x="1714118" y="2506642"/>
                    <a:pt x="1706115" y="2506642"/>
                  </a:cubicBezTo>
                  <a:cubicBezTo>
                    <a:pt x="1713907" y="2506642"/>
                    <a:pt x="1709907" y="2492743"/>
                    <a:pt x="1722963" y="2492743"/>
                  </a:cubicBezTo>
                  <a:cubicBezTo>
                    <a:pt x="1742548" y="2492743"/>
                    <a:pt x="1753709" y="2490216"/>
                    <a:pt x="1764238" y="2490216"/>
                  </a:cubicBezTo>
                  <a:cubicBezTo>
                    <a:pt x="1774347" y="2490216"/>
                    <a:pt x="1817938" y="2435463"/>
                    <a:pt x="1835418" y="2435463"/>
                  </a:cubicBezTo>
                  <a:cubicBezTo>
                    <a:pt x="1853107" y="2435463"/>
                    <a:pt x="1892066" y="2377340"/>
                    <a:pt x="1903648" y="2365758"/>
                  </a:cubicBezTo>
                  <a:cubicBezTo>
                    <a:pt x="1919021" y="2365758"/>
                    <a:pt x="1932920" y="2303845"/>
                    <a:pt x="1948293" y="2303845"/>
                  </a:cubicBezTo>
                  <a:cubicBezTo>
                    <a:pt x="1964087" y="2303845"/>
                    <a:pt x="2001994" y="2262148"/>
                    <a:pt x="2001994" y="2233719"/>
                  </a:cubicBezTo>
                  <a:cubicBezTo>
                    <a:pt x="2001994" y="2205921"/>
                    <a:pt x="2018840" y="2175596"/>
                    <a:pt x="2010628" y="2175596"/>
                  </a:cubicBezTo>
                  <a:cubicBezTo>
                    <a:pt x="2018209" y="2175596"/>
                    <a:pt x="2004731" y="2155379"/>
                    <a:pt x="1997571" y="2155379"/>
                  </a:cubicBezTo>
                  <a:cubicBezTo>
                    <a:pt x="2005152" y="2155379"/>
                    <a:pt x="2002836" y="2129056"/>
                    <a:pt x="2013365" y="2129056"/>
                  </a:cubicBezTo>
                  <a:cubicBezTo>
                    <a:pt x="2024526" y="2129056"/>
                    <a:pt x="2060537" y="2106944"/>
                    <a:pt x="2076752" y="2106944"/>
                  </a:cubicBezTo>
                  <a:cubicBezTo>
                    <a:pt x="2092547" y="2106944"/>
                    <a:pt x="2113816" y="2081463"/>
                    <a:pt x="2113816" y="2063773"/>
                  </a:cubicBezTo>
                  <a:cubicBezTo>
                    <a:pt x="2113816" y="2046926"/>
                    <a:pt x="2126241" y="2002702"/>
                    <a:pt x="2113816" y="2002702"/>
                  </a:cubicBezTo>
                  <a:cubicBezTo>
                    <a:pt x="2126241" y="2002702"/>
                    <a:pt x="2093599" y="1958900"/>
                    <a:pt x="2093599" y="1944158"/>
                  </a:cubicBezTo>
                  <a:cubicBezTo>
                    <a:pt x="2093599" y="1929839"/>
                    <a:pt x="2078648" y="1895302"/>
                    <a:pt x="2093178" y="1895302"/>
                  </a:cubicBezTo>
                  <a:cubicBezTo>
                    <a:pt x="2108130" y="1895302"/>
                    <a:pt x="2111921" y="1865609"/>
                    <a:pt x="2126873" y="1865609"/>
                  </a:cubicBezTo>
                  <a:cubicBezTo>
                    <a:pt x="2142667" y="1865609"/>
                    <a:pt x="2158040" y="1848340"/>
                    <a:pt x="2165832" y="1833389"/>
                  </a:cubicBezTo>
                  <a:cubicBezTo>
                    <a:pt x="2177835" y="1821385"/>
                    <a:pt x="2195104" y="1803064"/>
                    <a:pt x="2209423" y="1803064"/>
                  </a:cubicBezTo>
                  <a:cubicBezTo>
                    <a:pt x="2225850" y="1803064"/>
                    <a:pt x="2258912" y="1775687"/>
                    <a:pt x="2272811" y="1775687"/>
                  </a:cubicBezTo>
                  <a:cubicBezTo>
                    <a:pt x="2286710" y="1775687"/>
                    <a:pt x="2317877" y="1732938"/>
                    <a:pt x="2317877" y="1715669"/>
                  </a:cubicBezTo>
                  <a:cubicBezTo>
                    <a:pt x="2317877" y="1699875"/>
                    <a:pt x="2326090" y="1690609"/>
                    <a:pt x="2326090" y="1676289"/>
                  </a:cubicBezTo>
                  <a:cubicBezTo>
                    <a:pt x="2339989" y="1676289"/>
                    <a:pt x="2315982" y="1651440"/>
                    <a:pt x="2315982" y="1635014"/>
                  </a:cubicBezTo>
                  <a:cubicBezTo>
                    <a:pt x="2315982" y="1618798"/>
                    <a:pt x="2309664" y="1588474"/>
                    <a:pt x="2309664" y="1571626"/>
                  </a:cubicBezTo>
                  <a:cubicBezTo>
                    <a:pt x="2309664" y="1554779"/>
                    <a:pt x="2315561" y="1527824"/>
                    <a:pt x="2303768" y="1527824"/>
                  </a:cubicBezTo>
                  <a:cubicBezTo>
                    <a:pt x="2291343" y="1527824"/>
                    <a:pt x="2281656" y="1508239"/>
                    <a:pt x="2270705" y="1508239"/>
                  </a:cubicBezTo>
                  <a:cubicBezTo>
                    <a:pt x="2270705" y="1496236"/>
                    <a:pt x="2275549" y="1485706"/>
                    <a:pt x="2268178" y="1470754"/>
                  </a:cubicBezTo>
                  <a:cubicBezTo>
                    <a:pt x="2256174" y="1458751"/>
                    <a:pt x="2263545" y="1438534"/>
                    <a:pt x="2253858" y="1438534"/>
                  </a:cubicBezTo>
                  <a:cubicBezTo>
                    <a:pt x="2263545" y="1438534"/>
                    <a:pt x="2256596" y="1429900"/>
                    <a:pt x="2256596" y="1416422"/>
                  </a:cubicBezTo>
                  <a:cubicBezTo>
                    <a:pt x="2256596" y="1402945"/>
                    <a:pt x="2268600" y="1394310"/>
                    <a:pt x="2258070" y="1394310"/>
                  </a:cubicBezTo>
                  <a:cubicBezTo>
                    <a:pt x="2268600" y="1394310"/>
                    <a:pt x="2246066" y="1378516"/>
                    <a:pt x="2234063" y="1378516"/>
                  </a:cubicBezTo>
                  <a:cubicBezTo>
                    <a:pt x="2246066" y="1378516"/>
                    <a:pt x="2221638" y="1331976"/>
                    <a:pt x="2234694" y="1331976"/>
                  </a:cubicBezTo>
                  <a:cubicBezTo>
                    <a:pt x="2246698" y="1331976"/>
                    <a:pt x="2250489" y="1304599"/>
                    <a:pt x="2243750" y="1304599"/>
                  </a:cubicBezTo>
                  <a:cubicBezTo>
                    <a:pt x="2250489" y="1304599"/>
                    <a:pt x="2259544" y="1308390"/>
                    <a:pt x="2259544" y="1293438"/>
                  </a:cubicBezTo>
                  <a:cubicBezTo>
                    <a:pt x="2259544" y="1278486"/>
                    <a:pt x="2282498" y="1260797"/>
                    <a:pt x="2274917" y="1260797"/>
                  </a:cubicBezTo>
                  <a:cubicBezTo>
                    <a:pt x="2282498" y="1260797"/>
                    <a:pt x="2289869" y="1234894"/>
                    <a:pt x="2280603" y="1234894"/>
                  </a:cubicBezTo>
                  <a:cubicBezTo>
                    <a:pt x="2289448" y="1234894"/>
                    <a:pt x="2290711" y="1231525"/>
                    <a:pt x="2300820" y="1231525"/>
                  </a:cubicBezTo>
                  <a:cubicBezTo>
                    <a:pt x="2311349" y="1231525"/>
                    <a:pt x="2338725" y="1201621"/>
                    <a:pt x="2326722" y="1201621"/>
                  </a:cubicBezTo>
                  <a:cubicBezTo>
                    <a:pt x="2338305" y="1201621"/>
                    <a:pt x="2375579" y="1149395"/>
                    <a:pt x="2386740" y="1138234"/>
                  </a:cubicBezTo>
                  <a:cubicBezTo>
                    <a:pt x="2393900" y="1123914"/>
                    <a:pt x="2443809" y="1085797"/>
                    <a:pt x="2457919" y="1085797"/>
                  </a:cubicBezTo>
                  <a:cubicBezTo>
                    <a:pt x="2470765" y="1085797"/>
                    <a:pt x="2487612" y="1076110"/>
                    <a:pt x="2504038" y="1059474"/>
                  </a:cubicBezTo>
                  <a:cubicBezTo>
                    <a:pt x="2514568" y="1038836"/>
                    <a:pt x="2552052" y="1028307"/>
                    <a:pt x="2563003" y="1006616"/>
                  </a:cubicBezTo>
                  <a:cubicBezTo>
                    <a:pt x="2579850" y="989769"/>
                    <a:pt x="2588484" y="957127"/>
                    <a:pt x="2600067" y="957127"/>
                  </a:cubicBezTo>
                  <a:cubicBezTo>
                    <a:pt x="2612491" y="957127"/>
                    <a:pt x="2623653" y="926803"/>
                    <a:pt x="2613966" y="926803"/>
                  </a:cubicBezTo>
                  <a:cubicBezTo>
                    <a:pt x="2623653" y="926803"/>
                    <a:pt x="2635866" y="907639"/>
                    <a:pt x="2635866" y="896057"/>
                  </a:cubicBezTo>
                  <a:cubicBezTo>
                    <a:pt x="2635866" y="884895"/>
                    <a:pt x="2633971" y="875419"/>
                    <a:pt x="2645554" y="875419"/>
                  </a:cubicBezTo>
                  <a:cubicBezTo>
                    <a:pt x="2657558" y="875419"/>
                    <a:pt x="2670614" y="851833"/>
                    <a:pt x="2662401" y="851833"/>
                  </a:cubicBezTo>
                  <a:cubicBezTo>
                    <a:pt x="2671035" y="851833"/>
                    <a:pt x="2672509" y="847621"/>
                    <a:pt x="2672509" y="834565"/>
                  </a:cubicBezTo>
                  <a:cubicBezTo>
                    <a:pt x="2672509" y="821508"/>
                    <a:pt x="2665770" y="807188"/>
                    <a:pt x="2676300" y="807188"/>
                  </a:cubicBezTo>
                  <a:cubicBezTo>
                    <a:pt x="2685355" y="807188"/>
                    <a:pt x="2699886" y="802766"/>
                    <a:pt x="2693989" y="802766"/>
                  </a:cubicBezTo>
                  <a:cubicBezTo>
                    <a:pt x="2700517" y="804029"/>
                    <a:pt x="2688514" y="790762"/>
                    <a:pt x="2679038" y="790762"/>
                  </a:cubicBezTo>
                  <a:close/>
                  <a:moveTo>
                    <a:pt x="1836681" y="1137813"/>
                  </a:moveTo>
                  <a:cubicBezTo>
                    <a:pt x="1843420" y="1137813"/>
                    <a:pt x="1861109" y="1131074"/>
                    <a:pt x="1852896" y="1131074"/>
                  </a:cubicBezTo>
                  <a:cubicBezTo>
                    <a:pt x="1861109" y="1131074"/>
                    <a:pt x="1853318" y="1145394"/>
                    <a:pt x="1847000" y="1145394"/>
                  </a:cubicBezTo>
                  <a:cubicBezTo>
                    <a:pt x="1852264" y="1145394"/>
                    <a:pt x="1844052" y="1152554"/>
                    <a:pt x="1834996" y="1152554"/>
                  </a:cubicBezTo>
                  <a:cubicBezTo>
                    <a:pt x="1826362" y="1152765"/>
                    <a:pt x="1843420" y="1137813"/>
                    <a:pt x="1836681" y="1137813"/>
                  </a:cubicBezTo>
                  <a:close/>
                  <a:moveTo>
                    <a:pt x="1819833" y="1767053"/>
                  </a:moveTo>
                  <a:cubicBezTo>
                    <a:pt x="1808251" y="1767053"/>
                    <a:pt x="1810778" y="1773160"/>
                    <a:pt x="1802566" y="1773160"/>
                  </a:cubicBezTo>
                  <a:cubicBezTo>
                    <a:pt x="1811200" y="1773160"/>
                    <a:pt x="1792457" y="1778004"/>
                    <a:pt x="1786140" y="1778004"/>
                  </a:cubicBezTo>
                  <a:cubicBezTo>
                    <a:pt x="1792457" y="1778004"/>
                    <a:pt x="1778558" y="1794851"/>
                    <a:pt x="1770767" y="1794851"/>
                  </a:cubicBezTo>
                  <a:cubicBezTo>
                    <a:pt x="1778980" y="1794851"/>
                    <a:pt x="1765502" y="1798641"/>
                    <a:pt x="1760237" y="1798641"/>
                  </a:cubicBezTo>
                  <a:cubicBezTo>
                    <a:pt x="1765081" y="1798641"/>
                    <a:pt x="1788035" y="1775055"/>
                    <a:pt x="1777084" y="1775055"/>
                  </a:cubicBezTo>
                  <a:cubicBezTo>
                    <a:pt x="1787192" y="1775055"/>
                    <a:pt x="1795827" y="1767895"/>
                    <a:pt x="1790983" y="1767895"/>
                  </a:cubicBezTo>
                  <a:cubicBezTo>
                    <a:pt x="1795827" y="1767895"/>
                    <a:pt x="1816465" y="1756734"/>
                    <a:pt x="1807199" y="1756734"/>
                  </a:cubicBezTo>
                  <a:cubicBezTo>
                    <a:pt x="1817307" y="1756734"/>
                    <a:pt x="1839419" y="1760104"/>
                    <a:pt x="1832680" y="1760104"/>
                  </a:cubicBezTo>
                  <a:cubicBezTo>
                    <a:pt x="1844262" y="1760314"/>
                    <a:pt x="1830363" y="1767053"/>
                    <a:pt x="1819833" y="1767053"/>
                  </a:cubicBezTo>
                  <a:close/>
                  <a:moveTo>
                    <a:pt x="1823625" y="1192566"/>
                  </a:moveTo>
                  <a:cubicBezTo>
                    <a:pt x="1833312" y="1192566"/>
                    <a:pt x="1836681" y="1194040"/>
                    <a:pt x="1833312" y="1194040"/>
                  </a:cubicBezTo>
                  <a:cubicBezTo>
                    <a:pt x="1838576" y="1194040"/>
                    <a:pt x="1838155" y="1212361"/>
                    <a:pt x="1832680" y="1212361"/>
                  </a:cubicBezTo>
                  <a:cubicBezTo>
                    <a:pt x="1837944" y="1212361"/>
                    <a:pt x="1830363" y="1210466"/>
                    <a:pt x="1822993" y="1210466"/>
                  </a:cubicBezTo>
                  <a:cubicBezTo>
                    <a:pt x="1830363" y="1210466"/>
                    <a:pt x="1832680" y="1192566"/>
                    <a:pt x="1823625" y="1192566"/>
                  </a:cubicBezTo>
                  <a:close/>
                  <a:moveTo>
                    <a:pt x="1911019" y="1452854"/>
                  </a:moveTo>
                  <a:cubicBezTo>
                    <a:pt x="1916705" y="1452854"/>
                    <a:pt x="1901964" y="1444641"/>
                    <a:pt x="1893750" y="1444641"/>
                  </a:cubicBezTo>
                  <a:cubicBezTo>
                    <a:pt x="1885116" y="1444641"/>
                    <a:pt x="1895646" y="1434533"/>
                    <a:pt x="1889960" y="1434533"/>
                  </a:cubicBezTo>
                  <a:cubicBezTo>
                    <a:pt x="1895646" y="1434533"/>
                    <a:pt x="1890381" y="1419581"/>
                    <a:pt x="1882168" y="1419581"/>
                  </a:cubicBezTo>
                  <a:cubicBezTo>
                    <a:pt x="1890381" y="1419581"/>
                    <a:pt x="1884485" y="1401892"/>
                    <a:pt x="1875850" y="1401892"/>
                  </a:cubicBezTo>
                  <a:cubicBezTo>
                    <a:pt x="1884906" y="1401892"/>
                    <a:pt x="1872060" y="1388414"/>
                    <a:pt x="1863847" y="1388414"/>
                  </a:cubicBezTo>
                  <a:cubicBezTo>
                    <a:pt x="1871007" y="1388414"/>
                    <a:pt x="1855634" y="1372620"/>
                    <a:pt x="1847631" y="1372620"/>
                  </a:cubicBezTo>
                  <a:cubicBezTo>
                    <a:pt x="1856266" y="1372620"/>
                    <a:pt x="1840682" y="1349666"/>
                    <a:pt x="1834996" y="1349666"/>
                  </a:cubicBezTo>
                  <a:cubicBezTo>
                    <a:pt x="1840682" y="1349666"/>
                    <a:pt x="1847000" y="1333871"/>
                    <a:pt x="1840682" y="1333871"/>
                  </a:cubicBezTo>
                  <a:cubicBezTo>
                    <a:pt x="1847631" y="1333871"/>
                    <a:pt x="1832469" y="1314076"/>
                    <a:pt x="1826783" y="1314076"/>
                  </a:cubicBezTo>
                  <a:cubicBezTo>
                    <a:pt x="1832469" y="1314076"/>
                    <a:pt x="1839840" y="1295334"/>
                    <a:pt x="1833522" y="1295334"/>
                  </a:cubicBezTo>
                  <a:cubicBezTo>
                    <a:pt x="1838787" y="1295334"/>
                    <a:pt x="1844683" y="1275749"/>
                    <a:pt x="1834996" y="1275749"/>
                  </a:cubicBezTo>
                  <a:cubicBezTo>
                    <a:pt x="1844052" y="1275749"/>
                    <a:pt x="1847631" y="1252584"/>
                    <a:pt x="1837313" y="1252584"/>
                  </a:cubicBezTo>
                  <a:cubicBezTo>
                    <a:pt x="1847421" y="1252584"/>
                    <a:pt x="1852264" y="1278908"/>
                    <a:pt x="1844894" y="1278908"/>
                  </a:cubicBezTo>
                  <a:cubicBezTo>
                    <a:pt x="1852686" y="1278908"/>
                    <a:pt x="1859846" y="1295755"/>
                    <a:pt x="1852686" y="1295755"/>
                  </a:cubicBezTo>
                  <a:cubicBezTo>
                    <a:pt x="1859846" y="1295755"/>
                    <a:pt x="1842577" y="1310707"/>
                    <a:pt x="1853107" y="1310707"/>
                  </a:cubicBezTo>
                  <a:cubicBezTo>
                    <a:pt x="1863636" y="1310707"/>
                    <a:pt x="1863215" y="1323131"/>
                    <a:pt x="1857529" y="1323131"/>
                  </a:cubicBezTo>
                  <a:cubicBezTo>
                    <a:pt x="1863847" y="1323131"/>
                    <a:pt x="1864689" y="1336609"/>
                    <a:pt x="1858372" y="1336609"/>
                  </a:cubicBezTo>
                  <a:cubicBezTo>
                    <a:pt x="1865111" y="1336609"/>
                    <a:pt x="1861741" y="1353877"/>
                    <a:pt x="1856476" y="1353877"/>
                  </a:cubicBezTo>
                  <a:cubicBezTo>
                    <a:pt x="1862373" y="1353877"/>
                    <a:pt x="1874798" y="1365881"/>
                    <a:pt x="1867006" y="1365881"/>
                  </a:cubicBezTo>
                  <a:cubicBezTo>
                    <a:pt x="1874587" y="1365881"/>
                    <a:pt x="1889117" y="1374094"/>
                    <a:pt x="1880062" y="1374094"/>
                  </a:cubicBezTo>
                  <a:cubicBezTo>
                    <a:pt x="1889117" y="1374094"/>
                    <a:pt x="1900700" y="1396627"/>
                    <a:pt x="1895857" y="1396627"/>
                  </a:cubicBezTo>
                  <a:cubicBezTo>
                    <a:pt x="1901542" y="1396627"/>
                    <a:pt x="1910808" y="1421055"/>
                    <a:pt x="1901121" y="1421055"/>
                  </a:cubicBezTo>
                  <a:cubicBezTo>
                    <a:pt x="1910176" y="1421055"/>
                    <a:pt x="1920706" y="1444220"/>
                    <a:pt x="1915441" y="1444220"/>
                  </a:cubicBezTo>
                  <a:cubicBezTo>
                    <a:pt x="1920074" y="1444220"/>
                    <a:pt x="1916705" y="1452854"/>
                    <a:pt x="1911019" y="1452854"/>
                  </a:cubicBezTo>
                  <a:close/>
                  <a:moveTo>
                    <a:pt x="1915863" y="1067266"/>
                  </a:moveTo>
                  <a:cubicBezTo>
                    <a:pt x="1922601" y="1067266"/>
                    <a:pt x="1897120" y="1085587"/>
                    <a:pt x="1889328" y="1085587"/>
                  </a:cubicBezTo>
                  <a:cubicBezTo>
                    <a:pt x="1896488" y="1085587"/>
                    <a:pt x="1885116" y="1088535"/>
                    <a:pt x="1877746" y="1088535"/>
                  </a:cubicBezTo>
                  <a:cubicBezTo>
                    <a:pt x="1884906" y="1088535"/>
                    <a:pt x="1884485" y="1067897"/>
                    <a:pt x="1895436" y="1067897"/>
                  </a:cubicBezTo>
                  <a:cubicBezTo>
                    <a:pt x="1905122" y="1067897"/>
                    <a:pt x="1919442" y="1056947"/>
                    <a:pt x="1913757" y="1056947"/>
                  </a:cubicBezTo>
                  <a:cubicBezTo>
                    <a:pt x="1919653" y="1056736"/>
                    <a:pt x="1919232" y="1067266"/>
                    <a:pt x="1915863" y="1067266"/>
                  </a:cubicBezTo>
                  <a:close/>
                  <a:moveTo>
                    <a:pt x="2017156" y="1214257"/>
                  </a:moveTo>
                  <a:cubicBezTo>
                    <a:pt x="2023263" y="1214257"/>
                    <a:pt x="2004731" y="1219943"/>
                    <a:pt x="1997361" y="1219943"/>
                  </a:cubicBezTo>
                  <a:cubicBezTo>
                    <a:pt x="2005573" y="1219943"/>
                    <a:pt x="1981145" y="1221838"/>
                    <a:pt x="1974827" y="1221838"/>
                  </a:cubicBezTo>
                  <a:cubicBezTo>
                    <a:pt x="1980724" y="1221838"/>
                    <a:pt x="1959876" y="1216152"/>
                    <a:pt x="1952294" y="1216152"/>
                  </a:cubicBezTo>
                  <a:cubicBezTo>
                    <a:pt x="1960086" y="1216152"/>
                    <a:pt x="1947451" y="1227313"/>
                    <a:pt x="1937974" y="1227313"/>
                  </a:cubicBezTo>
                  <a:cubicBezTo>
                    <a:pt x="1927445" y="1227313"/>
                    <a:pt x="1934184" y="1215310"/>
                    <a:pt x="1934184" y="1203727"/>
                  </a:cubicBezTo>
                  <a:cubicBezTo>
                    <a:pt x="1934184" y="1192145"/>
                    <a:pt x="1940922" y="1182037"/>
                    <a:pt x="1940922" y="1171086"/>
                  </a:cubicBezTo>
                  <a:cubicBezTo>
                    <a:pt x="1940922" y="1159504"/>
                    <a:pt x="1952926" y="1133180"/>
                    <a:pt x="1942818" y="1133180"/>
                  </a:cubicBezTo>
                  <a:cubicBezTo>
                    <a:pt x="1953348" y="1133180"/>
                    <a:pt x="1968299" y="1128968"/>
                    <a:pt x="1983251" y="1128968"/>
                  </a:cubicBezTo>
                  <a:cubicBezTo>
                    <a:pt x="1999045" y="1128968"/>
                    <a:pt x="2020736" y="1123282"/>
                    <a:pt x="2027475" y="1136128"/>
                  </a:cubicBezTo>
                  <a:cubicBezTo>
                    <a:pt x="2032739" y="1136128"/>
                    <a:pt x="2037162" y="1146236"/>
                    <a:pt x="2030423" y="1146236"/>
                  </a:cubicBezTo>
                  <a:cubicBezTo>
                    <a:pt x="2037583" y="1146236"/>
                    <a:pt x="2035266" y="1169401"/>
                    <a:pt x="2024526" y="1169401"/>
                  </a:cubicBezTo>
                  <a:cubicBezTo>
                    <a:pt x="2034214" y="1169401"/>
                    <a:pt x="2022210" y="1191092"/>
                    <a:pt x="2014418" y="1191092"/>
                  </a:cubicBezTo>
                  <a:cubicBezTo>
                    <a:pt x="2021578" y="1191092"/>
                    <a:pt x="1994834" y="1198252"/>
                    <a:pt x="1983672" y="1198252"/>
                  </a:cubicBezTo>
                  <a:cubicBezTo>
                    <a:pt x="1973143" y="1198252"/>
                    <a:pt x="1984514" y="1207939"/>
                    <a:pt x="1996518" y="1207939"/>
                  </a:cubicBezTo>
                  <a:cubicBezTo>
                    <a:pt x="2008522" y="1207518"/>
                    <a:pt x="2023894" y="1214257"/>
                    <a:pt x="2017156" y="1214257"/>
                  </a:cubicBezTo>
                  <a:close/>
                  <a:moveTo>
                    <a:pt x="2096548" y="1677131"/>
                  </a:moveTo>
                  <a:cubicBezTo>
                    <a:pt x="2102234" y="1677131"/>
                    <a:pt x="2095495" y="1668497"/>
                    <a:pt x="2086439" y="1668497"/>
                  </a:cubicBezTo>
                  <a:cubicBezTo>
                    <a:pt x="2096127" y="1668497"/>
                    <a:pt x="2079279" y="1672288"/>
                    <a:pt x="2073383" y="1672288"/>
                  </a:cubicBezTo>
                  <a:cubicBezTo>
                    <a:pt x="2079279" y="1672288"/>
                    <a:pt x="2071488" y="1663233"/>
                    <a:pt x="2064328" y="1663233"/>
                  </a:cubicBezTo>
                  <a:cubicBezTo>
                    <a:pt x="2070645" y="1663233"/>
                    <a:pt x="2068118" y="1649334"/>
                    <a:pt x="2058010" y="1649334"/>
                  </a:cubicBezTo>
                  <a:cubicBezTo>
                    <a:pt x="2047902" y="1649334"/>
                    <a:pt x="2062222" y="1629749"/>
                    <a:pt x="2055062" y="1629749"/>
                  </a:cubicBezTo>
                  <a:cubicBezTo>
                    <a:pt x="2062854" y="1629749"/>
                    <a:pt x="2058010" y="1605110"/>
                    <a:pt x="2046007" y="1605110"/>
                  </a:cubicBezTo>
                  <a:cubicBezTo>
                    <a:pt x="2056957" y="1605110"/>
                    <a:pt x="2059063" y="1581103"/>
                    <a:pt x="2047481" y="1581103"/>
                  </a:cubicBezTo>
                  <a:cubicBezTo>
                    <a:pt x="2059484" y="1581103"/>
                    <a:pt x="2053798" y="1570995"/>
                    <a:pt x="2048113" y="1558991"/>
                  </a:cubicBezTo>
                  <a:cubicBezTo>
                    <a:pt x="2048113" y="1545092"/>
                    <a:pt x="2052956" y="1533089"/>
                    <a:pt x="2046217" y="1533089"/>
                  </a:cubicBezTo>
                  <a:cubicBezTo>
                    <a:pt x="2053377" y="1533089"/>
                    <a:pt x="2052535" y="1510977"/>
                    <a:pt x="2042005" y="1510977"/>
                  </a:cubicBezTo>
                  <a:cubicBezTo>
                    <a:pt x="2052535" y="1510977"/>
                    <a:pt x="2040952" y="1487391"/>
                    <a:pt x="2031476" y="1487391"/>
                  </a:cubicBezTo>
                  <a:cubicBezTo>
                    <a:pt x="2041163" y="1487391"/>
                    <a:pt x="2055483" y="1489286"/>
                    <a:pt x="2046849" y="1489286"/>
                  </a:cubicBezTo>
                  <a:cubicBezTo>
                    <a:pt x="2054009" y="1489286"/>
                    <a:pt x="2068329" y="1514767"/>
                    <a:pt x="2062643" y="1514767"/>
                  </a:cubicBezTo>
                  <a:cubicBezTo>
                    <a:pt x="2069593" y="1514767"/>
                    <a:pt x="2073173" y="1540249"/>
                    <a:pt x="2063696" y="1540249"/>
                  </a:cubicBezTo>
                  <a:cubicBezTo>
                    <a:pt x="2072751" y="1540249"/>
                    <a:pt x="2083281" y="1560465"/>
                    <a:pt x="2076752" y="1560465"/>
                  </a:cubicBezTo>
                  <a:cubicBezTo>
                    <a:pt x="2083070" y="1560465"/>
                    <a:pt x="2078648" y="1581524"/>
                    <a:pt x="2070013" y="1581524"/>
                  </a:cubicBezTo>
                  <a:cubicBezTo>
                    <a:pt x="2060748" y="1581524"/>
                    <a:pt x="2081596" y="1603636"/>
                    <a:pt x="2072330" y="1603636"/>
                  </a:cubicBezTo>
                  <a:cubicBezTo>
                    <a:pt x="2080965" y="1603636"/>
                    <a:pt x="2070013" y="1620483"/>
                    <a:pt x="2070013" y="1633961"/>
                  </a:cubicBezTo>
                  <a:cubicBezTo>
                    <a:pt x="2070013" y="1647439"/>
                    <a:pt x="2071909" y="1653124"/>
                    <a:pt x="2086229" y="1653124"/>
                  </a:cubicBezTo>
                  <a:cubicBezTo>
                    <a:pt x="2099707" y="1653124"/>
                    <a:pt x="2102024" y="1677131"/>
                    <a:pt x="2096548" y="167713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1" name="Forme libre : forme 125">
              <a:extLst>
                <a:ext uri="{FF2B5EF4-FFF2-40B4-BE49-F238E27FC236}">
                  <a16:creationId xmlns:a16="http://schemas.microsoft.com/office/drawing/2014/main" id="{EBDBE519-1FEC-4EE4-AF5F-628C38B774F8}"/>
                </a:ext>
              </a:extLst>
            </p:cNvPr>
            <p:cNvSpPr/>
            <p:nvPr/>
          </p:nvSpPr>
          <p:spPr>
            <a:xfrm>
              <a:off x="7000480" y="1728060"/>
              <a:ext cx="68454" cy="12845"/>
            </a:xfrm>
            <a:custGeom>
              <a:avLst/>
              <a:gdLst>
                <a:gd name="connsiteX0" fmla="*/ 61492 w 68454"/>
                <a:gd name="connsiteY0" fmla="*/ 6739 h 12845"/>
                <a:gd name="connsiteX1" fmla="*/ 16847 w 68454"/>
                <a:gd name="connsiteY1" fmla="*/ 0 h 12845"/>
                <a:gd name="connsiteX2" fmla="*/ 0 w 68454"/>
                <a:gd name="connsiteY2" fmla="*/ 7160 h 12845"/>
                <a:gd name="connsiteX3" fmla="*/ 22533 w 68454"/>
                <a:gd name="connsiteY3" fmla="*/ 12846 h 12845"/>
                <a:gd name="connsiteX4" fmla="*/ 50330 w 68454"/>
                <a:gd name="connsiteY4" fmla="*/ 12425 h 12845"/>
                <a:gd name="connsiteX5" fmla="*/ 61492 w 68454"/>
                <a:gd name="connsiteY5" fmla="*/ 6739 h 1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454" h="12845">
                  <a:moveTo>
                    <a:pt x="61492" y="6739"/>
                  </a:moveTo>
                  <a:cubicBezTo>
                    <a:pt x="44223" y="6739"/>
                    <a:pt x="28429" y="0"/>
                    <a:pt x="16847" y="0"/>
                  </a:cubicBezTo>
                  <a:cubicBezTo>
                    <a:pt x="5265" y="0"/>
                    <a:pt x="6738" y="7160"/>
                    <a:pt x="0" y="7160"/>
                  </a:cubicBezTo>
                  <a:cubicBezTo>
                    <a:pt x="6738" y="7160"/>
                    <a:pt x="11582" y="12846"/>
                    <a:pt x="22533" y="12846"/>
                  </a:cubicBezTo>
                  <a:cubicBezTo>
                    <a:pt x="33062" y="12846"/>
                    <a:pt x="55806" y="12425"/>
                    <a:pt x="50330" y="12425"/>
                  </a:cubicBezTo>
                  <a:cubicBezTo>
                    <a:pt x="55806" y="12425"/>
                    <a:pt x="80234" y="6739"/>
                    <a:pt x="61492" y="673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2" name="Forme libre : forme 126">
              <a:extLst>
                <a:ext uri="{FF2B5EF4-FFF2-40B4-BE49-F238E27FC236}">
                  <a16:creationId xmlns:a16="http://schemas.microsoft.com/office/drawing/2014/main" id="{E5B8192A-2556-48F8-99B4-A75DAAD43C43}"/>
                </a:ext>
              </a:extLst>
            </p:cNvPr>
            <p:cNvSpPr/>
            <p:nvPr/>
          </p:nvSpPr>
          <p:spPr>
            <a:xfrm>
              <a:off x="7099036" y="1644667"/>
              <a:ext cx="554630" cy="84243"/>
            </a:xfrm>
            <a:custGeom>
              <a:avLst/>
              <a:gdLst>
                <a:gd name="connsiteX0" fmla="*/ 202587 w 554630"/>
                <a:gd name="connsiteY0" fmla="*/ 80445 h 84243"/>
                <a:gd name="connsiteX1" fmla="*/ 163207 w 554630"/>
                <a:gd name="connsiteY1" fmla="*/ 70337 h 84243"/>
                <a:gd name="connsiteX2" fmla="*/ 133513 w 554630"/>
                <a:gd name="connsiteY2" fmla="*/ 52016 h 84243"/>
                <a:gd name="connsiteX3" fmla="*/ 152677 w 554630"/>
                <a:gd name="connsiteY3" fmla="*/ 40854 h 84243"/>
                <a:gd name="connsiteX4" fmla="*/ 180896 w 554630"/>
                <a:gd name="connsiteY4" fmla="*/ 36011 h 84243"/>
                <a:gd name="connsiteX5" fmla="*/ 201534 w 554630"/>
                <a:gd name="connsiteY5" fmla="*/ 32220 h 84243"/>
                <a:gd name="connsiteX6" fmla="*/ 210589 w 554630"/>
                <a:gd name="connsiteY6" fmla="*/ 28430 h 84243"/>
                <a:gd name="connsiteX7" fmla="*/ 226383 w 554630"/>
                <a:gd name="connsiteY7" fmla="*/ 25481 h 84243"/>
                <a:gd name="connsiteX8" fmla="*/ 234596 w 554630"/>
                <a:gd name="connsiteY8" fmla="*/ 22112 h 84243"/>
                <a:gd name="connsiteX9" fmla="*/ 246600 w 554630"/>
                <a:gd name="connsiteY9" fmla="*/ 21691 h 84243"/>
                <a:gd name="connsiteX10" fmla="*/ 260078 w 554630"/>
                <a:gd name="connsiteY10" fmla="*/ 22744 h 84243"/>
                <a:gd name="connsiteX11" fmla="*/ 269765 w 554630"/>
                <a:gd name="connsiteY11" fmla="*/ 20848 h 84243"/>
                <a:gd name="connsiteX12" fmla="*/ 284295 w 554630"/>
                <a:gd name="connsiteY12" fmla="*/ 21269 h 84243"/>
                <a:gd name="connsiteX13" fmla="*/ 302617 w 554630"/>
                <a:gd name="connsiteY13" fmla="*/ 16847 h 84243"/>
                <a:gd name="connsiteX14" fmla="*/ 319885 w 554630"/>
                <a:gd name="connsiteY14" fmla="*/ 17268 h 84243"/>
                <a:gd name="connsiteX15" fmla="*/ 340944 w 554630"/>
                <a:gd name="connsiteY15" fmla="*/ 15373 h 84243"/>
                <a:gd name="connsiteX16" fmla="*/ 355475 w 554630"/>
                <a:gd name="connsiteY16" fmla="*/ 18321 h 84243"/>
                <a:gd name="connsiteX17" fmla="*/ 371269 w 554630"/>
                <a:gd name="connsiteY17" fmla="*/ 15373 h 84243"/>
                <a:gd name="connsiteX18" fmla="*/ 394855 w 554630"/>
                <a:gd name="connsiteY18" fmla="*/ 17689 h 84243"/>
                <a:gd name="connsiteX19" fmla="*/ 422653 w 554630"/>
                <a:gd name="connsiteY19" fmla="*/ 17689 h 84243"/>
                <a:gd name="connsiteX20" fmla="*/ 440974 w 554630"/>
                <a:gd name="connsiteY20" fmla="*/ 18742 h 84243"/>
                <a:gd name="connsiteX21" fmla="*/ 464981 w 554630"/>
                <a:gd name="connsiteY21" fmla="*/ 20217 h 84243"/>
                <a:gd name="connsiteX22" fmla="*/ 489409 w 554630"/>
                <a:gd name="connsiteY22" fmla="*/ 20638 h 84243"/>
                <a:gd name="connsiteX23" fmla="*/ 512574 w 554630"/>
                <a:gd name="connsiteY23" fmla="*/ 20638 h 84243"/>
                <a:gd name="connsiteX24" fmla="*/ 541214 w 554630"/>
                <a:gd name="connsiteY24" fmla="*/ 20217 h 84243"/>
                <a:gd name="connsiteX25" fmla="*/ 552375 w 554630"/>
                <a:gd name="connsiteY25" fmla="*/ 15794 h 84243"/>
                <a:gd name="connsiteX26" fmla="*/ 518260 w 554630"/>
                <a:gd name="connsiteY26" fmla="*/ 8634 h 84243"/>
                <a:gd name="connsiteX27" fmla="*/ 478880 w 554630"/>
                <a:gd name="connsiteY27" fmla="*/ 6318 h 84243"/>
                <a:gd name="connsiteX28" fmla="*/ 460137 w 554630"/>
                <a:gd name="connsiteY28" fmla="*/ 9687 h 84243"/>
                <a:gd name="connsiteX29" fmla="*/ 443290 w 554630"/>
                <a:gd name="connsiteY29" fmla="*/ 9266 h 84243"/>
                <a:gd name="connsiteX30" fmla="*/ 412123 w 554630"/>
                <a:gd name="connsiteY30" fmla="*/ 7792 h 84243"/>
                <a:gd name="connsiteX31" fmla="*/ 380535 w 554630"/>
                <a:gd name="connsiteY31" fmla="*/ 6318 h 84243"/>
                <a:gd name="connsiteX32" fmla="*/ 344524 w 554630"/>
                <a:gd name="connsiteY32" fmla="*/ 3369 h 84243"/>
                <a:gd name="connsiteX33" fmla="*/ 309987 w 554630"/>
                <a:gd name="connsiteY33" fmla="*/ 1895 h 84243"/>
                <a:gd name="connsiteX34" fmla="*/ 299458 w 554630"/>
                <a:gd name="connsiteY34" fmla="*/ 3369 h 84243"/>
                <a:gd name="connsiteX35" fmla="*/ 266816 w 554630"/>
                <a:gd name="connsiteY35" fmla="*/ 421 h 84243"/>
                <a:gd name="connsiteX36" fmla="*/ 244704 w 554630"/>
                <a:gd name="connsiteY36" fmla="*/ 0 h 84243"/>
                <a:gd name="connsiteX37" fmla="*/ 219223 w 554630"/>
                <a:gd name="connsiteY37" fmla="*/ 1053 h 84243"/>
                <a:gd name="connsiteX38" fmla="*/ 195637 w 554630"/>
                <a:gd name="connsiteY38" fmla="*/ 4001 h 84243"/>
                <a:gd name="connsiteX39" fmla="*/ 185529 w 554630"/>
                <a:gd name="connsiteY39" fmla="*/ 5475 h 84243"/>
                <a:gd name="connsiteX40" fmla="*/ 162575 w 554630"/>
                <a:gd name="connsiteY40" fmla="*/ 4422 h 84243"/>
                <a:gd name="connsiteX41" fmla="*/ 147623 w 554630"/>
                <a:gd name="connsiteY41" fmla="*/ 5896 h 84243"/>
                <a:gd name="connsiteX42" fmla="*/ 128460 w 554630"/>
                <a:gd name="connsiteY42" fmla="*/ 4001 h 84243"/>
                <a:gd name="connsiteX43" fmla="*/ 145306 w 554630"/>
                <a:gd name="connsiteY43" fmla="*/ 9898 h 84243"/>
                <a:gd name="connsiteX44" fmla="*/ 128880 w 554630"/>
                <a:gd name="connsiteY44" fmla="*/ 11793 h 84243"/>
                <a:gd name="connsiteX45" fmla="*/ 129301 w 554630"/>
                <a:gd name="connsiteY45" fmla="*/ 14741 h 84243"/>
                <a:gd name="connsiteX46" fmla="*/ 114350 w 554630"/>
                <a:gd name="connsiteY46" fmla="*/ 17689 h 84243"/>
                <a:gd name="connsiteX47" fmla="*/ 90343 w 554630"/>
                <a:gd name="connsiteY47" fmla="*/ 20638 h 84243"/>
                <a:gd name="connsiteX48" fmla="*/ 64861 w 554630"/>
                <a:gd name="connsiteY48" fmla="*/ 20638 h 84243"/>
                <a:gd name="connsiteX49" fmla="*/ 81287 w 554630"/>
                <a:gd name="connsiteY49" fmla="*/ 25481 h 84243"/>
                <a:gd name="connsiteX50" fmla="*/ 85078 w 554630"/>
                <a:gd name="connsiteY50" fmla="*/ 29272 h 84243"/>
                <a:gd name="connsiteX51" fmla="*/ 54332 w 554630"/>
                <a:gd name="connsiteY51" fmla="*/ 30746 h 84243"/>
                <a:gd name="connsiteX52" fmla="*/ 45697 w 554630"/>
                <a:gd name="connsiteY52" fmla="*/ 34115 h 84243"/>
                <a:gd name="connsiteX53" fmla="*/ 28851 w 554630"/>
                <a:gd name="connsiteY53" fmla="*/ 36011 h 84243"/>
                <a:gd name="connsiteX54" fmla="*/ 40854 w 554630"/>
                <a:gd name="connsiteY54" fmla="*/ 41697 h 84243"/>
                <a:gd name="connsiteX55" fmla="*/ 23586 w 554630"/>
                <a:gd name="connsiteY55" fmla="*/ 45908 h 84243"/>
                <a:gd name="connsiteX56" fmla="*/ 0 w 554630"/>
                <a:gd name="connsiteY56" fmla="*/ 46330 h 84243"/>
                <a:gd name="connsiteX57" fmla="*/ 17689 w 554630"/>
                <a:gd name="connsiteY57" fmla="*/ 55385 h 84243"/>
                <a:gd name="connsiteX58" fmla="*/ 35800 w 554630"/>
                <a:gd name="connsiteY58" fmla="*/ 57280 h 84243"/>
                <a:gd name="connsiteX59" fmla="*/ 28640 w 554630"/>
                <a:gd name="connsiteY59" fmla="*/ 61071 h 84243"/>
                <a:gd name="connsiteX60" fmla="*/ 44434 w 554630"/>
                <a:gd name="connsiteY60" fmla="*/ 63387 h 84243"/>
                <a:gd name="connsiteX61" fmla="*/ 58333 w 554630"/>
                <a:gd name="connsiteY61" fmla="*/ 66336 h 84243"/>
                <a:gd name="connsiteX62" fmla="*/ 64651 w 554630"/>
                <a:gd name="connsiteY62" fmla="*/ 61071 h 84243"/>
                <a:gd name="connsiteX63" fmla="*/ 79182 w 554630"/>
                <a:gd name="connsiteY63" fmla="*/ 65914 h 84243"/>
                <a:gd name="connsiteX64" fmla="*/ 76233 w 554630"/>
                <a:gd name="connsiteY64" fmla="*/ 70758 h 84243"/>
                <a:gd name="connsiteX65" fmla="*/ 96029 w 554630"/>
                <a:gd name="connsiteY65" fmla="*/ 73074 h 84243"/>
                <a:gd name="connsiteX66" fmla="*/ 135409 w 554630"/>
                <a:gd name="connsiteY66" fmla="*/ 77497 h 84243"/>
                <a:gd name="connsiteX67" fmla="*/ 168050 w 554630"/>
                <a:gd name="connsiteY67" fmla="*/ 81287 h 84243"/>
                <a:gd name="connsiteX68" fmla="*/ 193531 w 554630"/>
                <a:gd name="connsiteY68" fmla="*/ 84236 h 84243"/>
                <a:gd name="connsiteX69" fmla="*/ 202587 w 554630"/>
                <a:gd name="connsiteY69" fmla="*/ 80445 h 84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554630" h="84243">
                  <a:moveTo>
                    <a:pt x="202587" y="80445"/>
                  </a:moveTo>
                  <a:cubicBezTo>
                    <a:pt x="209326" y="80445"/>
                    <a:pt x="173736" y="70337"/>
                    <a:pt x="163207" y="70337"/>
                  </a:cubicBezTo>
                  <a:cubicBezTo>
                    <a:pt x="154993" y="62124"/>
                    <a:pt x="139199" y="52016"/>
                    <a:pt x="133513" y="52016"/>
                  </a:cubicBezTo>
                  <a:cubicBezTo>
                    <a:pt x="138778" y="52016"/>
                    <a:pt x="142779" y="40854"/>
                    <a:pt x="152677" y="40854"/>
                  </a:cubicBezTo>
                  <a:cubicBezTo>
                    <a:pt x="162364" y="40854"/>
                    <a:pt x="187213" y="36011"/>
                    <a:pt x="180896" y="36011"/>
                  </a:cubicBezTo>
                  <a:cubicBezTo>
                    <a:pt x="187213" y="36011"/>
                    <a:pt x="192900" y="32220"/>
                    <a:pt x="201534" y="32220"/>
                  </a:cubicBezTo>
                  <a:cubicBezTo>
                    <a:pt x="211221" y="32220"/>
                    <a:pt x="201955" y="28430"/>
                    <a:pt x="210589" y="28430"/>
                  </a:cubicBezTo>
                  <a:cubicBezTo>
                    <a:pt x="219644" y="28430"/>
                    <a:pt x="230174" y="25481"/>
                    <a:pt x="226383" y="25481"/>
                  </a:cubicBezTo>
                  <a:cubicBezTo>
                    <a:pt x="230174" y="25481"/>
                    <a:pt x="225752" y="22112"/>
                    <a:pt x="234596" y="22112"/>
                  </a:cubicBezTo>
                  <a:cubicBezTo>
                    <a:pt x="242809" y="22112"/>
                    <a:pt x="248495" y="21691"/>
                    <a:pt x="246600" y="21691"/>
                  </a:cubicBezTo>
                  <a:cubicBezTo>
                    <a:pt x="248495" y="21691"/>
                    <a:pt x="251864" y="22744"/>
                    <a:pt x="260078" y="22744"/>
                  </a:cubicBezTo>
                  <a:cubicBezTo>
                    <a:pt x="268290" y="22744"/>
                    <a:pt x="274187" y="20848"/>
                    <a:pt x="269765" y="20848"/>
                  </a:cubicBezTo>
                  <a:cubicBezTo>
                    <a:pt x="275661" y="20848"/>
                    <a:pt x="276082" y="21269"/>
                    <a:pt x="284295" y="21269"/>
                  </a:cubicBezTo>
                  <a:cubicBezTo>
                    <a:pt x="291876" y="21269"/>
                    <a:pt x="297773" y="12214"/>
                    <a:pt x="302617" y="16847"/>
                  </a:cubicBezTo>
                  <a:cubicBezTo>
                    <a:pt x="309776" y="16847"/>
                    <a:pt x="309356" y="17268"/>
                    <a:pt x="319885" y="17268"/>
                  </a:cubicBezTo>
                  <a:cubicBezTo>
                    <a:pt x="331046" y="17268"/>
                    <a:pt x="346840" y="15373"/>
                    <a:pt x="340944" y="15373"/>
                  </a:cubicBezTo>
                  <a:cubicBezTo>
                    <a:pt x="347261" y="15373"/>
                    <a:pt x="359686" y="18321"/>
                    <a:pt x="355475" y="18321"/>
                  </a:cubicBezTo>
                  <a:cubicBezTo>
                    <a:pt x="359897" y="18321"/>
                    <a:pt x="364741" y="15373"/>
                    <a:pt x="371269" y="15373"/>
                  </a:cubicBezTo>
                  <a:cubicBezTo>
                    <a:pt x="378429" y="15373"/>
                    <a:pt x="380956" y="17689"/>
                    <a:pt x="394855" y="17689"/>
                  </a:cubicBezTo>
                  <a:cubicBezTo>
                    <a:pt x="409175" y="17689"/>
                    <a:pt x="415914" y="17689"/>
                    <a:pt x="422653" y="17689"/>
                  </a:cubicBezTo>
                  <a:cubicBezTo>
                    <a:pt x="429813" y="17689"/>
                    <a:pt x="430444" y="18742"/>
                    <a:pt x="440974" y="18742"/>
                  </a:cubicBezTo>
                  <a:cubicBezTo>
                    <a:pt x="450661" y="18742"/>
                    <a:pt x="454451" y="20217"/>
                    <a:pt x="464981" y="20217"/>
                  </a:cubicBezTo>
                  <a:cubicBezTo>
                    <a:pt x="475089" y="20217"/>
                    <a:pt x="481406" y="20638"/>
                    <a:pt x="489409" y="20638"/>
                  </a:cubicBezTo>
                  <a:cubicBezTo>
                    <a:pt x="497201" y="20638"/>
                    <a:pt x="509204" y="13478"/>
                    <a:pt x="512574" y="20638"/>
                  </a:cubicBezTo>
                  <a:cubicBezTo>
                    <a:pt x="520155" y="20638"/>
                    <a:pt x="534475" y="20217"/>
                    <a:pt x="541214" y="20217"/>
                  </a:cubicBezTo>
                  <a:cubicBezTo>
                    <a:pt x="547953" y="20217"/>
                    <a:pt x="559536" y="15794"/>
                    <a:pt x="552375" y="15794"/>
                  </a:cubicBezTo>
                  <a:cubicBezTo>
                    <a:pt x="559536" y="15794"/>
                    <a:pt x="535528" y="8634"/>
                    <a:pt x="518260" y="8634"/>
                  </a:cubicBezTo>
                  <a:cubicBezTo>
                    <a:pt x="502044" y="8634"/>
                    <a:pt x="492358" y="6318"/>
                    <a:pt x="478880" y="6318"/>
                  </a:cubicBezTo>
                  <a:cubicBezTo>
                    <a:pt x="473194" y="-5265"/>
                    <a:pt x="461190" y="9687"/>
                    <a:pt x="460137" y="9687"/>
                  </a:cubicBezTo>
                  <a:cubicBezTo>
                    <a:pt x="461611" y="9687"/>
                    <a:pt x="451082" y="9266"/>
                    <a:pt x="443290" y="9266"/>
                  </a:cubicBezTo>
                  <a:cubicBezTo>
                    <a:pt x="435498" y="9266"/>
                    <a:pt x="420125" y="7792"/>
                    <a:pt x="412123" y="7792"/>
                  </a:cubicBezTo>
                  <a:cubicBezTo>
                    <a:pt x="405384" y="7792"/>
                    <a:pt x="388116" y="6318"/>
                    <a:pt x="380535" y="6318"/>
                  </a:cubicBezTo>
                  <a:cubicBezTo>
                    <a:pt x="373164" y="6318"/>
                    <a:pt x="355053" y="3369"/>
                    <a:pt x="344524" y="3369"/>
                  </a:cubicBezTo>
                  <a:cubicBezTo>
                    <a:pt x="338417" y="-2948"/>
                    <a:pt x="320095" y="1895"/>
                    <a:pt x="309987" y="1895"/>
                  </a:cubicBezTo>
                  <a:cubicBezTo>
                    <a:pt x="299879" y="1895"/>
                    <a:pt x="308092" y="3369"/>
                    <a:pt x="299458" y="3369"/>
                  </a:cubicBezTo>
                  <a:cubicBezTo>
                    <a:pt x="291245" y="3369"/>
                    <a:pt x="276504" y="421"/>
                    <a:pt x="266816" y="421"/>
                  </a:cubicBezTo>
                  <a:cubicBezTo>
                    <a:pt x="256708" y="421"/>
                    <a:pt x="263447" y="0"/>
                    <a:pt x="244704" y="0"/>
                  </a:cubicBezTo>
                  <a:cubicBezTo>
                    <a:pt x="225541" y="0"/>
                    <a:pt x="228279" y="1053"/>
                    <a:pt x="219223" y="1053"/>
                  </a:cubicBezTo>
                  <a:cubicBezTo>
                    <a:pt x="210589" y="1053"/>
                    <a:pt x="201534" y="4001"/>
                    <a:pt x="195637" y="4001"/>
                  </a:cubicBezTo>
                  <a:cubicBezTo>
                    <a:pt x="200902" y="4001"/>
                    <a:pt x="195216" y="5475"/>
                    <a:pt x="185529" y="5475"/>
                  </a:cubicBezTo>
                  <a:cubicBezTo>
                    <a:pt x="176895" y="5475"/>
                    <a:pt x="166365" y="4422"/>
                    <a:pt x="162575" y="4422"/>
                  </a:cubicBezTo>
                  <a:cubicBezTo>
                    <a:pt x="165944" y="4422"/>
                    <a:pt x="155836" y="5896"/>
                    <a:pt x="147623" y="5896"/>
                  </a:cubicBezTo>
                  <a:cubicBezTo>
                    <a:pt x="140463" y="5896"/>
                    <a:pt x="116456" y="4001"/>
                    <a:pt x="128460" y="4001"/>
                  </a:cubicBezTo>
                  <a:cubicBezTo>
                    <a:pt x="141937" y="4001"/>
                    <a:pt x="149097" y="9898"/>
                    <a:pt x="145306" y="9898"/>
                  </a:cubicBezTo>
                  <a:cubicBezTo>
                    <a:pt x="149097" y="9898"/>
                    <a:pt x="134777" y="11793"/>
                    <a:pt x="128880" y="11793"/>
                  </a:cubicBezTo>
                  <a:cubicBezTo>
                    <a:pt x="134566" y="11793"/>
                    <a:pt x="136040" y="14741"/>
                    <a:pt x="129301" y="14741"/>
                  </a:cubicBezTo>
                  <a:cubicBezTo>
                    <a:pt x="135619" y="14741"/>
                    <a:pt x="118140" y="17689"/>
                    <a:pt x="114350" y="17689"/>
                  </a:cubicBezTo>
                  <a:cubicBezTo>
                    <a:pt x="119194" y="17689"/>
                    <a:pt x="98556" y="28640"/>
                    <a:pt x="90343" y="20638"/>
                  </a:cubicBezTo>
                  <a:cubicBezTo>
                    <a:pt x="78339" y="20638"/>
                    <a:pt x="71179" y="20638"/>
                    <a:pt x="64861" y="20638"/>
                  </a:cubicBezTo>
                  <a:cubicBezTo>
                    <a:pt x="70758" y="20638"/>
                    <a:pt x="74127" y="25481"/>
                    <a:pt x="81287" y="25481"/>
                  </a:cubicBezTo>
                  <a:cubicBezTo>
                    <a:pt x="87605" y="25481"/>
                    <a:pt x="94344" y="29272"/>
                    <a:pt x="85078" y="29272"/>
                  </a:cubicBezTo>
                  <a:cubicBezTo>
                    <a:pt x="76444" y="29272"/>
                    <a:pt x="60650" y="30746"/>
                    <a:pt x="54332" y="30746"/>
                  </a:cubicBezTo>
                  <a:cubicBezTo>
                    <a:pt x="46540" y="30746"/>
                    <a:pt x="51384" y="34115"/>
                    <a:pt x="45697" y="34115"/>
                  </a:cubicBezTo>
                  <a:cubicBezTo>
                    <a:pt x="52016" y="34115"/>
                    <a:pt x="34747" y="36011"/>
                    <a:pt x="28851" y="36011"/>
                  </a:cubicBezTo>
                  <a:cubicBezTo>
                    <a:pt x="34747" y="36011"/>
                    <a:pt x="48014" y="41697"/>
                    <a:pt x="40854" y="41697"/>
                  </a:cubicBezTo>
                  <a:cubicBezTo>
                    <a:pt x="33273" y="41697"/>
                    <a:pt x="34115" y="45908"/>
                    <a:pt x="23586" y="45908"/>
                  </a:cubicBezTo>
                  <a:cubicBezTo>
                    <a:pt x="12425" y="45908"/>
                    <a:pt x="4001" y="46330"/>
                    <a:pt x="0" y="46330"/>
                  </a:cubicBezTo>
                  <a:cubicBezTo>
                    <a:pt x="4001" y="46330"/>
                    <a:pt x="8634" y="55385"/>
                    <a:pt x="17689" y="55385"/>
                  </a:cubicBezTo>
                  <a:cubicBezTo>
                    <a:pt x="26955" y="55385"/>
                    <a:pt x="44645" y="57280"/>
                    <a:pt x="35800" y="57280"/>
                  </a:cubicBezTo>
                  <a:cubicBezTo>
                    <a:pt x="31588" y="49067"/>
                    <a:pt x="19164" y="61071"/>
                    <a:pt x="28640" y="61071"/>
                  </a:cubicBezTo>
                  <a:cubicBezTo>
                    <a:pt x="37906" y="61071"/>
                    <a:pt x="49699" y="63387"/>
                    <a:pt x="44434" y="63387"/>
                  </a:cubicBezTo>
                  <a:cubicBezTo>
                    <a:pt x="49699" y="63387"/>
                    <a:pt x="61282" y="66336"/>
                    <a:pt x="58333" y="66336"/>
                  </a:cubicBezTo>
                  <a:cubicBezTo>
                    <a:pt x="61702" y="66336"/>
                    <a:pt x="53068" y="61071"/>
                    <a:pt x="64651" y="61071"/>
                  </a:cubicBezTo>
                  <a:cubicBezTo>
                    <a:pt x="76233" y="61071"/>
                    <a:pt x="84236" y="65914"/>
                    <a:pt x="79182" y="65914"/>
                  </a:cubicBezTo>
                  <a:cubicBezTo>
                    <a:pt x="84446" y="65914"/>
                    <a:pt x="79603" y="70758"/>
                    <a:pt x="76233" y="70758"/>
                  </a:cubicBezTo>
                  <a:cubicBezTo>
                    <a:pt x="80234" y="70758"/>
                    <a:pt x="85920" y="73074"/>
                    <a:pt x="96029" y="73074"/>
                  </a:cubicBezTo>
                  <a:cubicBezTo>
                    <a:pt x="105716" y="73074"/>
                    <a:pt x="123827" y="77497"/>
                    <a:pt x="135409" y="77497"/>
                  </a:cubicBezTo>
                  <a:cubicBezTo>
                    <a:pt x="146570" y="77497"/>
                    <a:pt x="156889" y="81287"/>
                    <a:pt x="168050" y="81287"/>
                  </a:cubicBezTo>
                  <a:cubicBezTo>
                    <a:pt x="178158" y="81287"/>
                    <a:pt x="183844" y="84236"/>
                    <a:pt x="193531" y="84236"/>
                  </a:cubicBezTo>
                  <a:cubicBezTo>
                    <a:pt x="202166" y="84446"/>
                    <a:pt x="214169" y="80445"/>
                    <a:pt x="202587" y="8044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3" name="Forme libre : forme 127">
              <a:extLst>
                <a:ext uri="{FF2B5EF4-FFF2-40B4-BE49-F238E27FC236}">
                  <a16:creationId xmlns:a16="http://schemas.microsoft.com/office/drawing/2014/main" id="{8948ED9D-DE99-4142-9EA1-0ACE7A76927E}"/>
                </a:ext>
              </a:extLst>
            </p:cNvPr>
            <p:cNvSpPr/>
            <p:nvPr/>
          </p:nvSpPr>
          <p:spPr>
            <a:xfrm>
              <a:off x="8610776" y="1761965"/>
              <a:ext cx="189569" cy="35800"/>
            </a:xfrm>
            <a:custGeom>
              <a:avLst/>
              <a:gdLst>
                <a:gd name="connsiteX0" fmla="*/ 182659 w 189569"/>
                <a:gd name="connsiteY0" fmla="*/ 28640 h 35800"/>
                <a:gd name="connsiteX1" fmla="*/ 168339 w 189569"/>
                <a:gd name="connsiteY1" fmla="*/ 24850 h 35800"/>
                <a:gd name="connsiteX2" fmla="*/ 151071 w 189569"/>
                <a:gd name="connsiteY2" fmla="*/ 19164 h 35800"/>
                <a:gd name="connsiteX3" fmla="*/ 130012 w 189569"/>
                <a:gd name="connsiteY3" fmla="*/ 13478 h 35800"/>
                <a:gd name="connsiteX4" fmla="*/ 114639 w 189569"/>
                <a:gd name="connsiteY4" fmla="*/ 12425 h 35800"/>
                <a:gd name="connsiteX5" fmla="*/ 102214 w 189569"/>
                <a:gd name="connsiteY5" fmla="*/ 9477 h 35800"/>
                <a:gd name="connsiteX6" fmla="*/ 106005 w 189569"/>
                <a:gd name="connsiteY6" fmla="*/ 6107 h 35800"/>
                <a:gd name="connsiteX7" fmla="*/ 80103 w 189569"/>
                <a:gd name="connsiteY7" fmla="*/ 1895 h 35800"/>
                <a:gd name="connsiteX8" fmla="*/ 72311 w 189569"/>
                <a:gd name="connsiteY8" fmla="*/ 2316 h 35800"/>
                <a:gd name="connsiteX9" fmla="*/ 55042 w 189569"/>
                <a:gd name="connsiteY9" fmla="*/ 0 h 35800"/>
                <a:gd name="connsiteX10" fmla="*/ 41565 w 189569"/>
                <a:gd name="connsiteY10" fmla="*/ 2316 h 35800"/>
                <a:gd name="connsiteX11" fmla="*/ 31877 w 189569"/>
                <a:gd name="connsiteY11" fmla="*/ 3791 h 35800"/>
                <a:gd name="connsiteX12" fmla="*/ 20295 w 189569"/>
                <a:gd name="connsiteY12" fmla="*/ 6107 h 35800"/>
                <a:gd name="connsiteX13" fmla="*/ 8923 w 189569"/>
                <a:gd name="connsiteY13" fmla="*/ 6949 h 35800"/>
                <a:gd name="connsiteX14" fmla="*/ 4080 w 189569"/>
                <a:gd name="connsiteY14" fmla="*/ 9898 h 35800"/>
                <a:gd name="connsiteX15" fmla="*/ 31877 w 189569"/>
                <a:gd name="connsiteY15" fmla="*/ 14741 h 35800"/>
                <a:gd name="connsiteX16" fmla="*/ 57991 w 189569"/>
                <a:gd name="connsiteY16" fmla="*/ 15584 h 35800"/>
                <a:gd name="connsiteX17" fmla="*/ 81787 w 189569"/>
                <a:gd name="connsiteY17" fmla="*/ 19374 h 35800"/>
                <a:gd name="connsiteX18" fmla="*/ 103057 w 189569"/>
                <a:gd name="connsiteY18" fmla="*/ 23586 h 35800"/>
                <a:gd name="connsiteX19" fmla="*/ 120325 w 189569"/>
                <a:gd name="connsiteY19" fmla="*/ 25060 h 35800"/>
                <a:gd name="connsiteX20" fmla="*/ 135698 w 189569"/>
                <a:gd name="connsiteY20" fmla="*/ 28008 h 35800"/>
                <a:gd name="connsiteX21" fmla="*/ 154861 w 189569"/>
                <a:gd name="connsiteY21" fmla="*/ 31378 h 35800"/>
                <a:gd name="connsiteX22" fmla="*/ 169182 w 189569"/>
                <a:gd name="connsiteY22" fmla="*/ 32852 h 35800"/>
                <a:gd name="connsiteX23" fmla="*/ 182659 w 189569"/>
                <a:gd name="connsiteY23" fmla="*/ 35800 h 35800"/>
                <a:gd name="connsiteX24" fmla="*/ 189398 w 189569"/>
                <a:gd name="connsiteY24" fmla="*/ 33484 h 35800"/>
                <a:gd name="connsiteX25" fmla="*/ 182659 w 189569"/>
                <a:gd name="connsiteY25" fmla="*/ 28640 h 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89569" h="35800">
                  <a:moveTo>
                    <a:pt x="182659" y="28640"/>
                  </a:moveTo>
                  <a:cubicBezTo>
                    <a:pt x="188345" y="28640"/>
                    <a:pt x="174025" y="24850"/>
                    <a:pt x="168339" y="24850"/>
                  </a:cubicBezTo>
                  <a:cubicBezTo>
                    <a:pt x="174236" y="24850"/>
                    <a:pt x="156757" y="19164"/>
                    <a:pt x="151071" y="19164"/>
                  </a:cubicBezTo>
                  <a:cubicBezTo>
                    <a:pt x="158863" y="19164"/>
                    <a:pt x="136751" y="13478"/>
                    <a:pt x="130012" y="13478"/>
                  </a:cubicBezTo>
                  <a:cubicBezTo>
                    <a:pt x="123273" y="13478"/>
                    <a:pt x="121378" y="12425"/>
                    <a:pt x="114639" y="12425"/>
                  </a:cubicBezTo>
                  <a:cubicBezTo>
                    <a:pt x="120325" y="12425"/>
                    <a:pt x="95476" y="9477"/>
                    <a:pt x="102214" y="9477"/>
                  </a:cubicBezTo>
                  <a:cubicBezTo>
                    <a:pt x="108953" y="9477"/>
                    <a:pt x="117587" y="6107"/>
                    <a:pt x="106005" y="6107"/>
                  </a:cubicBezTo>
                  <a:cubicBezTo>
                    <a:pt x="94422" y="6107"/>
                    <a:pt x="83893" y="1895"/>
                    <a:pt x="80103" y="1895"/>
                  </a:cubicBezTo>
                  <a:cubicBezTo>
                    <a:pt x="83050" y="1895"/>
                    <a:pt x="80103" y="2316"/>
                    <a:pt x="72311" y="2316"/>
                  </a:cubicBezTo>
                  <a:cubicBezTo>
                    <a:pt x="79050" y="2316"/>
                    <a:pt x="56938" y="0"/>
                    <a:pt x="55042" y="0"/>
                  </a:cubicBezTo>
                  <a:cubicBezTo>
                    <a:pt x="57991" y="0"/>
                    <a:pt x="45355" y="2316"/>
                    <a:pt x="41565" y="2316"/>
                  </a:cubicBezTo>
                  <a:cubicBezTo>
                    <a:pt x="44513" y="2316"/>
                    <a:pt x="36721" y="3791"/>
                    <a:pt x="31877" y="3791"/>
                  </a:cubicBezTo>
                  <a:cubicBezTo>
                    <a:pt x="36721" y="3791"/>
                    <a:pt x="23243" y="6107"/>
                    <a:pt x="20295" y="6107"/>
                  </a:cubicBezTo>
                  <a:cubicBezTo>
                    <a:pt x="23243" y="6107"/>
                    <a:pt x="15452" y="6949"/>
                    <a:pt x="8923" y="6949"/>
                  </a:cubicBezTo>
                  <a:cubicBezTo>
                    <a:pt x="2184" y="6949"/>
                    <a:pt x="-4554" y="9898"/>
                    <a:pt x="4080" y="9898"/>
                  </a:cubicBezTo>
                  <a:cubicBezTo>
                    <a:pt x="10819" y="9898"/>
                    <a:pt x="25138" y="14741"/>
                    <a:pt x="31877" y="14741"/>
                  </a:cubicBezTo>
                  <a:cubicBezTo>
                    <a:pt x="38827" y="14741"/>
                    <a:pt x="49146" y="15584"/>
                    <a:pt x="57991" y="15584"/>
                  </a:cubicBezTo>
                  <a:cubicBezTo>
                    <a:pt x="67678" y="15584"/>
                    <a:pt x="71468" y="19374"/>
                    <a:pt x="81787" y="19374"/>
                  </a:cubicBezTo>
                  <a:cubicBezTo>
                    <a:pt x="92527" y="19374"/>
                    <a:pt x="106847" y="23586"/>
                    <a:pt x="103057" y="23586"/>
                  </a:cubicBezTo>
                  <a:cubicBezTo>
                    <a:pt x="107690" y="23586"/>
                    <a:pt x="112533" y="25060"/>
                    <a:pt x="120325" y="25060"/>
                  </a:cubicBezTo>
                  <a:cubicBezTo>
                    <a:pt x="128117" y="25060"/>
                    <a:pt x="125168" y="28008"/>
                    <a:pt x="135698" y="28008"/>
                  </a:cubicBezTo>
                  <a:cubicBezTo>
                    <a:pt x="140542" y="36642"/>
                    <a:pt x="145385" y="31378"/>
                    <a:pt x="154861" y="31378"/>
                  </a:cubicBezTo>
                  <a:cubicBezTo>
                    <a:pt x="165391" y="31378"/>
                    <a:pt x="162443" y="32852"/>
                    <a:pt x="169182" y="32852"/>
                  </a:cubicBezTo>
                  <a:cubicBezTo>
                    <a:pt x="175920" y="32852"/>
                    <a:pt x="185397" y="35800"/>
                    <a:pt x="182659" y="35800"/>
                  </a:cubicBezTo>
                  <a:cubicBezTo>
                    <a:pt x="186450" y="35800"/>
                    <a:pt x="190451" y="33484"/>
                    <a:pt x="189398" y="33484"/>
                  </a:cubicBezTo>
                  <a:cubicBezTo>
                    <a:pt x="189398" y="33273"/>
                    <a:pt x="187292" y="28640"/>
                    <a:pt x="182659" y="2864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4" name="Forme libre : forme 128">
              <a:extLst>
                <a:ext uri="{FF2B5EF4-FFF2-40B4-BE49-F238E27FC236}">
                  <a16:creationId xmlns:a16="http://schemas.microsoft.com/office/drawing/2014/main" id="{A22AD043-68B3-4DAE-AE56-C882443F5A45}"/>
                </a:ext>
              </a:extLst>
            </p:cNvPr>
            <p:cNvSpPr/>
            <p:nvPr/>
          </p:nvSpPr>
          <p:spPr>
            <a:xfrm>
              <a:off x="8409084" y="1714793"/>
              <a:ext cx="224987" cy="45647"/>
            </a:xfrm>
            <a:custGeom>
              <a:avLst/>
              <a:gdLst>
                <a:gd name="connsiteX0" fmla="*/ 161338 w 224987"/>
                <a:gd name="connsiteY0" fmla="*/ 20427 h 45647"/>
                <a:gd name="connsiteX1" fmla="*/ 176711 w 224987"/>
                <a:gd name="connsiteY1" fmla="*/ 21901 h 45647"/>
                <a:gd name="connsiteX2" fmla="*/ 201771 w 224987"/>
                <a:gd name="connsiteY2" fmla="*/ 26745 h 45647"/>
                <a:gd name="connsiteX3" fmla="*/ 215249 w 224987"/>
                <a:gd name="connsiteY3" fmla="*/ 31167 h 45647"/>
                <a:gd name="connsiteX4" fmla="*/ 223883 w 224987"/>
                <a:gd name="connsiteY4" fmla="*/ 35379 h 45647"/>
                <a:gd name="connsiteX5" fmla="*/ 216091 w 224987"/>
                <a:gd name="connsiteY5" fmla="*/ 35800 h 45647"/>
                <a:gd name="connsiteX6" fmla="*/ 211248 w 224987"/>
                <a:gd name="connsiteY6" fmla="*/ 38748 h 45647"/>
                <a:gd name="connsiteX7" fmla="*/ 211248 w 224987"/>
                <a:gd name="connsiteY7" fmla="*/ 41065 h 45647"/>
                <a:gd name="connsiteX8" fmla="*/ 213143 w 224987"/>
                <a:gd name="connsiteY8" fmla="*/ 44855 h 45647"/>
                <a:gd name="connsiteX9" fmla="*/ 175658 w 224987"/>
                <a:gd name="connsiteY9" fmla="*/ 38538 h 45647"/>
                <a:gd name="connsiteX10" fmla="*/ 147650 w 224987"/>
                <a:gd name="connsiteY10" fmla="*/ 34747 h 45647"/>
                <a:gd name="connsiteX11" fmla="*/ 114166 w 224987"/>
                <a:gd name="connsiteY11" fmla="*/ 26534 h 45647"/>
                <a:gd name="connsiteX12" fmla="*/ 87211 w 224987"/>
                <a:gd name="connsiteY12" fmla="*/ 22322 h 45647"/>
                <a:gd name="connsiteX13" fmla="*/ 73944 w 224987"/>
                <a:gd name="connsiteY13" fmla="*/ 20006 h 45647"/>
                <a:gd name="connsiteX14" fmla="*/ 46988 w 224987"/>
                <a:gd name="connsiteY14" fmla="*/ 14741 h 45647"/>
                <a:gd name="connsiteX15" fmla="*/ 32668 w 224987"/>
                <a:gd name="connsiteY15" fmla="*/ 9055 h 45647"/>
                <a:gd name="connsiteX16" fmla="*/ 18348 w 224987"/>
                <a:gd name="connsiteY16" fmla="*/ 5265 h 45647"/>
                <a:gd name="connsiteX17" fmla="*/ 27 w 224987"/>
                <a:gd name="connsiteY17" fmla="*/ 3369 h 45647"/>
                <a:gd name="connsiteX18" fmla="*/ 3817 w 224987"/>
                <a:gd name="connsiteY18" fmla="*/ 0 h 45647"/>
                <a:gd name="connsiteX19" fmla="*/ 22981 w 224987"/>
                <a:gd name="connsiteY19" fmla="*/ 1474 h 45647"/>
                <a:gd name="connsiteX20" fmla="*/ 32668 w 224987"/>
                <a:gd name="connsiteY20" fmla="*/ 0 h 45647"/>
                <a:gd name="connsiteX21" fmla="*/ 50779 w 224987"/>
                <a:gd name="connsiteY21" fmla="*/ 1895 h 45647"/>
                <a:gd name="connsiteX22" fmla="*/ 82578 w 224987"/>
                <a:gd name="connsiteY22" fmla="*/ 6318 h 45647"/>
                <a:gd name="connsiteX23" fmla="*/ 109533 w 224987"/>
                <a:gd name="connsiteY23" fmla="*/ 10529 h 45647"/>
                <a:gd name="connsiteX24" fmla="*/ 126801 w 224987"/>
                <a:gd name="connsiteY24" fmla="*/ 13057 h 45647"/>
                <a:gd name="connsiteX25" fmla="*/ 150809 w 224987"/>
                <a:gd name="connsiteY25" fmla="*/ 18742 h 45647"/>
                <a:gd name="connsiteX26" fmla="*/ 159443 w 224987"/>
                <a:gd name="connsiteY26" fmla="*/ 22112 h 45647"/>
                <a:gd name="connsiteX27" fmla="*/ 161338 w 224987"/>
                <a:gd name="connsiteY27" fmla="*/ 20427 h 456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987" h="45647">
                  <a:moveTo>
                    <a:pt x="161338" y="20427"/>
                  </a:moveTo>
                  <a:cubicBezTo>
                    <a:pt x="165129" y="20427"/>
                    <a:pt x="169130" y="21901"/>
                    <a:pt x="176711" y="21901"/>
                  </a:cubicBezTo>
                  <a:cubicBezTo>
                    <a:pt x="184292" y="21901"/>
                    <a:pt x="206615" y="26745"/>
                    <a:pt x="201771" y="26745"/>
                  </a:cubicBezTo>
                  <a:cubicBezTo>
                    <a:pt x="206615" y="26745"/>
                    <a:pt x="219882" y="31167"/>
                    <a:pt x="215249" y="31167"/>
                  </a:cubicBezTo>
                  <a:cubicBezTo>
                    <a:pt x="220093" y="31167"/>
                    <a:pt x="227884" y="35379"/>
                    <a:pt x="223883" y="35379"/>
                  </a:cubicBezTo>
                  <a:cubicBezTo>
                    <a:pt x="227674" y="35379"/>
                    <a:pt x="217987" y="35800"/>
                    <a:pt x="216091" y="35800"/>
                  </a:cubicBezTo>
                  <a:cubicBezTo>
                    <a:pt x="217987" y="35800"/>
                    <a:pt x="216091" y="38748"/>
                    <a:pt x="211248" y="38748"/>
                  </a:cubicBezTo>
                  <a:cubicBezTo>
                    <a:pt x="216934" y="38748"/>
                    <a:pt x="202613" y="41065"/>
                    <a:pt x="211248" y="41065"/>
                  </a:cubicBezTo>
                  <a:cubicBezTo>
                    <a:pt x="214196" y="48225"/>
                    <a:pt x="217987" y="44855"/>
                    <a:pt x="213143" y="44855"/>
                  </a:cubicBezTo>
                  <a:cubicBezTo>
                    <a:pt x="217987" y="44855"/>
                    <a:pt x="180502" y="38538"/>
                    <a:pt x="175658" y="38538"/>
                  </a:cubicBezTo>
                  <a:cubicBezTo>
                    <a:pt x="180502" y="38538"/>
                    <a:pt x="159232" y="34747"/>
                    <a:pt x="147650" y="34747"/>
                  </a:cubicBezTo>
                  <a:cubicBezTo>
                    <a:pt x="137120" y="34747"/>
                    <a:pt x="119009" y="36221"/>
                    <a:pt x="114166" y="26534"/>
                  </a:cubicBezTo>
                  <a:cubicBezTo>
                    <a:pt x="103637" y="26534"/>
                    <a:pt x="93949" y="22322"/>
                    <a:pt x="87211" y="22322"/>
                  </a:cubicBezTo>
                  <a:cubicBezTo>
                    <a:pt x="93949" y="22322"/>
                    <a:pt x="86158" y="20006"/>
                    <a:pt x="73944" y="20006"/>
                  </a:cubicBezTo>
                  <a:cubicBezTo>
                    <a:pt x="60466" y="20006"/>
                    <a:pt x="53727" y="14741"/>
                    <a:pt x="46988" y="14741"/>
                  </a:cubicBezTo>
                  <a:cubicBezTo>
                    <a:pt x="53727" y="14741"/>
                    <a:pt x="37301" y="9055"/>
                    <a:pt x="32668" y="9055"/>
                  </a:cubicBezTo>
                  <a:cubicBezTo>
                    <a:pt x="37512" y="9055"/>
                    <a:pt x="26982" y="5265"/>
                    <a:pt x="18348" y="5265"/>
                  </a:cubicBezTo>
                  <a:cubicBezTo>
                    <a:pt x="10556" y="5265"/>
                    <a:pt x="6766" y="3369"/>
                    <a:pt x="27" y="3369"/>
                  </a:cubicBezTo>
                  <a:cubicBezTo>
                    <a:pt x="6766" y="3369"/>
                    <a:pt x="-5870" y="0"/>
                    <a:pt x="3817" y="0"/>
                  </a:cubicBezTo>
                  <a:cubicBezTo>
                    <a:pt x="12451" y="0"/>
                    <a:pt x="26982" y="1474"/>
                    <a:pt x="22981" y="1474"/>
                  </a:cubicBezTo>
                  <a:cubicBezTo>
                    <a:pt x="26982" y="1474"/>
                    <a:pt x="39197" y="0"/>
                    <a:pt x="32668" y="0"/>
                  </a:cubicBezTo>
                  <a:cubicBezTo>
                    <a:pt x="38565" y="0"/>
                    <a:pt x="39407" y="1895"/>
                    <a:pt x="50779" y="1895"/>
                  </a:cubicBezTo>
                  <a:cubicBezTo>
                    <a:pt x="63203" y="1895"/>
                    <a:pt x="88264" y="6318"/>
                    <a:pt x="82578" y="6318"/>
                  </a:cubicBezTo>
                  <a:cubicBezTo>
                    <a:pt x="87421" y="6318"/>
                    <a:pt x="115219" y="10529"/>
                    <a:pt x="109533" y="10529"/>
                  </a:cubicBezTo>
                  <a:cubicBezTo>
                    <a:pt x="114376" y="10529"/>
                    <a:pt x="117114" y="13057"/>
                    <a:pt x="126801" y="13057"/>
                  </a:cubicBezTo>
                  <a:cubicBezTo>
                    <a:pt x="132698" y="19795"/>
                    <a:pt x="153757" y="18742"/>
                    <a:pt x="150809" y="18742"/>
                  </a:cubicBezTo>
                  <a:cubicBezTo>
                    <a:pt x="152915" y="18742"/>
                    <a:pt x="161338" y="22112"/>
                    <a:pt x="159443" y="22112"/>
                  </a:cubicBezTo>
                  <a:cubicBezTo>
                    <a:pt x="161338" y="21901"/>
                    <a:pt x="164287" y="20427"/>
                    <a:pt x="161338" y="2042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5" name="Forme libre : forme 129">
              <a:extLst>
                <a:ext uri="{FF2B5EF4-FFF2-40B4-BE49-F238E27FC236}">
                  <a16:creationId xmlns:a16="http://schemas.microsoft.com/office/drawing/2014/main" id="{2F462CDF-8320-49EB-BA30-1A8640EEE47D}"/>
                </a:ext>
              </a:extLst>
            </p:cNvPr>
            <p:cNvSpPr/>
            <p:nvPr/>
          </p:nvSpPr>
          <p:spPr>
            <a:xfrm>
              <a:off x="8358692" y="1692198"/>
              <a:ext cx="182091" cy="31018"/>
            </a:xfrm>
            <a:custGeom>
              <a:avLst/>
              <a:gdLst>
                <a:gd name="connsiteX0" fmla="*/ 88956 w 182091"/>
                <a:gd name="connsiteY0" fmla="*/ 7012 h 31018"/>
                <a:gd name="connsiteX1" fmla="*/ 106224 w 182091"/>
                <a:gd name="connsiteY1" fmla="*/ 8486 h 31018"/>
                <a:gd name="connsiteX2" fmla="*/ 124545 w 182091"/>
                <a:gd name="connsiteY2" fmla="*/ 14172 h 31018"/>
                <a:gd name="connsiteX3" fmla="*/ 141814 w 182091"/>
                <a:gd name="connsiteY3" fmla="*/ 19015 h 31018"/>
                <a:gd name="connsiteX4" fmla="*/ 159082 w 182091"/>
                <a:gd name="connsiteY4" fmla="*/ 23859 h 31018"/>
                <a:gd name="connsiteX5" fmla="*/ 178246 w 182091"/>
                <a:gd name="connsiteY5" fmla="*/ 26175 h 31018"/>
                <a:gd name="connsiteX6" fmla="*/ 177193 w 182091"/>
                <a:gd name="connsiteY6" fmla="*/ 29123 h 31018"/>
                <a:gd name="connsiteX7" fmla="*/ 158030 w 182091"/>
                <a:gd name="connsiteY7" fmla="*/ 26175 h 31018"/>
                <a:gd name="connsiteX8" fmla="*/ 165610 w 182091"/>
                <a:gd name="connsiteY8" fmla="*/ 31019 h 31018"/>
                <a:gd name="connsiteX9" fmla="*/ 145394 w 182091"/>
                <a:gd name="connsiteY9" fmla="*/ 28702 h 31018"/>
                <a:gd name="connsiteX10" fmla="*/ 121387 w 182091"/>
                <a:gd name="connsiteY10" fmla="*/ 24912 h 31018"/>
                <a:gd name="connsiteX11" fmla="*/ 106014 w 182091"/>
                <a:gd name="connsiteY11" fmla="*/ 23016 h 31018"/>
                <a:gd name="connsiteX12" fmla="*/ 82007 w 182091"/>
                <a:gd name="connsiteY12" fmla="*/ 19226 h 31018"/>
                <a:gd name="connsiteX13" fmla="*/ 73372 w 182091"/>
                <a:gd name="connsiteY13" fmla="*/ 20279 h 31018"/>
                <a:gd name="connsiteX14" fmla="*/ 61790 w 182091"/>
                <a:gd name="connsiteY14" fmla="*/ 18383 h 31018"/>
                <a:gd name="connsiteX15" fmla="*/ 39678 w 182091"/>
                <a:gd name="connsiteY15" fmla="*/ 13961 h 31018"/>
                <a:gd name="connsiteX16" fmla="*/ 20515 w 182091"/>
                <a:gd name="connsiteY16" fmla="*/ 10170 h 31018"/>
                <a:gd name="connsiteX17" fmla="*/ 1772 w 182091"/>
                <a:gd name="connsiteY17" fmla="*/ 4906 h 31018"/>
                <a:gd name="connsiteX18" fmla="*/ 18619 w 182091"/>
                <a:gd name="connsiteY18" fmla="*/ 5327 h 31018"/>
                <a:gd name="connsiteX19" fmla="*/ 33992 w 182091"/>
                <a:gd name="connsiteY19" fmla="*/ 6801 h 31018"/>
                <a:gd name="connsiteX20" fmla="*/ 39678 w 182091"/>
                <a:gd name="connsiteY20" fmla="*/ 4906 h 31018"/>
                <a:gd name="connsiteX21" fmla="*/ 24305 w 182091"/>
                <a:gd name="connsiteY21" fmla="*/ 1957 h 31018"/>
                <a:gd name="connsiteX22" fmla="*/ 55051 w 182091"/>
                <a:gd name="connsiteY22" fmla="*/ 3432 h 31018"/>
                <a:gd name="connsiteX23" fmla="*/ 79901 w 182091"/>
                <a:gd name="connsiteY23" fmla="*/ 6380 h 31018"/>
                <a:gd name="connsiteX24" fmla="*/ 88956 w 182091"/>
                <a:gd name="connsiteY24" fmla="*/ 7012 h 310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82091" h="31018">
                  <a:moveTo>
                    <a:pt x="88956" y="7012"/>
                  </a:moveTo>
                  <a:cubicBezTo>
                    <a:pt x="95695" y="7012"/>
                    <a:pt x="110857" y="8486"/>
                    <a:pt x="106224" y="8486"/>
                  </a:cubicBezTo>
                  <a:cubicBezTo>
                    <a:pt x="110225" y="8486"/>
                    <a:pt x="130232" y="14172"/>
                    <a:pt x="124545" y="14172"/>
                  </a:cubicBezTo>
                  <a:cubicBezTo>
                    <a:pt x="129389" y="14172"/>
                    <a:pt x="147500" y="19015"/>
                    <a:pt x="141814" y="19015"/>
                  </a:cubicBezTo>
                  <a:cubicBezTo>
                    <a:pt x="146658" y="19015"/>
                    <a:pt x="164979" y="23859"/>
                    <a:pt x="159082" y="23859"/>
                  </a:cubicBezTo>
                  <a:cubicBezTo>
                    <a:pt x="164768" y="23859"/>
                    <a:pt x="184142" y="26175"/>
                    <a:pt x="178246" y="26175"/>
                  </a:cubicBezTo>
                  <a:cubicBezTo>
                    <a:pt x="182036" y="26175"/>
                    <a:pt x="184985" y="29123"/>
                    <a:pt x="177193" y="29123"/>
                  </a:cubicBezTo>
                  <a:cubicBezTo>
                    <a:pt x="169612" y="29123"/>
                    <a:pt x="159082" y="26175"/>
                    <a:pt x="158030" y="26175"/>
                  </a:cubicBezTo>
                  <a:cubicBezTo>
                    <a:pt x="158871" y="26175"/>
                    <a:pt x="168559" y="31019"/>
                    <a:pt x="165610" y="31019"/>
                  </a:cubicBezTo>
                  <a:cubicBezTo>
                    <a:pt x="167506" y="31019"/>
                    <a:pt x="152133" y="28702"/>
                    <a:pt x="145394" y="28702"/>
                  </a:cubicBezTo>
                  <a:cubicBezTo>
                    <a:pt x="152133" y="28702"/>
                    <a:pt x="126230" y="24912"/>
                    <a:pt x="121387" y="24912"/>
                  </a:cubicBezTo>
                  <a:cubicBezTo>
                    <a:pt x="125178" y="24912"/>
                    <a:pt x="112752" y="23016"/>
                    <a:pt x="106014" y="23016"/>
                  </a:cubicBezTo>
                  <a:cubicBezTo>
                    <a:pt x="111700" y="23016"/>
                    <a:pt x="84955" y="19226"/>
                    <a:pt x="82007" y="19226"/>
                  </a:cubicBezTo>
                  <a:cubicBezTo>
                    <a:pt x="84113" y="19226"/>
                    <a:pt x="80111" y="20279"/>
                    <a:pt x="73372" y="20279"/>
                  </a:cubicBezTo>
                  <a:cubicBezTo>
                    <a:pt x="66633" y="20279"/>
                    <a:pt x="69582" y="18383"/>
                    <a:pt x="61790" y="18383"/>
                  </a:cubicBezTo>
                  <a:cubicBezTo>
                    <a:pt x="53156" y="18383"/>
                    <a:pt x="45364" y="13961"/>
                    <a:pt x="39678" y="13961"/>
                  </a:cubicBezTo>
                  <a:cubicBezTo>
                    <a:pt x="44522" y="13961"/>
                    <a:pt x="31044" y="10170"/>
                    <a:pt x="20515" y="10170"/>
                  </a:cubicBezTo>
                  <a:cubicBezTo>
                    <a:pt x="10827" y="10170"/>
                    <a:pt x="-5388" y="4906"/>
                    <a:pt x="1772" y="4906"/>
                  </a:cubicBezTo>
                  <a:cubicBezTo>
                    <a:pt x="8932" y="4906"/>
                    <a:pt x="23252" y="5327"/>
                    <a:pt x="18619" y="5327"/>
                  </a:cubicBezTo>
                  <a:cubicBezTo>
                    <a:pt x="24515" y="5327"/>
                    <a:pt x="36941" y="6801"/>
                    <a:pt x="33992" y="6801"/>
                  </a:cubicBezTo>
                  <a:cubicBezTo>
                    <a:pt x="36730" y="6801"/>
                    <a:pt x="44522" y="4906"/>
                    <a:pt x="39678" y="4906"/>
                  </a:cubicBezTo>
                  <a:cubicBezTo>
                    <a:pt x="44522" y="4906"/>
                    <a:pt x="25358" y="1957"/>
                    <a:pt x="24305" y="1957"/>
                  </a:cubicBezTo>
                  <a:cubicBezTo>
                    <a:pt x="25148" y="1957"/>
                    <a:pt x="52103" y="-3307"/>
                    <a:pt x="55051" y="3432"/>
                  </a:cubicBezTo>
                  <a:cubicBezTo>
                    <a:pt x="62843" y="3432"/>
                    <a:pt x="83902" y="6380"/>
                    <a:pt x="79901" y="6380"/>
                  </a:cubicBezTo>
                  <a:cubicBezTo>
                    <a:pt x="84113" y="6169"/>
                    <a:pt x="92747" y="7012"/>
                    <a:pt x="88956" y="701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6" name="Forme libre : forme 130">
              <a:extLst>
                <a:ext uri="{FF2B5EF4-FFF2-40B4-BE49-F238E27FC236}">
                  <a16:creationId xmlns:a16="http://schemas.microsoft.com/office/drawing/2014/main" id="{66CD2C48-F17F-422B-B93D-CA267EA181CB}"/>
                </a:ext>
              </a:extLst>
            </p:cNvPr>
            <p:cNvSpPr/>
            <p:nvPr/>
          </p:nvSpPr>
          <p:spPr>
            <a:xfrm>
              <a:off x="8341512" y="1698788"/>
              <a:ext cx="84199" cy="15372"/>
            </a:xfrm>
            <a:custGeom>
              <a:avLst/>
              <a:gdLst>
                <a:gd name="connsiteX0" fmla="*/ 0 w 84199"/>
                <a:gd name="connsiteY0" fmla="*/ 0 h 15372"/>
                <a:gd name="connsiteX1" fmla="*/ 22533 w 84199"/>
                <a:gd name="connsiteY1" fmla="*/ 3369 h 15372"/>
                <a:gd name="connsiteX2" fmla="*/ 42539 w 84199"/>
                <a:gd name="connsiteY2" fmla="*/ 6318 h 15372"/>
                <a:gd name="connsiteX3" fmla="*/ 63598 w 84199"/>
                <a:gd name="connsiteY3" fmla="*/ 9687 h 15372"/>
                <a:gd name="connsiteX4" fmla="*/ 75180 w 84199"/>
                <a:gd name="connsiteY4" fmla="*/ 12635 h 15372"/>
                <a:gd name="connsiteX5" fmla="*/ 82761 w 84199"/>
                <a:gd name="connsiteY5" fmla="*/ 15373 h 15372"/>
                <a:gd name="connsiteX6" fmla="*/ 60860 w 84199"/>
                <a:gd name="connsiteY6" fmla="*/ 13057 h 15372"/>
                <a:gd name="connsiteX7" fmla="*/ 43592 w 84199"/>
                <a:gd name="connsiteY7" fmla="*/ 13478 h 15372"/>
                <a:gd name="connsiteX8" fmla="*/ 16215 w 84199"/>
                <a:gd name="connsiteY8" fmla="*/ 7792 h 15372"/>
                <a:gd name="connsiteX9" fmla="*/ 0 w 84199"/>
                <a:gd name="connsiteY9" fmla="*/ 2948 h 15372"/>
                <a:gd name="connsiteX10" fmla="*/ 0 w 84199"/>
                <a:gd name="connsiteY10" fmla="*/ 0 h 15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4199" h="15372">
                  <a:moveTo>
                    <a:pt x="0" y="0"/>
                  </a:moveTo>
                  <a:cubicBezTo>
                    <a:pt x="7160" y="0"/>
                    <a:pt x="13899" y="3369"/>
                    <a:pt x="22533" y="3369"/>
                  </a:cubicBezTo>
                  <a:cubicBezTo>
                    <a:pt x="31167" y="3369"/>
                    <a:pt x="34958" y="6318"/>
                    <a:pt x="42539" y="6318"/>
                  </a:cubicBezTo>
                  <a:cubicBezTo>
                    <a:pt x="50330" y="6318"/>
                    <a:pt x="69494" y="9687"/>
                    <a:pt x="63598" y="9687"/>
                  </a:cubicBezTo>
                  <a:cubicBezTo>
                    <a:pt x="69494" y="9687"/>
                    <a:pt x="80024" y="12635"/>
                    <a:pt x="75180" y="12635"/>
                  </a:cubicBezTo>
                  <a:cubicBezTo>
                    <a:pt x="78971" y="12635"/>
                    <a:pt x="87605" y="15373"/>
                    <a:pt x="82761" y="15373"/>
                  </a:cubicBezTo>
                  <a:cubicBezTo>
                    <a:pt x="87605" y="15373"/>
                    <a:pt x="66546" y="13057"/>
                    <a:pt x="60860" y="13057"/>
                  </a:cubicBezTo>
                  <a:cubicBezTo>
                    <a:pt x="65704" y="13057"/>
                    <a:pt x="59807" y="13478"/>
                    <a:pt x="43592" y="13478"/>
                  </a:cubicBezTo>
                  <a:cubicBezTo>
                    <a:pt x="35800" y="-1474"/>
                    <a:pt x="27166" y="7792"/>
                    <a:pt x="16215" y="7792"/>
                  </a:cubicBezTo>
                  <a:cubicBezTo>
                    <a:pt x="5686" y="7792"/>
                    <a:pt x="2316" y="2948"/>
                    <a:pt x="0" y="2948"/>
                  </a:cubicBezTo>
                  <a:cubicBezTo>
                    <a:pt x="4211" y="2948"/>
                    <a:pt x="1474" y="0"/>
                    <a:pt x="0"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7" name="Forme libre : forme 131">
              <a:extLst>
                <a:ext uri="{FF2B5EF4-FFF2-40B4-BE49-F238E27FC236}">
                  <a16:creationId xmlns:a16="http://schemas.microsoft.com/office/drawing/2014/main" id="{D28E9F2C-6382-4BC8-811D-6B9A81F08BDE}"/>
                </a:ext>
              </a:extLst>
            </p:cNvPr>
            <p:cNvSpPr/>
            <p:nvPr/>
          </p:nvSpPr>
          <p:spPr>
            <a:xfrm>
              <a:off x="6920071" y="1548007"/>
              <a:ext cx="147033" cy="8634"/>
            </a:xfrm>
            <a:custGeom>
              <a:avLst/>
              <a:gdLst>
                <a:gd name="connsiteX0" fmla="*/ 144427 w 147033"/>
                <a:gd name="connsiteY0" fmla="*/ 4844 h 8634"/>
                <a:gd name="connsiteX1" fmla="*/ 116419 w 147033"/>
                <a:gd name="connsiteY1" fmla="*/ 1053 h 8634"/>
                <a:gd name="connsiteX2" fmla="*/ 83357 w 147033"/>
                <a:gd name="connsiteY2" fmla="*/ 0 h 8634"/>
                <a:gd name="connsiteX3" fmla="*/ 71774 w 147033"/>
                <a:gd name="connsiteY3" fmla="*/ 2738 h 8634"/>
                <a:gd name="connsiteX4" fmla="*/ 30920 w 147033"/>
                <a:gd name="connsiteY4" fmla="*/ 3791 h 8634"/>
                <a:gd name="connsiteX5" fmla="*/ 3965 w 147033"/>
                <a:gd name="connsiteY5" fmla="*/ 3791 h 8634"/>
                <a:gd name="connsiteX6" fmla="*/ 43345 w 147033"/>
                <a:gd name="connsiteY6" fmla="*/ 8634 h 8634"/>
                <a:gd name="connsiteX7" fmla="*/ 67773 w 147033"/>
                <a:gd name="connsiteY7" fmla="*/ 5686 h 8634"/>
                <a:gd name="connsiteX8" fmla="*/ 99151 w 147033"/>
                <a:gd name="connsiteY8" fmla="*/ 4844 h 8634"/>
                <a:gd name="connsiteX9" fmla="*/ 132845 w 147033"/>
                <a:gd name="connsiteY9" fmla="*/ 6318 h 8634"/>
                <a:gd name="connsiteX10" fmla="*/ 144427 w 147033"/>
                <a:gd name="connsiteY10" fmla="*/ 4844 h 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7033" h="8634">
                  <a:moveTo>
                    <a:pt x="144427" y="4844"/>
                  </a:moveTo>
                  <a:cubicBezTo>
                    <a:pt x="148639" y="4844"/>
                    <a:pt x="122737" y="1053"/>
                    <a:pt x="116419" y="1053"/>
                  </a:cubicBezTo>
                  <a:cubicBezTo>
                    <a:pt x="122737" y="1053"/>
                    <a:pt x="90517" y="0"/>
                    <a:pt x="83357" y="0"/>
                  </a:cubicBezTo>
                  <a:cubicBezTo>
                    <a:pt x="71353" y="0"/>
                    <a:pt x="94939" y="2738"/>
                    <a:pt x="71774" y="2738"/>
                  </a:cubicBezTo>
                  <a:cubicBezTo>
                    <a:pt x="56401" y="2738"/>
                    <a:pt x="39975" y="3791"/>
                    <a:pt x="30920" y="3791"/>
                  </a:cubicBezTo>
                  <a:cubicBezTo>
                    <a:pt x="22286" y="3791"/>
                    <a:pt x="-11408" y="3791"/>
                    <a:pt x="3965" y="3791"/>
                  </a:cubicBezTo>
                  <a:cubicBezTo>
                    <a:pt x="19337" y="3791"/>
                    <a:pt x="33658" y="8634"/>
                    <a:pt x="43345" y="8634"/>
                  </a:cubicBezTo>
                  <a:cubicBezTo>
                    <a:pt x="52611" y="8634"/>
                    <a:pt x="60192" y="5686"/>
                    <a:pt x="67773" y="5686"/>
                  </a:cubicBezTo>
                  <a:cubicBezTo>
                    <a:pt x="75565" y="5686"/>
                    <a:pt x="86937" y="4844"/>
                    <a:pt x="99151" y="4844"/>
                  </a:cubicBezTo>
                  <a:cubicBezTo>
                    <a:pt x="111155" y="4844"/>
                    <a:pt x="123579" y="6318"/>
                    <a:pt x="132845" y="6318"/>
                  </a:cubicBezTo>
                  <a:cubicBezTo>
                    <a:pt x="141479" y="6318"/>
                    <a:pt x="152009" y="4844"/>
                    <a:pt x="144427" y="484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8" name="Forme libre : forme 132">
              <a:extLst>
                <a:ext uri="{FF2B5EF4-FFF2-40B4-BE49-F238E27FC236}">
                  <a16:creationId xmlns:a16="http://schemas.microsoft.com/office/drawing/2014/main" id="{366FD0A2-7960-4062-B3F8-097EEBAC9617}"/>
                </a:ext>
              </a:extLst>
            </p:cNvPr>
            <p:cNvSpPr/>
            <p:nvPr/>
          </p:nvSpPr>
          <p:spPr>
            <a:xfrm>
              <a:off x="7431345" y="1576706"/>
              <a:ext cx="82709" cy="10259"/>
            </a:xfrm>
            <a:custGeom>
              <a:avLst/>
              <a:gdLst>
                <a:gd name="connsiteX0" fmla="*/ 79182 w 82709"/>
                <a:gd name="connsiteY0" fmla="*/ 6258 h 10259"/>
                <a:gd name="connsiteX1" fmla="*/ 46962 w 82709"/>
                <a:gd name="connsiteY1" fmla="*/ 3942 h 10259"/>
                <a:gd name="connsiteX2" fmla="*/ 28851 w 82709"/>
                <a:gd name="connsiteY2" fmla="*/ 3521 h 10259"/>
                <a:gd name="connsiteX3" fmla="*/ 0 w 82709"/>
                <a:gd name="connsiteY3" fmla="*/ 1625 h 10259"/>
                <a:gd name="connsiteX4" fmla="*/ 14320 w 82709"/>
                <a:gd name="connsiteY4" fmla="*/ 5837 h 10259"/>
                <a:gd name="connsiteX5" fmla="*/ 38327 w 82709"/>
                <a:gd name="connsiteY5" fmla="*/ 8785 h 10259"/>
                <a:gd name="connsiteX6" fmla="*/ 57069 w 82709"/>
                <a:gd name="connsiteY6" fmla="*/ 10259 h 10259"/>
                <a:gd name="connsiteX7" fmla="*/ 73917 w 82709"/>
                <a:gd name="connsiteY7" fmla="*/ 9207 h 10259"/>
                <a:gd name="connsiteX8" fmla="*/ 79182 w 82709"/>
                <a:gd name="connsiteY8" fmla="*/ 6258 h 10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709" h="10259">
                  <a:moveTo>
                    <a:pt x="79182" y="6258"/>
                  </a:moveTo>
                  <a:cubicBezTo>
                    <a:pt x="70547" y="6258"/>
                    <a:pt x="49910" y="3942"/>
                    <a:pt x="46962" y="3942"/>
                  </a:cubicBezTo>
                  <a:cubicBezTo>
                    <a:pt x="49910" y="3942"/>
                    <a:pt x="37274" y="3521"/>
                    <a:pt x="28851" y="3521"/>
                  </a:cubicBezTo>
                  <a:cubicBezTo>
                    <a:pt x="19164" y="3521"/>
                    <a:pt x="2316" y="1625"/>
                    <a:pt x="0" y="1625"/>
                  </a:cubicBezTo>
                  <a:cubicBezTo>
                    <a:pt x="2316" y="1625"/>
                    <a:pt x="9687" y="-4061"/>
                    <a:pt x="14320" y="5837"/>
                  </a:cubicBezTo>
                  <a:cubicBezTo>
                    <a:pt x="25481" y="5837"/>
                    <a:pt x="45066" y="8785"/>
                    <a:pt x="38327" y="8785"/>
                  </a:cubicBezTo>
                  <a:cubicBezTo>
                    <a:pt x="43592" y="8785"/>
                    <a:pt x="50752" y="10259"/>
                    <a:pt x="57069" y="10259"/>
                  </a:cubicBezTo>
                  <a:cubicBezTo>
                    <a:pt x="63808" y="10259"/>
                    <a:pt x="76865" y="9207"/>
                    <a:pt x="73917" y="9207"/>
                  </a:cubicBezTo>
                  <a:cubicBezTo>
                    <a:pt x="76865" y="9207"/>
                    <a:pt x="88447" y="6258"/>
                    <a:pt x="79182" y="625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49" name="Forme libre : forme 133">
              <a:extLst>
                <a:ext uri="{FF2B5EF4-FFF2-40B4-BE49-F238E27FC236}">
                  <a16:creationId xmlns:a16="http://schemas.microsoft.com/office/drawing/2014/main" id="{EEE1F868-B876-4F68-ABB0-059A0C08F69B}"/>
                </a:ext>
              </a:extLst>
            </p:cNvPr>
            <p:cNvSpPr/>
            <p:nvPr/>
          </p:nvSpPr>
          <p:spPr>
            <a:xfrm>
              <a:off x="7330473" y="1571593"/>
              <a:ext cx="82442" cy="10108"/>
            </a:xfrm>
            <a:custGeom>
              <a:avLst/>
              <a:gdLst>
                <a:gd name="connsiteX0" fmla="*/ 65283 w 82442"/>
                <a:gd name="connsiteY0" fmla="*/ 4844 h 10108"/>
                <a:gd name="connsiteX1" fmla="*/ 43803 w 82442"/>
                <a:gd name="connsiteY1" fmla="*/ 4422 h 10108"/>
                <a:gd name="connsiteX2" fmla="*/ 20638 w 82442"/>
                <a:gd name="connsiteY2" fmla="*/ 1474 h 10108"/>
                <a:gd name="connsiteX3" fmla="*/ 0 w 82442"/>
                <a:gd name="connsiteY3" fmla="*/ 0 h 10108"/>
                <a:gd name="connsiteX4" fmla="*/ 6107 w 82442"/>
                <a:gd name="connsiteY4" fmla="*/ 4844 h 10108"/>
                <a:gd name="connsiteX5" fmla="*/ 32642 w 82442"/>
                <a:gd name="connsiteY5" fmla="*/ 6739 h 10108"/>
                <a:gd name="connsiteX6" fmla="*/ 54543 w 82442"/>
                <a:gd name="connsiteY6" fmla="*/ 10108 h 10108"/>
                <a:gd name="connsiteX7" fmla="*/ 71811 w 82442"/>
                <a:gd name="connsiteY7" fmla="*/ 9687 h 10108"/>
                <a:gd name="connsiteX8" fmla="*/ 79603 w 82442"/>
                <a:gd name="connsiteY8" fmla="*/ 6949 h 10108"/>
                <a:gd name="connsiteX9" fmla="*/ 65283 w 82442"/>
                <a:gd name="connsiteY9" fmla="*/ 4844 h 10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2442" h="10108">
                  <a:moveTo>
                    <a:pt x="65283" y="4844"/>
                  </a:moveTo>
                  <a:cubicBezTo>
                    <a:pt x="57069" y="4844"/>
                    <a:pt x="49910" y="4422"/>
                    <a:pt x="43803" y="4422"/>
                  </a:cubicBezTo>
                  <a:cubicBezTo>
                    <a:pt x="49489" y="4422"/>
                    <a:pt x="28430" y="1474"/>
                    <a:pt x="20638" y="1474"/>
                  </a:cubicBezTo>
                  <a:cubicBezTo>
                    <a:pt x="13056" y="1474"/>
                    <a:pt x="4844" y="0"/>
                    <a:pt x="0" y="0"/>
                  </a:cubicBezTo>
                  <a:cubicBezTo>
                    <a:pt x="4212" y="0"/>
                    <a:pt x="10951" y="4844"/>
                    <a:pt x="6107" y="4844"/>
                  </a:cubicBezTo>
                  <a:cubicBezTo>
                    <a:pt x="12004" y="4844"/>
                    <a:pt x="20006" y="6739"/>
                    <a:pt x="32642" y="6739"/>
                  </a:cubicBezTo>
                  <a:cubicBezTo>
                    <a:pt x="44224" y="6739"/>
                    <a:pt x="47593" y="10108"/>
                    <a:pt x="54543" y="10108"/>
                  </a:cubicBezTo>
                  <a:cubicBezTo>
                    <a:pt x="62334" y="10108"/>
                    <a:pt x="76233" y="9687"/>
                    <a:pt x="71811" y="9687"/>
                  </a:cubicBezTo>
                  <a:cubicBezTo>
                    <a:pt x="76655" y="9687"/>
                    <a:pt x="87605" y="6949"/>
                    <a:pt x="79603" y="6949"/>
                  </a:cubicBezTo>
                  <a:cubicBezTo>
                    <a:pt x="82130" y="6739"/>
                    <a:pt x="73495" y="4844"/>
                    <a:pt x="65283" y="484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0" name="Forme libre : forme 134">
              <a:extLst>
                <a:ext uri="{FF2B5EF4-FFF2-40B4-BE49-F238E27FC236}">
                  <a16:creationId xmlns:a16="http://schemas.microsoft.com/office/drawing/2014/main" id="{598C2032-894F-4EAE-A3F2-BFAEE699534D}"/>
                </a:ext>
              </a:extLst>
            </p:cNvPr>
            <p:cNvSpPr/>
            <p:nvPr/>
          </p:nvSpPr>
          <p:spPr>
            <a:xfrm>
              <a:off x="7219071" y="1569018"/>
              <a:ext cx="84536" cy="8260"/>
            </a:xfrm>
            <a:custGeom>
              <a:avLst/>
              <a:gdLst>
                <a:gd name="connsiteX0" fmla="*/ 80656 w 84536"/>
                <a:gd name="connsiteY0" fmla="*/ 5944 h 8260"/>
                <a:gd name="connsiteX1" fmla="*/ 52647 w 84536"/>
                <a:gd name="connsiteY1" fmla="*/ 2154 h 8260"/>
                <a:gd name="connsiteX2" fmla="*/ 36432 w 84536"/>
                <a:gd name="connsiteY2" fmla="*/ 2575 h 8260"/>
                <a:gd name="connsiteX3" fmla="*/ 12004 w 84536"/>
                <a:gd name="connsiteY3" fmla="*/ 1101 h 8260"/>
                <a:gd name="connsiteX4" fmla="*/ 0 w 84536"/>
                <a:gd name="connsiteY4" fmla="*/ 1522 h 8260"/>
                <a:gd name="connsiteX5" fmla="*/ 23376 w 84536"/>
                <a:gd name="connsiteY5" fmla="*/ 5312 h 8260"/>
                <a:gd name="connsiteX6" fmla="*/ 47804 w 84536"/>
                <a:gd name="connsiteY6" fmla="*/ 7208 h 8260"/>
                <a:gd name="connsiteX7" fmla="*/ 66968 w 84536"/>
                <a:gd name="connsiteY7" fmla="*/ 8261 h 8260"/>
                <a:gd name="connsiteX8" fmla="*/ 80656 w 84536"/>
                <a:gd name="connsiteY8" fmla="*/ 5944 h 8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4536" h="8260">
                  <a:moveTo>
                    <a:pt x="80656" y="5944"/>
                  </a:moveTo>
                  <a:cubicBezTo>
                    <a:pt x="70969" y="5944"/>
                    <a:pt x="60440" y="2154"/>
                    <a:pt x="52647" y="2154"/>
                  </a:cubicBezTo>
                  <a:cubicBezTo>
                    <a:pt x="44435" y="2154"/>
                    <a:pt x="43592" y="2575"/>
                    <a:pt x="36432" y="2575"/>
                  </a:cubicBezTo>
                  <a:cubicBezTo>
                    <a:pt x="28640" y="2575"/>
                    <a:pt x="21059" y="1101"/>
                    <a:pt x="12004" y="1101"/>
                  </a:cubicBezTo>
                  <a:cubicBezTo>
                    <a:pt x="2949" y="1101"/>
                    <a:pt x="4633" y="1522"/>
                    <a:pt x="0" y="1522"/>
                  </a:cubicBezTo>
                  <a:cubicBezTo>
                    <a:pt x="4212" y="1522"/>
                    <a:pt x="14321" y="-3743"/>
                    <a:pt x="23376" y="5312"/>
                  </a:cubicBezTo>
                  <a:cubicBezTo>
                    <a:pt x="36432" y="5312"/>
                    <a:pt x="38749" y="7208"/>
                    <a:pt x="47804" y="7208"/>
                  </a:cubicBezTo>
                  <a:cubicBezTo>
                    <a:pt x="57912" y="7208"/>
                    <a:pt x="58334" y="8261"/>
                    <a:pt x="66968" y="8261"/>
                  </a:cubicBezTo>
                  <a:cubicBezTo>
                    <a:pt x="74970" y="8261"/>
                    <a:pt x="92238" y="5944"/>
                    <a:pt x="80656" y="594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1" name="Forme libre : forme 135">
              <a:extLst>
                <a:ext uri="{FF2B5EF4-FFF2-40B4-BE49-F238E27FC236}">
                  <a16:creationId xmlns:a16="http://schemas.microsoft.com/office/drawing/2014/main" id="{01C99316-D6DB-4A6C-A1C3-B5A216905E53}"/>
                </a:ext>
              </a:extLst>
            </p:cNvPr>
            <p:cNvSpPr/>
            <p:nvPr/>
          </p:nvSpPr>
          <p:spPr>
            <a:xfrm>
              <a:off x="7198855" y="1558536"/>
              <a:ext cx="100453" cy="8634"/>
            </a:xfrm>
            <a:custGeom>
              <a:avLst/>
              <a:gdLst>
                <a:gd name="connsiteX0" fmla="*/ 54753 w 100453"/>
                <a:gd name="connsiteY0" fmla="*/ 8634 h 8634"/>
                <a:gd name="connsiteX1" fmla="*/ 31799 w 100453"/>
                <a:gd name="connsiteY1" fmla="*/ 7160 h 8634"/>
                <a:gd name="connsiteX2" fmla="*/ 13478 w 100453"/>
                <a:gd name="connsiteY2" fmla="*/ 5686 h 8634"/>
                <a:gd name="connsiteX3" fmla="*/ 0 w 100453"/>
                <a:gd name="connsiteY3" fmla="*/ 0 h 8634"/>
                <a:gd name="connsiteX4" fmla="*/ 18743 w 100453"/>
                <a:gd name="connsiteY4" fmla="*/ 421 h 8634"/>
                <a:gd name="connsiteX5" fmla="*/ 34958 w 100453"/>
                <a:gd name="connsiteY5" fmla="*/ 3791 h 8634"/>
                <a:gd name="connsiteX6" fmla="*/ 51384 w 100453"/>
                <a:gd name="connsiteY6" fmla="*/ 4633 h 8634"/>
                <a:gd name="connsiteX7" fmla="*/ 70127 w 100453"/>
                <a:gd name="connsiteY7" fmla="*/ 5054 h 8634"/>
                <a:gd name="connsiteX8" fmla="*/ 88869 w 100453"/>
                <a:gd name="connsiteY8" fmla="*/ 4001 h 8634"/>
                <a:gd name="connsiteX9" fmla="*/ 98977 w 100453"/>
                <a:gd name="connsiteY9" fmla="*/ 6949 h 8634"/>
                <a:gd name="connsiteX10" fmla="*/ 80234 w 100453"/>
                <a:gd name="connsiteY10" fmla="*/ 6949 h 8634"/>
                <a:gd name="connsiteX11" fmla="*/ 54753 w 100453"/>
                <a:gd name="connsiteY11" fmla="*/ 8634 h 8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00453" h="8634">
                  <a:moveTo>
                    <a:pt x="54753" y="8634"/>
                  </a:moveTo>
                  <a:cubicBezTo>
                    <a:pt x="47383" y="8634"/>
                    <a:pt x="38959" y="7160"/>
                    <a:pt x="31799" y="7160"/>
                  </a:cubicBezTo>
                  <a:cubicBezTo>
                    <a:pt x="24639" y="7160"/>
                    <a:pt x="21270" y="5686"/>
                    <a:pt x="13478" y="5686"/>
                  </a:cubicBezTo>
                  <a:cubicBezTo>
                    <a:pt x="20848" y="5686"/>
                    <a:pt x="2527" y="0"/>
                    <a:pt x="0" y="0"/>
                  </a:cubicBezTo>
                  <a:cubicBezTo>
                    <a:pt x="1895" y="0"/>
                    <a:pt x="9055" y="421"/>
                    <a:pt x="18743" y="421"/>
                  </a:cubicBezTo>
                  <a:cubicBezTo>
                    <a:pt x="27798" y="421"/>
                    <a:pt x="27377" y="3791"/>
                    <a:pt x="34958" y="3791"/>
                  </a:cubicBezTo>
                  <a:cubicBezTo>
                    <a:pt x="41697" y="3791"/>
                    <a:pt x="57491" y="4633"/>
                    <a:pt x="51384" y="4633"/>
                  </a:cubicBezTo>
                  <a:cubicBezTo>
                    <a:pt x="57701" y="4633"/>
                    <a:pt x="75812" y="5054"/>
                    <a:pt x="70127" y="5054"/>
                  </a:cubicBezTo>
                  <a:cubicBezTo>
                    <a:pt x="75391" y="5054"/>
                    <a:pt x="94133" y="4001"/>
                    <a:pt x="88869" y="4001"/>
                  </a:cubicBezTo>
                  <a:cubicBezTo>
                    <a:pt x="94133" y="4001"/>
                    <a:pt x="104242" y="6949"/>
                    <a:pt x="98977" y="6949"/>
                  </a:cubicBezTo>
                  <a:cubicBezTo>
                    <a:pt x="103820" y="6949"/>
                    <a:pt x="86973" y="6949"/>
                    <a:pt x="80234" y="6949"/>
                  </a:cubicBezTo>
                  <a:cubicBezTo>
                    <a:pt x="73495" y="7160"/>
                    <a:pt x="61492" y="8634"/>
                    <a:pt x="54753" y="863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2" name="Forme libre : forme 136">
              <a:extLst>
                <a:ext uri="{FF2B5EF4-FFF2-40B4-BE49-F238E27FC236}">
                  <a16:creationId xmlns:a16="http://schemas.microsoft.com/office/drawing/2014/main" id="{A21A15BA-E131-4F78-A29B-7B17F7C1DBAF}"/>
                </a:ext>
              </a:extLst>
            </p:cNvPr>
            <p:cNvSpPr/>
            <p:nvPr/>
          </p:nvSpPr>
          <p:spPr>
            <a:xfrm>
              <a:off x="6868019" y="1542215"/>
              <a:ext cx="85411" cy="5159"/>
            </a:xfrm>
            <a:custGeom>
              <a:avLst/>
              <a:gdLst>
                <a:gd name="connsiteX0" fmla="*/ 74338 w 85411"/>
                <a:gd name="connsiteY0" fmla="*/ 2001 h 5159"/>
                <a:gd name="connsiteX1" fmla="*/ 51384 w 85411"/>
                <a:gd name="connsiteY1" fmla="*/ 2001 h 5159"/>
                <a:gd name="connsiteX2" fmla="*/ 24007 w 85411"/>
                <a:gd name="connsiteY2" fmla="*/ 2422 h 5159"/>
                <a:gd name="connsiteX3" fmla="*/ 0 w 85411"/>
                <a:gd name="connsiteY3" fmla="*/ 948 h 5159"/>
                <a:gd name="connsiteX4" fmla="*/ 24428 w 85411"/>
                <a:gd name="connsiteY4" fmla="*/ 4738 h 5159"/>
                <a:gd name="connsiteX5" fmla="*/ 44645 w 85411"/>
                <a:gd name="connsiteY5" fmla="*/ 5159 h 5159"/>
                <a:gd name="connsiteX6" fmla="*/ 62334 w 85411"/>
                <a:gd name="connsiteY6" fmla="*/ 4317 h 5159"/>
                <a:gd name="connsiteX7" fmla="*/ 84867 w 85411"/>
                <a:gd name="connsiteY7" fmla="*/ 4738 h 5159"/>
                <a:gd name="connsiteX8" fmla="*/ 74338 w 85411"/>
                <a:gd name="connsiteY8" fmla="*/ 2001 h 51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5411" h="5159">
                  <a:moveTo>
                    <a:pt x="74338" y="2001"/>
                  </a:moveTo>
                  <a:cubicBezTo>
                    <a:pt x="64651" y="2001"/>
                    <a:pt x="57491" y="2001"/>
                    <a:pt x="51384" y="2001"/>
                  </a:cubicBezTo>
                  <a:cubicBezTo>
                    <a:pt x="44645" y="2001"/>
                    <a:pt x="31799" y="2422"/>
                    <a:pt x="24007" y="2422"/>
                  </a:cubicBezTo>
                  <a:cubicBezTo>
                    <a:pt x="16637" y="2422"/>
                    <a:pt x="1895" y="948"/>
                    <a:pt x="0" y="948"/>
                  </a:cubicBezTo>
                  <a:cubicBezTo>
                    <a:pt x="1895" y="948"/>
                    <a:pt x="17268" y="-2843"/>
                    <a:pt x="24428" y="4738"/>
                  </a:cubicBezTo>
                  <a:cubicBezTo>
                    <a:pt x="34115" y="4738"/>
                    <a:pt x="39801" y="526"/>
                    <a:pt x="44645" y="5159"/>
                  </a:cubicBezTo>
                  <a:cubicBezTo>
                    <a:pt x="51805" y="5159"/>
                    <a:pt x="52858" y="4317"/>
                    <a:pt x="62334" y="4317"/>
                  </a:cubicBezTo>
                  <a:cubicBezTo>
                    <a:pt x="72443" y="4317"/>
                    <a:pt x="87605" y="4738"/>
                    <a:pt x="84867" y="4738"/>
                  </a:cubicBezTo>
                  <a:cubicBezTo>
                    <a:pt x="87394" y="4738"/>
                    <a:pt x="80655" y="2001"/>
                    <a:pt x="74338" y="200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3" name="Forme libre : forme 137">
              <a:extLst>
                <a:ext uri="{FF2B5EF4-FFF2-40B4-BE49-F238E27FC236}">
                  <a16:creationId xmlns:a16="http://schemas.microsoft.com/office/drawing/2014/main" id="{F2ABD742-3F91-4AB6-900B-646A0A49157E}"/>
                </a:ext>
              </a:extLst>
            </p:cNvPr>
            <p:cNvSpPr/>
            <p:nvPr/>
          </p:nvSpPr>
          <p:spPr>
            <a:xfrm>
              <a:off x="10189010" y="2672465"/>
              <a:ext cx="168914" cy="92325"/>
            </a:xfrm>
            <a:custGeom>
              <a:avLst/>
              <a:gdLst>
                <a:gd name="connsiteX0" fmla="*/ 166998 w 168914"/>
                <a:gd name="connsiteY0" fmla="*/ 80532 h 92325"/>
                <a:gd name="connsiteX1" fmla="*/ 151624 w 168914"/>
                <a:gd name="connsiteY1" fmla="*/ 67476 h 92325"/>
                <a:gd name="connsiteX2" fmla="*/ 157310 w 168914"/>
                <a:gd name="connsiteY2" fmla="*/ 60316 h 92325"/>
                <a:gd name="connsiteX3" fmla="*/ 163207 w 168914"/>
                <a:gd name="connsiteY3" fmla="*/ 52524 h 92325"/>
                <a:gd name="connsiteX4" fmla="*/ 138147 w 168914"/>
                <a:gd name="connsiteY4" fmla="*/ 59684 h 92325"/>
                <a:gd name="connsiteX5" fmla="*/ 120879 w 168914"/>
                <a:gd name="connsiteY5" fmla="*/ 52945 h 92325"/>
                <a:gd name="connsiteX6" fmla="*/ 99820 w 168914"/>
                <a:gd name="connsiteY6" fmla="*/ 44732 h 92325"/>
                <a:gd name="connsiteX7" fmla="*/ 67178 w 168914"/>
                <a:gd name="connsiteY7" fmla="*/ 23463 h 92325"/>
                <a:gd name="connsiteX8" fmla="*/ 38327 w 168914"/>
                <a:gd name="connsiteY8" fmla="*/ 2825 h 92325"/>
                <a:gd name="connsiteX9" fmla="*/ 27798 w 168914"/>
                <a:gd name="connsiteY9" fmla="*/ 6194 h 92325"/>
                <a:gd name="connsiteX10" fmla="*/ 41276 w 168914"/>
                <a:gd name="connsiteY10" fmla="*/ 25358 h 92325"/>
                <a:gd name="connsiteX11" fmla="*/ 42329 w 168914"/>
                <a:gd name="connsiteY11" fmla="*/ 35466 h 92325"/>
                <a:gd name="connsiteX12" fmla="*/ 36432 w 168914"/>
                <a:gd name="connsiteY12" fmla="*/ 38414 h 92325"/>
                <a:gd name="connsiteX13" fmla="*/ 42329 w 168914"/>
                <a:gd name="connsiteY13" fmla="*/ 51892 h 92325"/>
                <a:gd name="connsiteX14" fmla="*/ 14531 w 168914"/>
                <a:gd name="connsiteY14" fmla="*/ 40941 h 92325"/>
                <a:gd name="connsiteX15" fmla="*/ 15373 w 168914"/>
                <a:gd name="connsiteY15" fmla="*/ 46206 h 92325"/>
                <a:gd name="connsiteX16" fmla="*/ 9688 w 168914"/>
                <a:gd name="connsiteY16" fmla="*/ 51471 h 92325"/>
                <a:gd name="connsiteX17" fmla="*/ 0 w 168914"/>
                <a:gd name="connsiteY17" fmla="*/ 55261 h 92325"/>
                <a:gd name="connsiteX18" fmla="*/ 16216 w 168914"/>
                <a:gd name="connsiteY18" fmla="*/ 70213 h 92325"/>
                <a:gd name="connsiteX19" fmla="*/ 19164 w 168914"/>
                <a:gd name="connsiteY19" fmla="*/ 81796 h 92325"/>
                <a:gd name="connsiteX20" fmla="*/ 33484 w 168914"/>
                <a:gd name="connsiteY20" fmla="*/ 82849 h 92325"/>
                <a:gd name="connsiteX21" fmla="*/ 45909 w 168914"/>
                <a:gd name="connsiteY21" fmla="*/ 84323 h 92325"/>
                <a:gd name="connsiteX22" fmla="*/ 45909 w 168914"/>
                <a:gd name="connsiteY22" fmla="*/ 79058 h 92325"/>
                <a:gd name="connsiteX23" fmla="*/ 26745 w 168914"/>
                <a:gd name="connsiteY23" fmla="*/ 69371 h 92325"/>
                <a:gd name="connsiteX24" fmla="*/ 20006 w 168914"/>
                <a:gd name="connsiteY24" fmla="*/ 59263 h 92325"/>
                <a:gd name="connsiteX25" fmla="*/ 39170 w 168914"/>
                <a:gd name="connsiteY25" fmla="*/ 67897 h 92325"/>
                <a:gd name="connsiteX26" fmla="*/ 50752 w 168914"/>
                <a:gd name="connsiteY26" fmla="*/ 66844 h 92325"/>
                <a:gd name="connsiteX27" fmla="*/ 69074 w 168914"/>
                <a:gd name="connsiteY27" fmla="*/ 70213 h 92325"/>
                <a:gd name="connsiteX28" fmla="*/ 108454 w 168914"/>
                <a:gd name="connsiteY28" fmla="*/ 92325 h 92325"/>
                <a:gd name="connsiteX29" fmla="*/ 116246 w 168914"/>
                <a:gd name="connsiteY29" fmla="*/ 87903 h 92325"/>
                <a:gd name="connsiteX30" fmla="*/ 127828 w 168914"/>
                <a:gd name="connsiteY30" fmla="*/ 78847 h 92325"/>
                <a:gd name="connsiteX31" fmla="*/ 153730 w 168914"/>
                <a:gd name="connsiteY31" fmla="*/ 83691 h 92325"/>
                <a:gd name="connsiteX32" fmla="*/ 166998 w 168914"/>
                <a:gd name="connsiteY32" fmla="*/ 80532 h 9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8914" h="92325">
                  <a:moveTo>
                    <a:pt x="166998" y="80532"/>
                  </a:moveTo>
                  <a:cubicBezTo>
                    <a:pt x="174789" y="80532"/>
                    <a:pt x="154362" y="67476"/>
                    <a:pt x="151624" y="67476"/>
                  </a:cubicBezTo>
                  <a:cubicBezTo>
                    <a:pt x="154362" y="67476"/>
                    <a:pt x="151624" y="60316"/>
                    <a:pt x="157310" y="60316"/>
                  </a:cubicBezTo>
                  <a:cubicBezTo>
                    <a:pt x="164049" y="60316"/>
                    <a:pt x="167840" y="52524"/>
                    <a:pt x="163207" y="52524"/>
                  </a:cubicBezTo>
                  <a:cubicBezTo>
                    <a:pt x="168893" y="52524"/>
                    <a:pt x="144044" y="59684"/>
                    <a:pt x="138147" y="59684"/>
                  </a:cubicBezTo>
                  <a:cubicBezTo>
                    <a:pt x="135409" y="54419"/>
                    <a:pt x="123616" y="52945"/>
                    <a:pt x="120879" y="52945"/>
                  </a:cubicBezTo>
                  <a:cubicBezTo>
                    <a:pt x="124669" y="52945"/>
                    <a:pt x="108454" y="44732"/>
                    <a:pt x="99820" y="44732"/>
                  </a:cubicBezTo>
                  <a:cubicBezTo>
                    <a:pt x="107401" y="44732"/>
                    <a:pt x="78550" y="23463"/>
                    <a:pt x="67178" y="23463"/>
                  </a:cubicBezTo>
                  <a:cubicBezTo>
                    <a:pt x="77707" y="23463"/>
                    <a:pt x="48015" y="2825"/>
                    <a:pt x="38327" y="2825"/>
                  </a:cubicBezTo>
                  <a:cubicBezTo>
                    <a:pt x="27798" y="2825"/>
                    <a:pt x="22112" y="-5388"/>
                    <a:pt x="27798" y="6194"/>
                  </a:cubicBezTo>
                  <a:cubicBezTo>
                    <a:pt x="33484" y="17777"/>
                    <a:pt x="43171" y="25358"/>
                    <a:pt x="41276" y="25358"/>
                  </a:cubicBezTo>
                  <a:cubicBezTo>
                    <a:pt x="43171" y="25358"/>
                    <a:pt x="45277" y="35466"/>
                    <a:pt x="42329" y="35466"/>
                  </a:cubicBezTo>
                  <a:cubicBezTo>
                    <a:pt x="45277" y="35466"/>
                    <a:pt x="44224" y="38414"/>
                    <a:pt x="36432" y="38414"/>
                  </a:cubicBezTo>
                  <a:cubicBezTo>
                    <a:pt x="43171" y="38414"/>
                    <a:pt x="46119" y="51892"/>
                    <a:pt x="42329" y="51892"/>
                  </a:cubicBezTo>
                  <a:cubicBezTo>
                    <a:pt x="46119" y="51892"/>
                    <a:pt x="23165" y="40941"/>
                    <a:pt x="14531" y="40941"/>
                  </a:cubicBezTo>
                  <a:cubicBezTo>
                    <a:pt x="5897" y="40941"/>
                    <a:pt x="23165" y="46206"/>
                    <a:pt x="15373" y="46206"/>
                  </a:cubicBezTo>
                  <a:cubicBezTo>
                    <a:pt x="23165" y="46206"/>
                    <a:pt x="12425" y="51471"/>
                    <a:pt x="9688" y="51471"/>
                  </a:cubicBezTo>
                  <a:cubicBezTo>
                    <a:pt x="12425" y="51471"/>
                    <a:pt x="7582" y="55261"/>
                    <a:pt x="0" y="55261"/>
                  </a:cubicBezTo>
                  <a:cubicBezTo>
                    <a:pt x="7582" y="55261"/>
                    <a:pt x="22112" y="70213"/>
                    <a:pt x="16216" y="70213"/>
                  </a:cubicBezTo>
                  <a:cubicBezTo>
                    <a:pt x="21059" y="70213"/>
                    <a:pt x="8424" y="81796"/>
                    <a:pt x="19164" y="81796"/>
                  </a:cubicBezTo>
                  <a:cubicBezTo>
                    <a:pt x="28640" y="81796"/>
                    <a:pt x="37485" y="82849"/>
                    <a:pt x="33484" y="82849"/>
                  </a:cubicBezTo>
                  <a:cubicBezTo>
                    <a:pt x="37485" y="82849"/>
                    <a:pt x="39170" y="84323"/>
                    <a:pt x="45909" y="84323"/>
                  </a:cubicBezTo>
                  <a:cubicBezTo>
                    <a:pt x="53701" y="84323"/>
                    <a:pt x="52647" y="79058"/>
                    <a:pt x="45909" y="79058"/>
                  </a:cubicBezTo>
                  <a:cubicBezTo>
                    <a:pt x="51805" y="79058"/>
                    <a:pt x="33484" y="69371"/>
                    <a:pt x="26745" y="69371"/>
                  </a:cubicBezTo>
                  <a:cubicBezTo>
                    <a:pt x="34537" y="69371"/>
                    <a:pt x="12425" y="59263"/>
                    <a:pt x="20006" y="59263"/>
                  </a:cubicBezTo>
                  <a:cubicBezTo>
                    <a:pt x="27798" y="59263"/>
                    <a:pt x="45909" y="67897"/>
                    <a:pt x="39170" y="67897"/>
                  </a:cubicBezTo>
                  <a:cubicBezTo>
                    <a:pt x="42118" y="74636"/>
                    <a:pt x="54543" y="66844"/>
                    <a:pt x="50752" y="66844"/>
                  </a:cubicBezTo>
                  <a:cubicBezTo>
                    <a:pt x="54753" y="66844"/>
                    <a:pt x="50752" y="70213"/>
                    <a:pt x="69074" y="70213"/>
                  </a:cubicBezTo>
                  <a:cubicBezTo>
                    <a:pt x="88237" y="70213"/>
                    <a:pt x="100872" y="92325"/>
                    <a:pt x="108454" y="92325"/>
                  </a:cubicBezTo>
                  <a:cubicBezTo>
                    <a:pt x="117088" y="92325"/>
                    <a:pt x="120879" y="87903"/>
                    <a:pt x="116246" y="87903"/>
                  </a:cubicBezTo>
                  <a:cubicBezTo>
                    <a:pt x="121089" y="87903"/>
                    <a:pt x="121089" y="78847"/>
                    <a:pt x="127828" y="78847"/>
                  </a:cubicBezTo>
                  <a:cubicBezTo>
                    <a:pt x="136462" y="78847"/>
                    <a:pt x="142358" y="83691"/>
                    <a:pt x="153730" y="83691"/>
                  </a:cubicBezTo>
                  <a:cubicBezTo>
                    <a:pt x="164260" y="83902"/>
                    <a:pt x="172894" y="80532"/>
                    <a:pt x="166998" y="8053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4" name="Forme libre : forme 138">
              <a:extLst>
                <a:ext uri="{FF2B5EF4-FFF2-40B4-BE49-F238E27FC236}">
                  <a16:creationId xmlns:a16="http://schemas.microsoft.com/office/drawing/2014/main" id="{491A9C50-E42C-4596-A06A-890ACB3E7DD7}"/>
                </a:ext>
              </a:extLst>
            </p:cNvPr>
            <p:cNvSpPr/>
            <p:nvPr/>
          </p:nvSpPr>
          <p:spPr>
            <a:xfrm>
              <a:off x="9986983" y="2760789"/>
              <a:ext cx="306302" cy="163417"/>
            </a:xfrm>
            <a:custGeom>
              <a:avLst/>
              <a:gdLst>
                <a:gd name="connsiteX0" fmla="*/ 251936 w 306302"/>
                <a:gd name="connsiteY0" fmla="*/ 1264 h 163417"/>
                <a:gd name="connsiteX1" fmla="*/ 270258 w 306302"/>
                <a:gd name="connsiteY1" fmla="*/ 11793 h 163417"/>
                <a:gd name="connsiteX2" fmla="*/ 279944 w 306302"/>
                <a:gd name="connsiteY2" fmla="*/ 27166 h 163417"/>
                <a:gd name="connsiteX3" fmla="*/ 294264 w 306302"/>
                <a:gd name="connsiteY3" fmla="*/ 42118 h 163417"/>
                <a:gd name="connsiteX4" fmla="*/ 303952 w 306302"/>
                <a:gd name="connsiteY4" fmla="*/ 61281 h 163417"/>
                <a:gd name="connsiteX5" fmla="*/ 300161 w 306302"/>
                <a:gd name="connsiteY5" fmla="*/ 74338 h 163417"/>
                <a:gd name="connsiteX6" fmla="*/ 302056 w 306302"/>
                <a:gd name="connsiteY6" fmla="*/ 84025 h 163417"/>
                <a:gd name="connsiteX7" fmla="*/ 287736 w 306302"/>
                <a:gd name="connsiteY7" fmla="*/ 81077 h 163417"/>
                <a:gd name="connsiteX8" fmla="*/ 297213 w 306302"/>
                <a:gd name="connsiteY8" fmla="*/ 105084 h 163417"/>
                <a:gd name="connsiteX9" fmla="*/ 290474 w 306302"/>
                <a:gd name="connsiteY9" fmla="*/ 117509 h 163417"/>
                <a:gd name="connsiteX10" fmla="*/ 300161 w 306302"/>
                <a:gd name="connsiteY10" fmla="*/ 135198 h 163417"/>
                <a:gd name="connsiteX11" fmla="*/ 303109 w 306302"/>
                <a:gd name="connsiteY11" fmla="*/ 147623 h 163417"/>
                <a:gd name="connsiteX12" fmla="*/ 297213 w 306302"/>
                <a:gd name="connsiteY12" fmla="*/ 154783 h 163417"/>
                <a:gd name="connsiteX13" fmla="*/ 280997 w 306302"/>
                <a:gd name="connsiteY13" fmla="*/ 151835 h 163417"/>
                <a:gd name="connsiteX14" fmla="*/ 283946 w 306302"/>
                <a:gd name="connsiteY14" fmla="*/ 141305 h 163417"/>
                <a:gd name="connsiteX15" fmla="*/ 273416 w 306302"/>
                <a:gd name="connsiteY15" fmla="*/ 137515 h 163417"/>
                <a:gd name="connsiteX16" fmla="*/ 261834 w 306302"/>
                <a:gd name="connsiteY16" fmla="*/ 142779 h 163417"/>
                <a:gd name="connsiteX17" fmla="*/ 258043 w 306302"/>
                <a:gd name="connsiteY17" fmla="*/ 152256 h 163417"/>
                <a:gd name="connsiteX18" fmla="*/ 247514 w 306302"/>
                <a:gd name="connsiteY18" fmla="*/ 145096 h 163417"/>
                <a:gd name="connsiteX19" fmla="*/ 241617 w 306302"/>
                <a:gd name="connsiteY19" fmla="*/ 137515 h 163417"/>
                <a:gd name="connsiteX20" fmla="*/ 231088 w 306302"/>
                <a:gd name="connsiteY20" fmla="*/ 146570 h 163417"/>
                <a:gd name="connsiteX21" fmla="*/ 205186 w 306302"/>
                <a:gd name="connsiteY21" fmla="*/ 140884 h 163417"/>
                <a:gd name="connsiteX22" fmla="*/ 187917 w 306302"/>
                <a:gd name="connsiteY22" fmla="*/ 132671 h 163417"/>
                <a:gd name="connsiteX23" fmla="*/ 176545 w 306302"/>
                <a:gd name="connsiteY23" fmla="*/ 132671 h 163417"/>
                <a:gd name="connsiteX24" fmla="*/ 192761 w 306302"/>
                <a:gd name="connsiteY24" fmla="*/ 143832 h 163417"/>
                <a:gd name="connsiteX25" fmla="*/ 189812 w 306302"/>
                <a:gd name="connsiteY25" fmla="*/ 147623 h 163417"/>
                <a:gd name="connsiteX26" fmla="*/ 179283 w 306302"/>
                <a:gd name="connsiteY26" fmla="*/ 150992 h 163417"/>
                <a:gd name="connsiteX27" fmla="*/ 173597 w 306302"/>
                <a:gd name="connsiteY27" fmla="*/ 163417 h 163417"/>
                <a:gd name="connsiteX28" fmla="*/ 153380 w 306302"/>
                <a:gd name="connsiteY28" fmla="*/ 154783 h 163417"/>
                <a:gd name="connsiteX29" fmla="*/ 137165 w 306302"/>
                <a:gd name="connsiteY29" fmla="*/ 140884 h 163417"/>
                <a:gd name="connsiteX30" fmla="*/ 140114 w 306302"/>
                <a:gd name="connsiteY30" fmla="*/ 133724 h 163417"/>
                <a:gd name="connsiteX31" fmla="*/ 143904 w 306302"/>
                <a:gd name="connsiteY31" fmla="*/ 128881 h 163417"/>
                <a:gd name="connsiteX32" fmla="*/ 123688 w 306302"/>
                <a:gd name="connsiteY32" fmla="*/ 123195 h 163417"/>
                <a:gd name="connsiteX33" fmla="*/ 109367 w 306302"/>
                <a:gd name="connsiteY33" fmla="*/ 118983 h 163417"/>
                <a:gd name="connsiteX34" fmla="*/ 112316 w 306302"/>
                <a:gd name="connsiteY34" fmla="*/ 129091 h 163417"/>
                <a:gd name="connsiteX35" fmla="*/ 129584 w 306302"/>
                <a:gd name="connsiteY35" fmla="*/ 144464 h 163417"/>
                <a:gd name="connsiteX36" fmla="*/ 122845 w 306302"/>
                <a:gd name="connsiteY36" fmla="*/ 151624 h 163417"/>
                <a:gd name="connsiteX37" fmla="*/ 118001 w 306302"/>
                <a:gd name="connsiteY37" fmla="*/ 157942 h 163417"/>
                <a:gd name="connsiteX38" fmla="*/ 93152 w 306302"/>
                <a:gd name="connsiteY38" fmla="*/ 146781 h 163417"/>
                <a:gd name="connsiteX39" fmla="*/ 79674 w 306302"/>
                <a:gd name="connsiteY39" fmla="*/ 159205 h 163417"/>
                <a:gd name="connsiteX40" fmla="*/ 58615 w 306302"/>
                <a:gd name="connsiteY40" fmla="*/ 137515 h 163417"/>
                <a:gd name="connsiteX41" fmla="*/ 62616 w 306302"/>
                <a:gd name="connsiteY41" fmla="*/ 129934 h 163417"/>
                <a:gd name="connsiteX42" fmla="*/ 69355 w 306302"/>
                <a:gd name="connsiteY42" fmla="*/ 126985 h 163417"/>
                <a:gd name="connsiteX43" fmla="*/ 84729 w 306302"/>
                <a:gd name="connsiteY43" fmla="*/ 131197 h 163417"/>
                <a:gd name="connsiteX44" fmla="*/ 99048 w 306302"/>
                <a:gd name="connsiteY44" fmla="*/ 128881 h 163417"/>
                <a:gd name="connsiteX45" fmla="*/ 94205 w 306302"/>
                <a:gd name="connsiteY45" fmla="*/ 119825 h 163417"/>
                <a:gd name="connsiteX46" fmla="*/ 78832 w 306302"/>
                <a:gd name="connsiteY46" fmla="*/ 123616 h 163417"/>
                <a:gd name="connsiteX47" fmla="*/ 60511 w 306302"/>
                <a:gd name="connsiteY47" fmla="*/ 119193 h 163417"/>
                <a:gd name="connsiteX48" fmla="*/ 50823 w 306302"/>
                <a:gd name="connsiteY48" fmla="*/ 113929 h 163417"/>
                <a:gd name="connsiteX49" fmla="*/ 50823 w 306302"/>
                <a:gd name="connsiteY49" fmla="*/ 124458 h 163417"/>
                <a:gd name="connsiteX50" fmla="*/ 37346 w 306302"/>
                <a:gd name="connsiteY50" fmla="*/ 121089 h 163417"/>
                <a:gd name="connsiteX51" fmla="*/ 8495 w 306302"/>
                <a:gd name="connsiteY51" fmla="*/ 113297 h 163417"/>
                <a:gd name="connsiteX52" fmla="*/ 2809 w 306302"/>
                <a:gd name="connsiteY52" fmla="*/ 101715 h 163417"/>
                <a:gd name="connsiteX53" fmla="*/ 19235 w 306302"/>
                <a:gd name="connsiteY53" fmla="*/ 104031 h 163417"/>
                <a:gd name="connsiteX54" fmla="*/ 34397 w 306302"/>
                <a:gd name="connsiteY54" fmla="*/ 96871 h 163417"/>
                <a:gd name="connsiteX55" fmla="*/ 46822 w 306302"/>
                <a:gd name="connsiteY55" fmla="*/ 89711 h 163417"/>
                <a:gd name="connsiteX56" fmla="*/ 73778 w 306302"/>
                <a:gd name="connsiteY56" fmla="*/ 93080 h 163417"/>
                <a:gd name="connsiteX57" fmla="*/ 97785 w 306302"/>
                <a:gd name="connsiteY57" fmla="*/ 96029 h 163417"/>
                <a:gd name="connsiteX58" fmla="*/ 122634 w 306302"/>
                <a:gd name="connsiteY58" fmla="*/ 97924 h 163417"/>
                <a:gd name="connsiteX59" fmla="*/ 141798 w 306302"/>
                <a:gd name="connsiteY59" fmla="*/ 107611 h 163417"/>
                <a:gd name="connsiteX60" fmla="*/ 152328 w 306302"/>
                <a:gd name="connsiteY60" fmla="*/ 97082 h 163417"/>
                <a:gd name="connsiteX61" fmla="*/ 160962 w 306302"/>
                <a:gd name="connsiteY61" fmla="*/ 90343 h 163417"/>
                <a:gd name="connsiteX62" fmla="*/ 162857 w 306302"/>
                <a:gd name="connsiteY62" fmla="*/ 76865 h 163417"/>
                <a:gd name="connsiteX63" fmla="*/ 171491 w 306302"/>
                <a:gd name="connsiteY63" fmla="*/ 69705 h 163417"/>
                <a:gd name="connsiteX64" fmla="*/ 176335 w 306302"/>
                <a:gd name="connsiteY64" fmla="*/ 77497 h 163417"/>
                <a:gd name="connsiteX65" fmla="*/ 179072 w 306302"/>
                <a:gd name="connsiteY65" fmla="*/ 86973 h 163417"/>
                <a:gd name="connsiteX66" fmla="*/ 194445 w 306302"/>
                <a:gd name="connsiteY66" fmla="*/ 84025 h 163417"/>
                <a:gd name="connsiteX67" fmla="*/ 211714 w 306302"/>
                <a:gd name="connsiteY67" fmla="*/ 82130 h 163417"/>
                <a:gd name="connsiteX68" fmla="*/ 228982 w 306302"/>
                <a:gd name="connsiteY68" fmla="*/ 74549 h 163417"/>
                <a:gd name="connsiteX69" fmla="*/ 236774 w 306302"/>
                <a:gd name="connsiteY69" fmla="*/ 59597 h 163417"/>
                <a:gd name="connsiteX70" fmla="*/ 238669 w 306302"/>
                <a:gd name="connsiteY70" fmla="*/ 45277 h 163417"/>
                <a:gd name="connsiteX71" fmla="*/ 239722 w 306302"/>
                <a:gd name="connsiteY71" fmla="*/ 35168 h 163417"/>
                <a:gd name="connsiteX72" fmla="*/ 227297 w 306302"/>
                <a:gd name="connsiteY72" fmla="*/ 28851 h 163417"/>
                <a:gd name="connsiteX73" fmla="*/ 235089 w 306302"/>
                <a:gd name="connsiteY73" fmla="*/ 25481 h 163417"/>
                <a:gd name="connsiteX74" fmla="*/ 227297 w 306302"/>
                <a:gd name="connsiteY74" fmla="*/ 13899 h 163417"/>
                <a:gd name="connsiteX75" fmla="*/ 234036 w 306302"/>
                <a:gd name="connsiteY75" fmla="*/ 9055 h 163417"/>
                <a:gd name="connsiteX76" fmla="*/ 237827 w 306302"/>
                <a:gd name="connsiteY76" fmla="*/ 1895 h 163417"/>
                <a:gd name="connsiteX77" fmla="*/ 247514 w 306302"/>
                <a:gd name="connsiteY77" fmla="*/ 12004 h 163417"/>
                <a:gd name="connsiteX78" fmla="*/ 256148 w 306302"/>
                <a:gd name="connsiteY78" fmla="*/ 12425 h 163417"/>
                <a:gd name="connsiteX79" fmla="*/ 264782 w 306302"/>
                <a:gd name="connsiteY79" fmla="*/ 14741 h 163417"/>
                <a:gd name="connsiteX80" fmla="*/ 251305 w 306302"/>
                <a:gd name="connsiteY80" fmla="*/ 6107 h 163417"/>
                <a:gd name="connsiteX81" fmla="*/ 245408 w 306302"/>
                <a:gd name="connsiteY81" fmla="*/ 0 h 163417"/>
                <a:gd name="connsiteX82" fmla="*/ 251936 w 306302"/>
                <a:gd name="connsiteY82" fmla="*/ 1264 h 163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06302" h="163417">
                  <a:moveTo>
                    <a:pt x="251936" y="1264"/>
                  </a:moveTo>
                  <a:cubicBezTo>
                    <a:pt x="259517" y="1264"/>
                    <a:pt x="273837" y="11793"/>
                    <a:pt x="270258" y="11793"/>
                  </a:cubicBezTo>
                  <a:cubicBezTo>
                    <a:pt x="274048" y="11793"/>
                    <a:pt x="284577" y="27166"/>
                    <a:pt x="279944" y="27166"/>
                  </a:cubicBezTo>
                  <a:cubicBezTo>
                    <a:pt x="283735" y="27166"/>
                    <a:pt x="301003" y="42118"/>
                    <a:pt x="294264" y="42118"/>
                  </a:cubicBezTo>
                  <a:cubicBezTo>
                    <a:pt x="302056" y="42118"/>
                    <a:pt x="307742" y="61281"/>
                    <a:pt x="303952" y="61281"/>
                  </a:cubicBezTo>
                  <a:cubicBezTo>
                    <a:pt x="306689" y="61281"/>
                    <a:pt x="304794" y="74338"/>
                    <a:pt x="300161" y="74338"/>
                  </a:cubicBezTo>
                  <a:cubicBezTo>
                    <a:pt x="306057" y="74338"/>
                    <a:pt x="306900" y="84025"/>
                    <a:pt x="302056" y="84025"/>
                  </a:cubicBezTo>
                  <a:cubicBezTo>
                    <a:pt x="305847" y="84025"/>
                    <a:pt x="290474" y="81077"/>
                    <a:pt x="287736" y="81077"/>
                  </a:cubicBezTo>
                  <a:cubicBezTo>
                    <a:pt x="290474" y="81077"/>
                    <a:pt x="303109" y="105084"/>
                    <a:pt x="297213" y="105084"/>
                  </a:cubicBezTo>
                  <a:cubicBezTo>
                    <a:pt x="303109" y="105084"/>
                    <a:pt x="295318" y="117509"/>
                    <a:pt x="290474" y="117509"/>
                  </a:cubicBezTo>
                  <a:cubicBezTo>
                    <a:pt x="295318" y="117509"/>
                    <a:pt x="309638" y="135198"/>
                    <a:pt x="300161" y="135198"/>
                  </a:cubicBezTo>
                  <a:cubicBezTo>
                    <a:pt x="308795" y="135198"/>
                    <a:pt x="306900" y="147623"/>
                    <a:pt x="303109" y="147623"/>
                  </a:cubicBezTo>
                  <a:cubicBezTo>
                    <a:pt x="306900" y="147623"/>
                    <a:pt x="299319" y="154783"/>
                    <a:pt x="297213" y="154783"/>
                  </a:cubicBezTo>
                  <a:cubicBezTo>
                    <a:pt x="300161" y="154783"/>
                    <a:pt x="285630" y="151835"/>
                    <a:pt x="280997" y="151835"/>
                  </a:cubicBezTo>
                  <a:cubicBezTo>
                    <a:pt x="286894" y="151835"/>
                    <a:pt x="287736" y="141305"/>
                    <a:pt x="283946" y="141305"/>
                  </a:cubicBezTo>
                  <a:cubicBezTo>
                    <a:pt x="286894" y="141305"/>
                    <a:pt x="280155" y="137515"/>
                    <a:pt x="273416" y="137515"/>
                  </a:cubicBezTo>
                  <a:cubicBezTo>
                    <a:pt x="279102" y="137515"/>
                    <a:pt x="263729" y="142779"/>
                    <a:pt x="261834" y="142779"/>
                  </a:cubicBezTo>
                  <a:cubicBezTo>
                    <a:pt x="265625" y="142779"/>
                    <a:pt x="264782" y="152256"/>
                    <a:pt x="258043" y="152256"/>
                  </a:cubicBezTo>
                  <a:cubicBezTo>
                    <a:pt x="263940" y="152256"/>
                    <a:pt x="252357" y="145096"/>
                    <a:pt x="247514" y="145096"/>
                  </a:cubicBezTo>
                  <a:cubicBezTo>
                    <a:pt x="252357" y="145096"/>
                    <a:pt x="244566" y="143201"/>
                    <a:pt x="241617" y="137515"/>
                  </a:cubicBezTo>
                  <a:cubicBezTo>
                    <a:pt x="247514" y="137515"/>
                    <a:pt x="238669" y="146570"/>
                    <a:pt x="231088" y="146570"/>
                  </a:cubicBezTo>
                  <a:cubicBezTo>
                    <a:pt x="223507" y="146570"/>
                    <a:pt x="215715" y="140884"/>
                    <a:pt x="205186" y="140884"/>
                  </a:cubicBezTo>
                  <a:cubicBezTo>
                    <a:pt x="214873" y="140884"/>
                    <a:pt x="197604" y="132671"/>
                    <a:pt x="187917" y="132671"/>
                  </a:cubicBezTo>
                  <a:cubicBezTo>
                    <a:pt x="199499" y="132671"/>
                    <a:pt x="179283" y="132671"/>
                    <a:pt x="176545" y="132671"/>
                  </a:cubicBezTo>
                  <a:cubicBezTo>
                    <a:pt x="179283" y="132671"/>
                    <a:pt x="180336" y="143832"/>
                    <a:pt x="192761" y="143832"/>
                  </a:cubicBezTo>
                  <a:cubicBezTo>
                    <a:pt x="203290" y="143832"/>
                    <a:pt x="194656" y="147623"/>
                    <a:pt x="189812" y="147623"/>
                  </a:cubicBezTo>
                  <a:cubicBezTo>
                    <a:pt x="195498" y="147623"/>
                    <a:pt x="182021" y="150992"/>
                    <a:pt x="179283" y="150992"/>
                  </a:cubicBezTo>
                  <a:cubicBezTo>
                    <a:pt x="183073" y="150992"/>
                    <a:pt x="182231" y="163417"/>
                    <a:pt x="173597" y="163417"/>
                  </a:cubicBezTo>
                  <a:cubicBezTo>
                    <a:pt x="164963" y="163417"/>
                    <a:pt x="159277" y="154783"/>
                    <a:pt x="153380" y="154783"/>
                  </a:cubicBezTo>
                  <a:cubicBezTo>
                    <a:pt x="159277" y="154783"/>
                    <a:pt x="140956" y="140884"/>
                    <a:pt x="137165" y="140884"/>
                  </a:cubicBezTo>
                  <a:cubicBezTo>
                    <a:pt x="139060" y="140884"/>
                    <a:pt x="143904" y="133724"/>
                    <a:pt x="140114" y="133724"/>
                  </a:cubicBezTo>
                  <a:cubicBezTo>
                    <a:pt x="143904" y="133724"/>
                    <a:pt x="146852" y="128881"/>
                    <a:pt x="143904" y="128881"/>
                  </a:cubicBezTo>
                  <a:cubicBezTo>
                    <a:pt x="146852" y="128881"/>
                    <a:pt x="129584" y="123195"/>
                    <a:pt x="123688" y="123195"/>
                  </a:cubicBezTo>
                  <a:cubicBezTo>
                    <a:pt x="131479" y="123195"/>
                    <a:pt x="113158" y="118983"/>
                    <a:pt x="109367" y="118983"/>
                  </a:cubicBezTo>
                  <a:cubicBezTo>
                    <a:pt x="113158" y="118983"/>
                    <a:pt x="119055" y="129091"/>
                    <a:pt x="112316" y="129091"/>
                  </a:cubicBezTo>
                  <a:cubicBezTo>
                    <a:pt x="120950" y="129091"/>
                    <a:pt x="134217" y="144464"/>
                    <a:pt x="129584" y="144464"/>
                  </a:cubicBezTo>
                  <a:cubicBezTo>
                    <a:pt x="134427" y="144464"/>
                    <a:pt x="126846" y="151624"/>
                    <a:pt x="122845" y="151624"/>
                  </a:cubicBezTo>
                  <a:cubicBezTo>
                    <a:pt x="125793" y="151624"/>
                    <a:pt x="131479" y="171420"/>
                    <a:pt x="118001" y="157942"/>
                  </a:cubicBezTo>
                  <a:cubicBezTo>
                    <a:pt x="99891" y="157942"/>
                    <a:pt x="96942" y="146781"/>
                    <a:pt x="93152" y="146781"/>
                  </a:cubicBezTo>
                  <a:cubicBezTo>
                    <a:pt x="96942" y="146781"/>
                    <a:pt x="88308" y="159205"/>
                    <a:pt x="79674" y="159205"/>
                  </a:cubicBezTo>
                  <a:cubicBezTo>
                    <a:pt x="69145" y="159205"/>
                    <a:pt x="62406" y="137515"/>
                    <a:pt x="58615" y="137515"/>
                  </a:cubicBezTo>
                  <a:cubicBezTo>
                    <a:pt x="62616" y="137515"/>
                    <a:pt x="68092" y="129934"/>
                    <a:pt x="62616" y="129934"/>
                  </a:cubicBezTo>
                  <a:cubicBezTo>
                    <a:pt x="67460" y="129934"/>
                    <a:pt x="73146" y="126985"/>
                    <a:pt x="69355" y="126985"/>
                  </a:cubicBezTo>
                  <a:cubicBezTo>
                    <a:pt x="73146" y="126985"/>
                    <a:pt x="91467" y="131197"/>
                    <a:pt x="84729" y="131197"/>
                  </a:cubicBezTo>
                  <a:cubicBezTo>
                    <a:pt x="90625" y="131197"/>
                    <a:pt x="101996" y="128881"/>
                    <a:pt x="99048" y="128881"/>
                  </a:cubicBezTo>
                  <a:cubicBezTo>
                    <a:pt x="103050" y="128881"/>
                    <a:pt x="100101" y="119825"/>
                    <a:pt x="94205" y="119825"/>
                  </a:cubicBezTo>
                  <a:cubicBezTo>
                    <a:pt x="100101" y="119825"/>
                    <a:pt x="81780" y="123616"/>
                    <a:pt x="78832" y="123616"/>
                  </a:cubicBezTo>
                  <a:cubicBezTo>
                    <a:pt x="82623" y="123616"/>
                    <a:pt x="64512" y="119193"/>
                    <a:pt x="60511" y="119193"/>
                  </a:cubicBezTo>
                  <a:cubicBezTo>
                    <a:pt x="66197" y="119193"/>
                    <a:pt x="54825" y="113929"/>
                    <a:pt x="50823" y="113929"/>
                  </a:cubicBezTo>
                  <a:cubicBezTo>
                    <a:pt x="54614" y="113929"/>
                    <a:pt x="58405" y="124458"/>
                    <a:pt x="50823" y="124458"/>
                  </a:cubicBezTo>
                  <a:cubicBezTo>
                    <a:pt x="56510" y="124458"/>
                    <a:pt x="44084" y="121089"/>
                    <a:pt x="37346" y="121089"/>
                  </a:cubicBezTo>
                  <a:cubicBezTo>
                    <a:pt x="28712" y="121089"/>
                    <a:pt x="16287" y="113297"/>
                    <a:pt x="8495" y="113297"/>
                  </a:cubicBezTo>
                  <a:cubicBezTo>
                    <a:pt x="15234" y="113297"/>
                    <a:pt x="-7720" y="101715"/>
                    <a:pt x="2809" y="101715"/>
                  </a:cubicBezTo>
                  <a:cubicBezTo>
                    <a:pt x="13339" y="101715"/>
                    <a:pt x="12496" y="104031"/>
                    <a:pt x="19235" y="104031"/>
                  </a:cubicBezTo>
                  <a:cubicBezTo>
                    <a:pt x="24921" y="104031"/>
                    <a:pt x="40294" y="96871"/>
                    <a:pt x="34397" y="96871"/>
                  </a:cubicBezTo>
                  <a:cubicBezTo>
                    <a:pt x="40294" y="96871"/>
                    <a:pt x="40294" y="89711"/>
                    <a:pt x="46822" y="89711"/>
                  </a:cubicBezTo>
                  <a:cubicBezTo>
                    <a:pt x="55667" y="89711"/>
                    <a:pt x="79464" y="93080"/>
                    <a:pt x="73778" y="93080"/>
                  </a:cubicBezTo>
                  <a:cubicBezTo>
                    <a:pt x="80517" y="93080"/>
                    <a:pt x="91889" y="85920"/>
                    <a:pt x="97785" y="96029"/>
                  </a:cubicBezTo>
                  <a:cubicBezTo>
                    <a:pt x="108314" y="96029"/>
                    <a:pt x="112105" y="97924"/>
                    <a:pt x="122634" y="97924"/>
                  </a:cubicBezTo>
                  <a:cubicBezTo>
                    <a:pt x="131269" y="97924"/>
                    <a:pt x="135270" y="107611"/>
                    <a:pt x="141798" y="107611"/>
                  </a:cubicBezTo>
                  <a:cubicBezTo>
                    <a:pt x="149590" y="107611"/>
                    <a:pt x="157171" y="97082"/>
                    <a:pt x="152328" y="97082"/>
                  </a:cubicBezTo>
                  <a:cubicBezTo>
                    <a:pt x="156118" y="97082"/>
                    <a:pt x="165806" y="90343"/>
                    <a:pt x="160962" y="90343"/>
                  </a:cubicBezTo>
                  <a:cubicBezTo>
                    <a:pt x="165806" y="90343"/>
                    <a:pt x="170649" y="76865"/>
                    <a:pt x="162857" y="76865"/>
                  </a:cubicBezTo>
                  <a:cubicBezTo>
                    <a:pt x="169596" y="76865"/>
                    <a:pt x="163910" y="69705"/>
                    <a:pt x="171491" y="69705"/>
                  </a:cubicBezTo>
                  <a:cubicBezTo>
                    <a:pt x="178230" y="69705"/>
                    <a:pt x="179072" y="77497"/>
                    <a:pt x="176335" y="77497"/>
                  </a:cubicBezTo>
                  <a:cubicBezTo>
                    <a:pt x="180125" y="77497"/>
                    <a:pt x="171491" y="86973"/>
                    <a:pt x="179072" y="86973"/>
                  </a:cubicBezTo>
                  <a:cubicBezTo>
                    <a:pt x="185811" y="86973"/>
                    <a:pt x="187706" y="84025"/>
                    <a:pt x="194445" y="84025"/>
                  </a:cubicBezTo>
                  <a:cubicBezTo>
                    <a:pt x="201184" y="84025"/>
                    <a:pt x="202237" y="82130"/>
                    <a:pt x="211714" y="82130"/>
                  </a:cubicBezTo>
                  <a:cubicBezTo>
                    <a:pt x="220348" y="82130"/>
                    <a:pt x="232773" y="74549"/>
                    <a:pt x="228982" y="74549"/>
                  </a:cubicBezTo>
                  <a:cubicBezTo>
                    <a:pt x="232983" y="74549"/>
                    <a:pt x="241407" y="59597"/>
                    <a:pt x="236774" y="59597"/>
                  </a:cubicBezTo>
                  <a:cubicBezTo>
                    <a:pt x="240564" y="59597"/>
                    <a:pt x="231930" y="45277"/>
                    <a:pt x="238669" y="45277"/>
                  </a:cubicBezTo>
                  <a:cubicBezTo>
                    <a:pt x="244566" y="45277"/>
                    <a:pt x="247303" y="35168"/>
                    <a:pt x="239722" y="35168"/>
                  </a:cubicBezTo>
                  <a:cubicBezTo>
                    <a:pt x="246461" y="35168"/>
                    <a:pt x="230035" y="28851"/>
                    <a:pt x="227297" y="28851"/>
                  </a:cubicBezTo>
                  <a:cubicBezTo>
                    <a:pt x="230246" y="28851"/>
                    <a:pt x="242670" y="25481"/>
                    <a:pt x="235089" y="25481"/>
                  </a:cubicBezTo>
                  <a:cubicBezTo>
                    <a:pt x="242881" y="25481"/>
                    <a:pt x="232141" y="13899"/>
                    <a:pt x="227297" y="13899"/>
                  </a:cubicBezTo>
                  <a:cubicBezTo>
                    <a:pt x="232141" y="13899"/>
                    <a:pt x="235931" y="9055"/>
                    <a:pt x="234036" y="9055"/>
                  </a:cubicBezTo>
                  <a:cubicBezTo>
                    <a:pt x="235931" y="9055"/>
                    <a:pt x="227297" y="1895"/>
                    <a:pt x="237827" y="1895"/>
                  </a:cubicBezTo>
                  <a:cubicBezTo>
                    <a:pt x="247514" y="1895"/>
                    <a:pt x="251305" y="12004"/>
                    <a:pt x="247514" y="12004"/>
                  </a:cubicBezTo>
                  <a:cubicBezTo>
                    <a:pt x="252357" y="12004"/>
                    <a:pt x="260992" y="12425"/>
                    <a:pt x="256148" y="12425"/>
                  </a:cubicBezTo>
                  <a:cubicBezTo>
                    <a:pt x="260992" y="12425"/>
                    <a:pt x="269626" y="14741"/>
                    <a:pt x="264782" y="14741"/>
                  </a:cubicBezTo>
                  <a:cubicBezTo>
                    <a:pt x="268783" y="14741"/>
                    <a:pt x="255095" y="6107"/>
                    <a:pt x="251305" y="6107"/>
                  </a:cubicBezTo>
                  <a:cubicBezTo>
                    <a:pt x="255095" y="6107"/>
                    <a:pt x="246461" y="0"/>
                    <a:pt x="245408" y="0"/>
                  </a:cubicBezTo>
                  <a:cubicBezTo>
                    <a:pt x="247093" y="421"/>
                    <a:pt x="253832" y="1264"/>
                    <a:pt x="251936" y="126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5" name="Forme libre : forme 139">
              <a:extLst>
                <a:ext uri="{FF2B5EF4-FFF2-40B4-BE49-F238E27FC236}">
                  <a16:creationId xmlns:a16="http://schemas.microsoft.com/office/drawing/2014/main" id="{CB0A9E8E-B86C-47F9-9121-C4295EAEBCEB}"/>
                </a:ext>
              </a:extLst>
            </p:cNvPr>
            <p:cNvSpPr/>
            <p:nvPr/>
          </p:nvSpPr>
          <p:spPr>
            <a:xfrm>
              <a:off x="9950295" y="2872401"/>
              <a:ext cx="89765" cy="77028"/>
            </a:xfrm>
            <a:custGeom>
              <a:avLst/>
              <a:gdLst>
                <a:gd name="connsiteX0" fmla="*/ 64769 w 89765"/>
                <a:gd name="connsiteY0" fmla="*/ 16426 h 77028"/>
                <a:gd name="connsiteX1" fmla="*/ 75298 w 89765"/>
                <a:gd name="connsiteY1" fmla="*/ 19374 h 77028"/>
                <a:gd name="connsiteX2" fmla="*/ 74456 w 89765"/>
                <a:gd name="connsiteY2" fmla="*/ 26534 h 77028"/>
                <a:gd name="connsiteX3" fmla="*/ 88986 w 89765"/>
                <a:gd name="connsiteY3" fmla="*/ 38538 h 77028"/>
                <a:gd name="connsiteX4" fmla="*/ 79299 w 89765"/>
                <a:gd name="connsiteY4" fmla="*/ 44856 h 77028"/>
                <a:gd name="connsiteX5" fmla="*/ 78246 w 89765"/>
                <a:gd name="connsiteY5" fmla="*/ 59175 h 77028"/>
                <a:gd name="connsiteX6" fmla="*/ 83090 w 89765"/>
                <a:gd name="connsiteY6" fmla="*/ 72653 h 77028"/>
                <a:gd name="connsiteX7" fmla="*/ 75298 w 89765"/>
                <a:gd name="connsiteY7" fmla="*/ 76023 h 77028"/>
                <a:gd name="connsiteX8" fmla="*/ 63715 w 89765"/>
                <a:gd name="connsiteY8" fmla="*/ 75602 h 77028"/>
                <a:gd name="connsiteX9" fmla="*/ 59925 w 89765"/>
                <a:gd name="connsiteY9" fmla="*/ 60650 h 77028"/>
                <a:gd name="connsiteX10" fmla="*/ 49395 w 89765"/>
                <a:gd name="connsiteY10" fmla="*/ 67810 h 77028"/>
                <a:gd name="connsiteX11" fmla="*/ 43710 w 89765"/>
                <a:gd name="connsiteY11" fmla="*/ 59175 h 77028"/>
                <a:gd name="connsiteX12" fmla="*/ 40761 w 89765"/>
                <a:gd name="connsiteY12" fmla="*/ 48646 h 77028"/>
                <a:gd name="connsiteX13" fmla="*/ 48553 w 89765"/>
                <a:gd name="connsiteY13" fmla="*/ 44434 h 77028"/>
                <a:gd name="connsiteX14" fmla="*/ 42656 w 89765"/>
                <a:gd name="connsiteY14" fmla="*/ 40012 h 77028"/>
                <a:gd name="connsiteX15" fmla="*/ 27284 w 89765"/>
                <a:gd name="connsiteY15" fmla="*/ 36642 h 77028"/>
                <a:gd name="connsiteX16" fmla="*/ 36971 w 89765"/>
                <a:gd name="connsiteY16" fmla="*/ 33694 h 77028"/>
                <a:gd name="connsiteX17" fmla="*/ 44552 w 89765"/>
                <a:gd name="connsiteY17" fmla="*/ 31799 h 77028"/>
                <a:gd name="connsiteX18" fmla="*/ 32127 w 89765"/>
                <a:gd name="connsiteY18" fmla="*/ 22112 h 77028"/>
                <a:gd name="connsiteX19" fmla="*/ 21597 w 89765"/>
                <a:gd name="connsiteY19" fmla="*/ 29272 h 77028"/>
                <a:gd name="connsiteX20" fmla="*/ 10015 w 89765"/>
                <a:gd name="connsiteY20" fmla="*/ 21691 h 77028"/>
                <a:gd name="connsiteX21" fmla="*/ 328 w 89765"/>
                <a:gd name="connsiteY21" fmla="*/ 10108 h 77028"/>
                <a:gd name="connsiteX22" fmla="*/ 4119 w 89765"/>
                <a:gd name="connsiteY22" fmla="*/ 4844 h 77028"/>
                <a:gd name="connsiteX23" fmla="*/ 23282 w 89765"/>
                <a:gd name="connsiteY23" fmla="*/ 4844 h 77028"/>
                <a:gd name="connsiteX24" fmla="*/ 40551 w 89765"/>
                <a:gd name="connsiteY24" fmla="*/ 0 h 77028"/>
                <a:gd name="connsiteX25" fmla="*/ 52976 w 89765"/>
                <a:gd name="connsiteY25" fmla="*/ 12846 h 77028"/>
                <a:gd name="connsiteX26" fmla="*/ 64769 w 89765"/>
                <a:gd name="connsiteY26" fmla="*/ 16426 h 77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89765" h="77028">
                  <a:moveTo>
                    <a:pt x="64769" y="16426"/>
                  </a:moveTo>
                  <a:cubicBezTo>
                    <a:pt x="69612" y="16426"/>
                    <a:pt x="80141" y="19374"/>
                    <a:pt x="75298" y="19374"/>
                  </a:cubicBezTo>
                  <a:cubicBezTo>
                    <a:pt x="79299" y="19374"/>
                    <a:pt x="81195" y="26534"/>
                    <a:pt x="74456" y="26534"/>
                  </a:cubicBezTo>
                  <a:cubicBezTo>
                    <a:pt x="82247" y="26534"/>
                    <a:pt x="92567" y="38538"/>
                    <a:pt x="88986" y="38538"/>
                  </a:cubicBezTo>
                  <a:cubicBezTo>
                    <a:pt x="91935" y="38538"/>
                    <a:pt x="86038" y="44856"/>
                    <a:pt x="79299" y="44856"/>
                  </a:cubicBezTo>
                  <a:cubicBezTo>
                    <a:pt x="86038" y="44856"/>
                    <a:pt x="83090" y="59175"/>
                    <a:pt x="78246" y="59175"/>
                  </a:cubicBezTo>
                  <a:cubicBezTo>
                    <a:pt x="83090" y="59175"/>
                    <a:pt x="86880" y="72653"/>
                    <a:pt x="83090" y="72653"/>
                  </a:cubicBezTo>
                  <a:cubicBezTo>
                    <a:pt x="86038" y="72653"/>
                    <a:pt x="71508" y="67810"/>
                    <a:pt x="75298" y="76023"/>
                  </a:cubicBezTo>
                  <a:cubicBezTo>
                    <a:pt x="81195" y="76023"/>
                    <a:pt x="69612" y="75602"/>
                    <a:pt x="63715" y="75602"/>
                  </a:cubicBezTo>
                  <a:cubicBezTo>
                    <a:pt x="66664" y="82762"/>
                    <a:pt x="63715" y="60650"/>
                    <a:pt x="59925" y="60650"/>
                  </a:cubicBezTo>
                  <a:cubicBezTo>
                    <a:pt x="64769" y="60650"/>
                    <a:pt x="53186" y="67810"/>
                    <a:pt x="49395" y="67810"/>
                  </a:cubicBezTo>
                  <a:cubicBezTo>
                    <a:pt x="53397" y="67810"/>
                    <a:pt x="46658" y="59175"/>
                    <a:pt x="43710" y="59175"/>
                  </a:cubicBezTo>
                  <a:cubicBezTo>
                    <a:pt x="47500" y="59175"/>
                    <a:pt x="43710" y="48646"/>
                    <a:pt x="40761" y="48646"/>
                  </a:cubicBezTo>
                  <a:cubicBezTo>
                    <a:pt x="43710" y="48646"/>
                    <a:pt x="51291" y="44434"/>
                    <a:pt x="48553" y="44434"/>
                  </a:cubicBezTo>
                  <a:cubicBezTo>
                    <a:pt x="50449" y="44434"/>
                    <a:pt x="47500" y="40012"/>
                    <a:pt x="42656" y="40012"/>
                  </a:cubicBezTo>
                  <a:cubicBezTo>
                    <a:pt x="36971" y="34747"/>
                    <a:pt x="31074" y="36642"/>
                    <a:pt x="27284" y="36642"/>
                  </a:cubicBezTo>
                  <a:cubicBezTo>
                    <a:pt x="31074" y="36642"/>
                    <a:pt x="39708" y="33694"/>
                    <a:pt x="36971" y="33694"/>
                  </a:cubicBezTo>
                  <a:cubicBezTo>
                    <a:pt x="39708" y="33694"/>
                    <a:pt x="51291" y="31799"/>
                    <a:pt x="44552" y="31799"/>
                  </a:cubicBezTo>
                  <a:cubicBezTo>
                    <a:pt x="52344" y="31799"/>
                    <a:pt x="38866" y="22112"/>
                    <a:pt x="32127" y="22112"/>
                  </a:cubicBezTo>
                  <a:cubicBezTo>
                    <a:pt x="37813" y="22112"/>
                    <a:pt x="24335" y="29272"/>
                    <a:pt x="21597" y="29272"/>
                  </a:cubicBezTo>
                  <a:cubicBezTo>
                    <a:pt x="23493" y="29272"/>
                    <a:pt x="14859" y="21691"/>
                    <a:pt x="10015" y="21691"/>
                  </a:cubicBezTo>
                  <a:cubicBezTo>
                    <a:pt x="13806" y="21691"/>
                    <a:pt x="6225" y="10108"/>
                    <a:pt x="328" y="10108"/>
                  </a:cubicBezTo>
                  <a:cubicBezTo>
                    <a:pt x="5171" y="10108"/>
                    <a:pt x="-5358" y="4844"/>
                    <a:pt x="4119" y="4844"/>
                  </a:cubicBezTo>
                  <a:cubicBezTo>
                    <a:pt x="15701" y="4844"/>
                    <a:pt x="26230" y="4844"/>
                    <a:pt x="23282" y="4844"/>
                  </a:cubicBezTo>
                  <a:cubicBezTo>
                    <a:pt x="26230" y="4844"/>
                    <a:pt x="48343" y="0"/>
                    <a:pt x="40551" y="0"/>
                  </a:cubicBezTo>
                  <a:cubicBezTo>
                    <a:pt x="48343" y="0"/>
                    <a:pt x="61610" y="12846"/>
                    <a:pt x="52976" y="12846"/>
                  </a:cubicBezTo>
                  <a:cubicBezTo>
                    <a:pt x="61820" y="13057"/>
                    <a:pt x="68559" y="16426"/>
                    <a:pt x="64769" y="1642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6" name="Forme libre : forme 140">
              <a:extLst>
                <a:ext uri="{FF2B5EF4-FFF2-40B4-BE49-F238E27FC236}">
                  <a16:creationId xmlns:a16="http://schemas.microsoft.com/office/drawing/2014/main" id="{DB52A8D0-BCCC-482D-86ED-3253CB9FC753}"/>
                </a:ext>
              </a:extLst>
            </p:cNvPr>
            <p:cNvSpPr/>
            <p:nvPr/>
          </p:nvSpPr>
          <p:spPr>
            <a:xfrm>
              <a:off x="9730768" y="3045927"/>
              <a:ext cx="54451" cy="84449"/>
            </a:xfrm>
            <a:custGeom>
              <a:avLst/>
              <a:gdLst>
                <a:gd name="connsiteX0" fmla="*/ 46119 w 54451"/>
                <a:gd name="connsiteY0" fmla="*/ 12004 h 84449"/>
                <a:gd name="connsiteX1" fmla="*/ 27798 w 54451"/>
                <a:gd name="connsiteY1" fmla="*/ 0 h 84449"/>
                <a:gd name="connsiteX2" fmla="*/ 11582 w 54451"/>
                <a:gd name="connsiteY2" fmla="*/ 17690 h 84449"/>
                <a:gd name="connsiteX3" fmla="*/ 0 w 54451"/>
                <a:gd name="connsiteY3" fmla="*/ 34537 h 84449"/>
                <a:gd name="connsiteX4" fmla="*/ 12425 w 54451"/>
                <a:gd name="connsiteY4" fmla="*/ 60860 h 84449"/>
                <a:gd name="connsiteX5" fmla="*/ 31588 w 54451"/>
                <a:gd name="connsiteY5" fmla="*/ 84446 h 84449"/>
                <a:gd name="connsiteX6" fmla="*/ 41275 w 54451"/>
                <a:gd name="connsiteY6" fmla="*/ 75812 h 84449"/>
                <a:gd name="connsiteX7" fmla="*/ 43171 w 54451"/>
                <a:gd name="connsiteY7" fmla="*/ 59597 h 84449"/>
                <a:gd name="connsiteX8" fmla="*/ 50962 w 54451"/>
                <a:gd name="connsiteY8" fmla="*/ 37485 h 84449"/>
                <a:gd name="connsiteX9" fmla="*/ 46119 w 54451"/>
                <a:gd name="connsiteY9" fmla="*/ 12004 h 84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4451" h="84449">
                  <a:moveTo>
                    <a:pt x="46119" y="12004"/>
                  </a:moveTo>
                  <a:cubicBezTo>
                    <a:pt x="52016" y="12004"/>
                    <a:pt x="35590" y="0"/>
                    <a:pt x="27798" y="0"/>
                  </a:cubicBezTo>
                  <a:cubicBezTo>
                    <a:pt x="19164" y="0"/>
                    <a:pt x="18110" y="17690"/>
                    <a:pt x="11582" y="17690"/>
                  </a:cubicBezTo>
                  <a:cubicBezTo>
                    <a:pt x="4843" y="17690"/>
                    <a:pt x="0" y="23797"/>
                    <a:pt x="0" y="34537"/>
                  </a:cubicBezTo>
                  <a:cubicBezTo>
                    <a:pt x="4843" y="44224"/>
                    <a:pt x="12425" y="47593"/>
                    <a:pt x="12425" y="60860"/>
                  </a:cubicBezTo>
                  <a:cubicBezTo>
                    <a:pt x="19164" y="72864"/>
                    <a:pt x="37274" y="84446"/>
                    <a:pt x="31588" y="84446"/>
                  </a:cubicBezTo>
                  <a:cubicBezTo>
                    <a:pt x="37485" y="84446"/>
                    <a:pt x="41275" y="84868"/>
                    <a:pt x="41275" y="75812"/>
                  </a:cubicBezTo>
                  <a:cubicBezTo>
                    <a:pt x="37485" y="68020"/>
                    <a:pt x="50962" y="59597"/>
                    <a:pt x="43171" y="59597"/>
                  </a:cubicBezTo>
                  <a:cubicBezTo>
                    <a:pt x="51805" y="59597"/>
                    <a:pt x="57490" y="37485"/>
                    <a:pt x="50962" y="37485"/>
                  </a:cubicBezTo>
                  <a:cubicBezTo>
                    <a:pt x="57701" y="37485"/>
                    <a:pt x="53911" y="12004"/>
                    <a:pt x="46119" y="1200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7" name="Forme libre : forme 141">
              <a:extLst>
                <a:ext uri="{FF2B5EF4-FFF2-40B4-BE49-F238E27FC236}">
                  <a16:creationId xmlns:a16="http://schemas.microsoft.com/office/drawing/2014/main" id="{C6DB8827-9C1C-4DE0-BCD8-565D8156CCD2}"/>
                </a:ext>
              </a:extLst>
            </p:cNvPr>
            <p:cNvSpPr/>
            <p:nvPr/>
          </p:nvSpPr>
          <p:spPr>
            <a:xfrm>
              <a:off x="9368122" y="3123028"/>
              <a:ext cx="80496" cy="51147"/>
            </a:xfrm>
            <a:custGeom>
              <a:avLst/>
              <a:gdLst>
                <a:gd name="connsiteX0" fmla="*/ 77508 w 80496"/>
                <a:gd name="connsiteY0" fmla="*/ 13663 h 51147"/>
                <a:gd name="connsiteX1" fmla="*/ 52659 w 80496"/>
                <a:gd name="connsiteY1" fmla="*/ 3133 h 51147"/>
                <a:gd name="connsiteX2" fmla="*/ 16226 w 80496"/>
                <a:gd name="connsiteY2" fmla="*/ 1238 h 51147"/>
                <a:gd name="connsiteX3" fmla="*/ 1906 w 80496"/>
                <a:gd name="connsiteY3" fmla="*/ 13663 h 51147"/>
                <a:gd name="connsiteX4" fmla="*/ 1906 w 80496"/>
                <a:gd name="connsiteY4" fmla="*/ 31352 h 51147"/>
                <a:gd name="connsiteX5" fmla="*/ 34548 w 80496"/>
                <a:gd name="connsiteY5" fmla="*/ 50094 h 51147"/>
                <a:gd name="connsiteX6" fmla="*/ 54765 w 80496"/>
                <a:gd name="connsiteY6" fmla="*/ 51147 h 51147"/>
                <a:gd name="connsiteX7" fmla="*/ 70137 w 80496"/>
                <a:gd name="connsiteY7" fmla="*/ 36196 h 51147"/>
                <a:gd name="connsiteX8" fmla="*/ 72032 w 80496"/>
                <a:gd name="connsiteY8" fmla="*/ 24192 h 51147"/>
                <a:gd name="connsiteX9" fmla="*/ 77508 w 80496"/>
                <a:gd name="connsiteY9" fmla="*/ 13663 h 5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496" h="51147">
                  <a:moveTo>
                    <a:pt x="77508" y="13663"/>
                  </a:moveTo>
                  <a:cubicBezTo>
                    <a:pt x="84247" y="13663"/>
                    <a:pt x="60239" y="3133"/>
                    <a:pt x="52659" y="3133"/>
                  </a:cubicBezTo>
                  <a:cubicBezTo>
                    <a:pt x="49710" y="-2553"/>
                    <a:pt x="20859" y="1238"/>
                    <a:pt x="16226" y="1238"/>
                  </a:cubicBezTo>
                  <a:cubicBezTo>
                    <a:pt x="21070" y="1238"/>
                    <a:pt x="6539" y="18927"/>
                    <a:pt x="1906" y="13663"/>
                  </a:cubicBezTo>
                  <a:cubicBezTo>
                    <a:pt x="-5885" y="13663"/>
                    <a:pt x="13489" y="31352"/>
                    <a:pt x="1906" y="31352"/>
                  </a:cubicBezTo>
                  <a:cubicBezTo>
                    <a:pt x="13489" y="31352"/>
                    <a:pt x="24018" y="50094"/>
                    <a:pt x="34548" y="50094"/>
                  </a:cubicBezTo>
                  <a:cubicBezTo>
                    <a:pt x="44024" y="50094"/>
                    <a:pt x="46972" y="43356"/>
                    <a:pt x="54765" y="51147"/>
                  </a:cubicBezTo>
                  <a:cubicBezTo>
                    <a:pt x="66347" y="51147"/>
                    <a:pt x="74981" y="36196"/>
                    <a:pt x="70137" y="36196"/>
                  </a:cubicBezTo>
                  <a:cubicBezTo>
                    <a:pt x="74981" y="36196"/>
                    <a:pt x="78771" y="24192"/>
                    <a:pt x="72032" y="24192"/>
                  </a:cubicBezTo>
                  <a:cubicBezTo>
                    <a:pt x="78350" y="24192"/>
                    <a:pt x="84247" y="27140"/>
                    <a:pt x="77508" y="1366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8" name="Forme libre : forme 142">
              <a:extLst>
                <a:ext uri="{FF2B5EF4-FFF2-40B4-BE49-F238E27FC236}">
                  <a16:creationId xmlns:a16="http://schemas.microsoft.com/office/drawing/2014/main" id="{4DBEC071-001D-40E9-A0D4-71276CD8C889}"/>
                </a:ext>
              </a:extLst>
            </p:cNvPr>
            <p:cNvSpPr/>
            <p:nvPr/>
          </p:nvSpPr>
          <p:spPr>
            <a:xfrm>
              <a:off x="8373360" y="3291684"/>
              <a:ext cx="95554" cy="128669"/>
            </a:xfrm>
            <a:custGeom>
              <a:avLst/>
              <a:gdLst>
                <a:gd name="connsiteX0" fmla="*/ 26064 w 95554"/>
                <a:gd name="connsiteY0" fmla="*/ 6318 h 128669"/>
                <a:gd name="connsiteX1" fmla="*/ 58705 w 95554"/>
                <a:gd name="connsiteY1" fmla="*/ 40433 h 128669"/>
                <a:gd name="connsiteX2" fmla="*/ 74920 w 95554"/>
                <a:gd name="connsiteY2" fmla="*/ 68231 h 128669"/>
                <a:gd name="connsiteX3" fmla="*/ 90293 w 95554"/>
                <a:gd name="connsiteY3" fmla="*/ 89290 h 128669"/>
                <a:gd name="connsiteX4" fmla="*/ 88398 w 95554"/>
                <a:gd name="connsiteY4" fmla="*/ 118140 h 128669"/>
                <a:gd name="connsiteX5" fmla="*/ 59547 w 95554"/>
                <a:gd name="connsiteY5" fmla="*/ 128670 h 128669"/>
                <a:gd name="connsiteX6" fmla="*/ 34487 w 95554"/>
                <a:gd name="connsiteY6" fmla="*/ 128249 h 128669"/>
                <a:gd name="connsiteX7" fmla="*/ 18061 w 95554"/>
                <a:gd name="connsiteY7" fmla="*/ 91396 h 128669"/>
                <a:gd name="connsiteX8" fmla="*/ 10269 w 95554"/>
                <a:gd name="connsiteY8" fmla="*/ 66757 h 128669"/>
                <a:gd name="connsiteX9" fmla="*/ 4583 w 95554"/>
                <a:gd name="connsiteY9" fmla="*/ 43592 h 128669"/>
                <a:gd name="connsiteX10" fmla="*/ 9427 w 95554"/>
                <a:gd name="connsiteY10" fmla="*/ 30114 h 128669"/>
                <a:gd name="connsiteX11" fmla="*/ 5426 w 95554"/>
                <a:gd name="connsiteY11" fmla="*/ 20006 h 128669"/>
                <a:gd name="connsiteX12" fmla="*/ 13217 w 95554"/>
                <a:gd name="connsiteY12" fmla="*/ 10529 h 128669"/>
                <a:gd name="connsiteX13" fmla="*/ 2688 w 95554"/>
                <a:gd name="connsiteY13" fmla="*/ 0 h 128669"/>
                <a:gd name="connsiteX14" fmla="*/ 26064 w 95554"/>
                <a:gd name="connsiteY14" fmla="*/ 6318 h 128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5554" h="128669">
                  <a:moveTo>
                    <a:pt x="26064" y="6318"/>
                  </a:moveTo>
                  <a:cubicBezTo>
                    <a:pt x="37646" y="6318"/>
                    <a:pt x="67339" y="40433"/>
                    <a:pt x="58705" y="40433"/>
                  </a:cubicBezTo>
                  <a:cubicBezTo>
                    <a:pt x="67339" y="40433"/>
                    <a:pt x="85660" y="68231"/>
                    <a:pt x="74920" y="68231"/>
                  </a:cubicBezTo>
                  <a:cubicBezTo>
                    <a:pt x="85450" y="68231"/>
                    <a:pt x="98085" y="89290"/>
                    <a:pt x="90293" y="89290"/>
                  </a:cubicBezTo>
                  <a:cubicBezTo>
                    <a:pt x="98085" y="89290"/>
                    <a:pt x="97032" y="118140"/>
                    <a:pt x="88398" y="118140"/>
                  </a:cubicBezTo>
                  <a:cubicBezTo>
                    <a:pt x="97032" y="118140"/>
                    <a:pt x="68181" y="128670"/>
                    <a:pt x="59547" y="128670"/>
                  </a:cubicBezTo>
                  <a:cubicBezTo>
                    <a:pt x="50913" y="128670"/>
                    <a:pt x="44174" y="128249"/>
                    <a:pt x="34487" y="128249"/>
                  </a:cubicBezTo>
                  <a:cubicBezTo>
                    <a:pt x="44174" y="128249"/>
                    <a:pt x="23958" y="91396"/>
                    <a:pt x="18061" y="91396"/>
                  </a:cubicBezTo>
                  <a:cubicBezTo>
                    <a:pt x="23958" y="91396"/>
                    <a:pt x="16166" y="66757"/>
                    <a:pt x="10269" y="66757"/>
                  </a:cubicBezTo>
                  <a:cubicBezTo>
                    <a:pt x="17008" y="66757"/>
                    <a:pt x="10269" y="43592"/>
                    <a:pt x="4583" y="43592"/>
                  </a:cubicBezTo>
                  <a:cubicBezTo>
                    <a:pt x="10269" y="43592"/>
                    <a:pt x="15112" y="30114"/>
                    <a:pt x="9427" y="30114"/>
                  </a:cubicBezTo>
                  <a:cubicBezTo>
                    <a:pt x="16166" y="30114"/>
                    <a:pt x="-5104" y="20006"/>
                    <a:pt x="5426" y="20006"/>
                  </a:cubicBezTo>
                  <a:cubicBezTo>
                    <a:pt x="15955" y="20006"/>
                    <a:pt x="15955" y="10529"/>
                    <a:pt x="13217" y="10529"/>
                  </a:cubicBezTo>
                  <a:cubicBezTo>
                    <a:pt x="16166" y="10529"/>
                    <a:pt x="-7842" y="0"/>
                    <a:pt x="2688" y="0"/>
                  </a:cubicBezTo>
                  <a:cubicBezTo>
                    <a:pt x="13639" y="0"/>
                    <a:pt x="11744" y="6318"/>
                    <a:pt x="26064" y="631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59" name="Forme libre : forme 143">
              <a:extLst>
                <a:ext uri="{FF2B5EF4-FFF2-40B4-BE49-F238E27FC236}">
                  <a16:creationId xmlns:a16="http://schemas.microsoft.com/office/drawing/2014/main" id="{BBF54868-024B-4A5A-A915-33E126A1004F}"/>
                </a:ext>
              </a:extLst>
            </p:cNvPr>
            <p:cNvSpPr/>
            <p:nvPr/>
          </p:nvSpPr>
          <p:spPr>
            <a:xfrm>
              <a:off x="8987178" y="3501642"/>
              <a:ext cx="476467" cy="456346"/>
            </a:xfrm>
            <a:custGeom>
              <a:avLst/>
              <a:gdLst>
                <a:gd name="connsiteX0" fmla="*/ 469824 w 476467"/>
                <a:gd name="connsiteY0" fmla="*/ 435077 h 456346"/>
                <a:gd name="connsiteX1" fmla="*/ 466876 w 476467"/>
                <a:gd name="connsiteY1" fmla="*/ 409174 h 456346"/>
                <a:gd name="connsiteX2" fmla="*/ 458242 w 476467"/>
                <a:gd name="connsiteY2" fmla="*/ 381377 h 456346"/>
                <a:gd name="connsiteX3" fmla="*/ 468771 w 476467"/>
                <a:gd name="connsiteY3" fmla="*/ 370216 h 456346"/>
                <a:gd name="connsiteX4" fmla="*/ 449608 w 476467"/>
                <a:gd name="connsiteY4" fmla="*/ 352105 h 456346"/>
                <a:gd name="connsiteX5" fmla="*/ 435287 w 476467"/>
                <a:gd name="connsiteY5" fmla="*/ 331467 h 456346"/>
                <a:gd name="connsiteX6" fmla="*/ 407279 w 476467"/>
                <a:gd name="connsiteY6" fmla="*/ 316515 h 456346"/>
                <a:gd name="connsiteX7" fmla="*/ 384325 w 476467"/>
                <a:gd name="connsiteY7" fmla="*/ 280505 h 456346"/>
                <a:gd name="connsiteX8" fmla="*/ 361371 w 476467"/>
                <a:gd name="connsiteY8" fmla="*/ 266606 h 456346"/>
                <a:gd name="connsiteX9" fmla="*/ 349788 w 476467"/>
                <a:gd name="connsiteY9" fmla="*/ 253128 h 456346"/>
                <a:gd name="connsiteX10" fmla="*/ 348736 w 476467"/>
                <a:gd name="connsiteY10" fmla="*/ 220066 h 456346"/>
                <a:gd name="connsiteX11" fmla="*/ 331467 w 476467"/>
                <a:gd name="connsiteY11" fmla="*/ 196480 h 456346"/>
                <a:gd name="connsiteX12" fmla="*/ 291034 w 476467"/>
                <a:gd name="connsiteY12" fmla="*/ 172894 h 456346"/>
                <a:gd name="connsiteX13" fmla="*/ 255445 w 476467"/>
                <a:gd name="connsiteY13" fmla="*/ 151203 h 456346"/>
                <a:gd name="connsiteX14" fmla="*/ 231437 w 476467"/>
                <a:gd name="connsiteY14" fmla="*/ 135830 h 456346"/>
                <a:gd name="connsiteX15" fmla="*/ 212274 w 476467"/>
                <a:gd name="connsiteY15" fmla="*/ 123826 h 456346"/>
                <a:gd name="connsiteX16" fmla="*/ 201744 w 476467"/>
                <a:gd name="connsiteY16" fmla="*/ 127617 h 456346"/>
                <a:gd name="connsiteX17" fmla="*/ 175842 w 476467"/>
                <a:gd name="connsiteY17" fmla="*/ 101714 h 456346"/>
                <a:gd name="connsiteX18" fmla="*/ 131618 w 476467"/>
                <a:gd name="connsiteY18" fmla="*/ 72021 h 456346"/>
                <a:gd name="connsiteX19" fmla="*/ 98977 w 476467"/>
                <a:gd name="connsiteY19" fmla="*/ 36011 h 456346"/>
                <a:gd name="connsiteX20" fmla="*/ 68231 w 476467"/>
                <a:gd name="connsiteY20" fmla="*/ 16847 h 456346"/>
                <a:gd name="connsiteX21" fmla="*/ 29903 w 476467"/>
                <a:gd name="connsiteY21" fmla="*/ 13899 h 456346"/>
                <a:gd name="connsiteX22" fmla="*/ 7792 w 476467"/>
                <a:gd name="connsiteY22" fmla="*/ 0 h 456346"/>
                <a:gd name="connsiteX23" fmla="*/ 0 w 476467"/>
                <a:gd name="connsiteY23" fmla="*/ 15794 h 456346"/>
                <a:gd name="connsiteX24" fmla="*/ 44224 w 476467"/>
                <a:gd name="connsiteY24" fmla="*/ 58544 h 456346"/>
                <a:gd name="connsiteX25" fmla="*/ 65493 w 476467"/>
                <a:gd name="connsiteY25" fmla="*/ 74338 h 456346"/>
                <a:gd name="connsiteX26" fmla="*/ 100030 w 476467"/>
                <a:gd name="connsiteY26" fmla="*/ 107400 h 456346"/>
                <a:gd name="connsiteX27" fmla="*/ 121089 w 476467"/>
                <a:gd name="connsiteY27" fmla="*/ 131408 h 456346"/>
                <a:gd name="connsiteX28" fmla="*/ 152887 w 476467"/>
                <a:gd name="connsiteY28" fmla="*/ 157731 h 456346"/>
                <a:gd name="connsiteX29" fmla="*/ 178790 w 476467"/>
                <a:gd name="connsiteY29" fmla="*/ 198585 h 456346"/>
                <a:gd name="connsiteX30" fmla="*/ 203639 w 476467"/>
                <a:gd name="connsiteY30" fmla="*/ 221119 h 456346"/>
                <a:gd name="connsiteX31" fmla="*/ 237334 w 476467"/>
                <a:gd name="connsiteY31" fmla="*/ 263868 h 456346"/>
                <a:gd name="connsiteX32" fmla="*/ 261341 w 476467"/>
                <a:gd name="connsiteY32" fmla="*/ 300932 h 456346"/>
                <a:gd name="connsiteX33" fmla="*/ 304512 w 476467"/>
                <a:gd name="connsiteY33" fmla="*/ 346630 h 456346"/>
                <a:gd name="connsiteX34" fmla="*/ 335258 w 476467"/>
                <a:gd name="connsiteY34" fmla="*/ 376954 h 456346"/>
                <a:gd name="connsiteX35" fmla="*/ 376533 w 476467"/>
                <a:gd name="connsiteY35" fmla="*/ 403910 h 456346"/>
                <a:gd name="connsiteX36" fmla="*/ 411070 w 476467"/>
                <a:gd name="connsiteY36" fmla="*/ 438025 h 456346"/>
                <a:gd name="connsiteX37" fmla="*/ 432129 w 476467"/>
                <a:gd name="connsiteY37" fmla="*/ 456347 h 456346"/>
                <a:gd name="connsiteX38" fmla="*/ 426232 w 476467"/>
                <a:gd name="connsiteY38" fmla="*/ 439499 h 456346"/>
                <a:gd name="connsiteX39" fmla="*/ 448344 w 476467"/>
                <a:gd name="connsiteY39" fmla="*/ 450661 h 456346"/>
                <a:gd name="connsiteX40" fmla="*/ 459927 w 476467"/>
                <a:gd name="connsiteY40" fmla="*/ 448765 h 456346"/>
                <a:gd name="connsiteX41" fmla="*/ 469824 w 476467"/>
                <a:gd name="connsiteY41" fmla="*/ 435077 h 456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76467" h="456346">
                  <a:moveTo>
                    <a:pt x="469824" y="435077"/>
                  </a:moveTo>
                  <a:cubicBezTo>
                    <a:pt x="479511" y="435077"/>
                    <a:pt x="478669" y="409174"/>
                    <a:pt x="466876" y="409174"/>
                  </a:cubicBezTo>
                  <a:cubicBezTo>
                    <a:pt x="478459" y="409174"/>
                    <a:pt x="464981" y="381377"/>
                    <a:pt x="458242" y="381377"/>
                  </a:cubicBezTo>
                  <a:cubicBezTo>
                    <a:pt x="464981" y="381377"/>
                    <a:pt x="468771" y="381377"/>
                    <a:pt x="468771" y="370216"/>
                  </a:cubicBezTo>
                  <a:cubicBezTo>
                    <a:pt x="463928" y="360528"/>
                    <a:pt x="459084" y="352105"/>
                    <a:pt x="449608" y="352105"/>
                  </a:cubicBezTo>
                  <a:cubicBezTo>
                    <a:pt x="457189" y="352105"/>
                    <a:pt x="442658" y="331467"/>
                    <a:pt x="435287" y="331467"/>
                  </a:cubicBezTo>
                  <a:cubicBezTo>
                    <a:pt x="442869" y="331467"/>
                    <a:pt x="419072" y="328098"/>
                    <a:pt x="407279" y="316515"/>
                  </a:cubicBezTo>
                  <a:cubicBezTo>
                    <a:pt x="395697" y="304512"/>
                    <a:pt x="387063" y="292508"/>
                    <a:pt x="384325" y="280505"/>
                  </a:cubicBezTo>
                  <a:cubicBezTo>
                    <a:pt x="396750" y="280505"/>
                    <a:pt x="367899" y="266606"/>
                    <a:pt x="361371" y="266606"/>
                  </a:cubicBezTo>
                  <a:cubicBezTo>
                    <a:pt x="368109" y="266606"/>
                    <a:pt x="340312" y="253128"/>
                    <a:pt x="349788" y="253128"/>
                  </a:cubicBezTo>
                  <a:cubicBezTo>
                    <a:pt x="359475" y="253128"/>
                    <a:pt x="356527" y="220066"/>
                    <a:pt x="348736" y="220066"/>
                  </a:cubicBezTo>
                  <a:cubicBezTo>
                    <a:pt x="356527" y="220066"/>
                    <a:pt x="351683" y="196480"/>
                    <a:pt x="331467" y="196480"/>
                  </a:cubicBezTo>
                  <a:cubicBezTo>
                    <a:pt x="311461" y="196480"/>
                    <a:pt x="307460" y="172894"/>
                    <a:pt x="291034" y="172894"/>
                  </a:cubicBezTo>
                  <a:cubicBezTo>
                    <a:pt x="275661" y="172894"/>
                    <a:pt x="268080" y="151203"/>
                    <a:pt x="255445" y="151203"/>
                  </a:cubicBezTo>
                  <a:cubicBezTo>
                    <a:pt x="243862" y="151203"/>
                    <a:pt x="243862" y="135830"/>
                    <a:pt x="231437" y="135830"/>
                  </a:cubicBezTo>
                  <a:cubicBezTo>
                    <a:pt x="243862" y="135830"/>
                    <a:pt x="219855" y="123826"/>
                    <a:pt x="212274" y="123826"/>
                  </a:cubicBezTo>
                  <a:cubicBezTo>
                    <a:pt x="220908" y="123826"/>
                    <a:pt x="211221" y="127617"/>
                    <a:pt x="201744" y="127617"/>
                  </a:cubicBezTo>
                  <a:cubicBezTo>
                    <a:pt x="211431" y="127617"/>
                    <a:pt x="191215" y="101714"/>
                    <a:pt x="175842" y="101714"/>
                  </a:cubicBezTo>
                  <a:cubicBezTo>
                    <a:pt x="158574" y="101714"/>
                    <a:pt x="144043" y="72021"/>
                    <a:pt x="131618" y="72021"/>
                  </a:cubicBezTo>
                  <a:cubicBezTo>
                    <a:pt x="143200" y="72021"/>
                    <a:pt x="105716" y="50963"/>
                    <a:pt x="98977" y="36011"/>
                  </a:cubicBezTo>
                  <a:cubicBezTo>
                    <a:pt x="86552" y="24007"/>
                    <a:pt x="74970" y="16847"/>
                    <a:pt x="68231" y="16847"/>
                  </a:cubicBezTo>
                  <a:cubicBezTo>
                    <a:pt x="60650" y="16847"/>
                    <a:pt x="41486" y="13899"/>
                    <a:pt x="29903" y="13899"/>
                  </a:cubicBezTo>
                  <a:cubicBezTo>
                    <a:pt x="39591" y="13899"/>
                    <a:pt x="19374" y="0"/>
                    <a:pt x="7792" y="0"/>
                  </a:cubicBezTo>
                  <a:cubicBezTo>
                    <a:pt x="-3791" y="0"/>
                    <a:pt x="8634" y="15794"/>
                    <a:pt x="0" y="15794"/>
                  </a:cubicBezTo>
                  <a:cubicBezTo>
                    <a:pt x="9687" y="15794"/>
                    <a:pt x="52857" y="58544"/>
                    <a:pt x="44224" y="58544"/>
                  </a:cubicBezTo>
                  <a:cubicBezTo>
                    <a:pt x="52857" y="58544"/>
                    <a:pt x="46119" y="74338"/>
                    <a:pt x="65493" y="74338"/>
                  </a:cubicBezTo>
                  <a:cubicBezTo>
                    <a:pt x="83604" y="74338"/>
                    <a:pt x="108664" y="107400"/>
                    <a:pt x="100030" y="107400"/>
                  </a:cubicBezTo>
                  <a:cubicBezTo>
                    <a:pt x="107822" y="107400"/>
                    <a:pt x="104873" y="131408"/>
                    <a:pt x="121089" y="131408"/>
                  </a:cubicBezTo>
                  <a:cubicBezTo>
                    <a:pt x="139410" y="131408"/>
                    <a:pt x="163417" y="157731"/>
                    <a:pt x="152887" y="157731"/>
                  </a:cubicBezTo>
                  <a:cubicBezTo>
                    <a:pt x="163417" y="157731"/>
                    <a:pt x="187424" y="198585"/>
                    <a:pt x="178790" y="198585"/>
                  </a:cubicBezTo>
                  <a:cubicBezTo>
                    <a:pt x="187424" y="198585"/>
                    <a:pt x="188477" y="221119"/>
                    <a:pt x="203639" y="221119"/>
                  </a:cubicBezTo>
                  <a:cubicBezTo>
                    <a:pt x="217960" y="221119"/>
                    <a:pt x="237334" y="249548"/>
                    <a:pt x="237334" y="263868"/>
                  </a:cubicBezTo>
                  <a:cubicBezTo>
                    <a:pt x="244915" y="277767"/>
                    <a:pt x="252707" y="282611"/>
                    <a:pt x="261341" y="300932"/>
                  </a:cubicBezTo>
                  <a:cubicBezTo>
                    <a:pt x="276714" y="316305"/>
                    <a:pt x="293982" y="335047"/>
                    <a:pt x="304512" y="346630"/>
                  </a:cubicBezTo>
                  <a:cubicBezTo>
                    <a:pt x="320938" y="346630"/>
                    <a:pt x="319042" y="360950"/>
                    <a:pt x="335258" y="376954"/>
                  </a:cubicBezTo>
                  <a:cubicBezTo>
                    <a:pt x="356316" y="376954"/>
                    <a:pt x="390011" y="403910"/>
                    <a:pt x="376533" y="403910"/>
                  </a:cubicBezTo>
                  <a:cubicBezTo>
                    <a:pt x="376533" y="418230"/>
                    <a:pt x="423705" y="438025"/>
                    <a:pt x="411070" y="438025"/>
                  </a:cubicBezTo>
                  <a:cubicBezTo>
                    <a:pt x="423494" y="438025"/>
                    <a:pt x="438868" y="456347"/>
                    <a:pt x="432129" y="456347"/>
                  </a:cubicBezTo>
                  <a:cubicBezTo>
                    <a:pt x="438868" y="456347"/>
                    <a:pt x="401383" y="439499"/>
                    <a:pt x="426232" y="439499"/>
                  </a:cubicBezTo>
                  <a:cubicBezTo>
                    <a:pt x="451292" y="439499"/>
                    <a:pt x="455083" y="450661"/>
                    <a:pt x="448344" y="450661"/>
                  </a:cubicBezTo>
                  <a:cubicBezTo>
                    <a:pt x="455083" y="450661"/>
                    <a:pt x="471299" y="448765"/>
                    <a:pt x="459927" y="448765"/>
                  </a:cubicBezTo>
                  <a:cubicBezTo>
                    <a:pt x="471720" y="448555"/>
                    <a:pt x="479511" y="435077"/>
                    <a:pt x="469824" y="43507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0" name="Forme libre : forme 144">
              <a:extLst>
                <a:ext uri="{FF2B5EF4-FFF2-40B4-BE49-F238E27FC236}">
                  <a16:creationId xmlns:a16="http://schemas.microsoft.com/office/drawing/2014/main" id="{B5553B4B-9402-4AC0-B680-057BCDC4EA22}"/>
                </a:ext>
              </a:extLst>
            </p:cNvPr>
            <p:cNvSpPr/>
            <p:nvPr/>
          </p:nvSpPr>
          <p:spPr>
            <a:xfrm>
              <a:off x="9500384" y="3851220"/>
              <a:ext cx="30182" cy="25272"/>
            </a:xfrm>
            <a:custGeom>
              <a:avLst/>
              <a:gdLst>
                <a:gd name="connsiteX0" fmla="*/ 24007 w 30182"/>
                <a:gd name="connsiteY0" fmla="*/ 8634 h 25272"/>
                <a:gd name="connsiteX1" fmla="*/ 0 w 30182"/>
                <a:gd name="connsiteY1" fmla="*/ 0 h 25272"/>
                <a:gd name="connsiteX2" fmla="*/ 3790 w 30182"/>
                <a:gd name="connsiteY2" fmla="*/ 19164 h 25272"/>
                <a:gd name="connsiteX3" fmla="*/ 26955 w 30182"/>
                <a:gd name="connsiteY3" fmla="*/ 25271 h 25272"/>
                <a:gd name="connsiteX4" fmla="*/ 24007 w 30182"/>
                <a:gd name="connsiteY4" fmla="*/ 8634 h 252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182" h="25272">
                  <a:moveTo>
                    <a:pt x="24007" y="8634"/>
                  </a:moveTo>
                  <a:cubicBezTo>
                    <a:pt x="32641" y="8634"/>
                    <a:pt x="7581" y="0"/>
                    <a:pt x="0" y="0"/>
                  </a:cubicBezTo>
                  <a:cubicBezTo>
                    <a:pt x="7792" y="0"/>
                    <a:pt x="-5896" y="19164"/>
                    <a:pt x="3790" y="19164"/>
                  </a:cubicBezTo>
                  <a:cubicBezTo>
                    <a:pt x="12635" y="19164"/>
                    <a:pt x="34536" y="25271"/>
                    <a:pt x="26955" y="25271"/>
                  </a:cubicBezTo>
                  <a:cubicBezTo>
                    <a:pt x="34536" y="25481"/>
                    <a:pt x="26745" y="8634"/>
                    <a:pt x="24007" y="863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1" name="Forme libre : forme 145">
              <a:extLst>
                <a:ext uri="{FF2B5EF4-FFF2-40B4-BE49-F238E27FC236}">
                  <a16:creationId xmlns:a16="http://schemas.microsoft.com/office/drawing/2014/main" id="{C728CDE3-710B-4864-BE38-D79301A3B93A}"/>
                </a:ext>
              </a:extLst>
            </p:cNvPr>
            <p:cNvSpPr/>
            <p:nvPr/>
          </p:nvSpPr>
          <p:spPr>
            <a:xfrm>
              <a:off x="9403512" y="3805522"/>
              <a:ext cx="68890" cy="54755"/>
            </a:xfrm>
            <a:custGeom>
              <a:avLst/>
              <a:gdLst>
                <a:gd name="connsiteX0" fmla="*/ 64229 w 68890"/>
                <a:gd name="connsiteY0" fmla="*/ 40012 h 54755"/>
                <a:gd name="connsiteX1" fmla="*/ 44013 w 68890"/>
                <a:gd name="connsiteY1" fmla="*/ 24639 h 54755"/>
                <a:gd name="connsiteX2" fmla="*/ 27798 w 68890"/>
                <a:gd name="connsiteY2" fmla="*/ 0 h 54755"/>
                <a:gd name="connsiteX3" fmla="*/ 0 w 68890"/>
                <a:gd name="connsiteY3" fmla="*/ 1895 h 54755"/>
                <a:gd name="connsiteX4" fmla="*/ 20216 w 68890"/>
                <a:gd name="connsiteY4" fmla="*/ 19164 h 54755"/>
                <a:gd name="connsiteX5" fmla="*/ 38538 w 68890"/>
                <a:gd name="connsiteY5" fmla="*/ 40854 h 54755"/>
                <a:gd name="connsiteX6" fmla="*/ 63388 w 68890"/>
                <a:gd name="connsiteY6" fmla="*/ 54753 h 54755"/>
                <a:gd name="connsiteX7" fmla="*/ 64229 w 68890"/>
                <a:gd name="connsiteY7" fmla="*/ 40012 h 54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890" h="54755">
                  <a:moveTo>
                    <a:pt x="64229" y="40012"/>
                  </a:moveTo>
                  <a:cubicBezTo>
                    <a:pt x="64229" y="23797"/>
                    <a:pt x="54543" y="24639"/>
                    <a:pt x="44013" y="24639"/>
                  </a:cubicBezTo>
                  <a:cubicBezTo>
                    <a:pt x="54543" y="24639"/>
                    <a:pt x="42118" y="0"/>
                    <a:pt x="27798" y="0"/>
                  </a:cubicBezTo>
                  <a:cubicBezTo>
                    <a:pt x="12425" y="0"/>
                    <a:pt x="7582" y="1895"/>
                    <a:pt x="0" y="1895"/>
                  </a:cubicBezTo>
                  <a:cubicBezTo>
                    <a:pt x="7792" y="1895"/>
                    <a:pt x="25903" y="19164"/>
                    <a:pt x="20216" y="19164"/>
                  </a:cubicBezTo>
                  <a:cubicBezTo>
                    <a:pt x="25060" y="19164"/>
                    <a:pt x="22112" y="40854"/>
                    <a:pt x="38538" y="40854"/>
                  </a:cubicBezTo>
                  <a:cubicBezTo>
                    <a:pt x="53911" y="40854"/>
                    <a:pt x="56859" y="47593"/>
                    <a:pt x="63388" y="54753"/>
                  </a:cubicBezTo>
                  <a:cubicBezTo>
                    <a:pt x="72864" y="54964"/>
                    <a:pt x="68021" y="40012"/>
                    <a:pt x="64229" y="4001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2" name="Forme libre : forme 146">
              <a:extLst>
                <a:ext uri="{FF2B5EF4-FFF2-40B4-BE49-F238E27FC236}">
                  <a16:creationId xmlns:a16="http://schemas.microsoft.com/office/drawing/2014/main" id="{86694DDA-2EE7-41FA-AF6E-7362811004D5}"/>
                </a:ext>
              </a:extLst>
            </p:cNvPr>
            <p:cNvSpPr/>
            <p:nvPr/>
          </p:nvSpPr>
          <p:spPr>
            <a:xfrm>
              <a:off x="9975683" y="3443519"/>
              <a:ext cx="57695" cy="81919"/>
            </a:xfrm>
            <a:custGeom>
              <a:avLst/>
              <a:gdLst>
                <a:gd name="connsiteX0" fmla="*/ 47172 w 57695"/>
                <a:gd name="connsiteY0" fmla="*/ 29272 h 81919"/>
                <a:gd name="connsiteX1" fmla="*/ 22112 w 57695"/>
                <a:gd name="connsiteY1" fmla="*/ 1474 h 81919"/>
                <a:gd name="connsiteX2" fmla="*/ 0 w 57695"/>
                <a:gd name="connsiteY2" fmla="*/ 0 h 81919"/>
                <a:gd name="connsiteX3" fmla="*/ 14320 w 57695"/>
                <a:gd name="connsiteY3" fmla="*/ 16847 h 81919"/>
                <a:gd name="connsiteX4" fmla="*/ 29693 w 57695"/>
                <a:gd name="connsiteY4" fmla="*/ 37064 h 81919"/>
                <a:gd name="connsiteX5" fmla="*/ 18953 w 57695"/>
                <a:gd name="connsiteY5" fmla="*/ 40433 h 81919"/>
                <a:gd name="connsiteX6" fmla="*/ 7370 w 57695"/>
                <a:gd name="connsiteY6" fmla="*/ 26113 h 81919"/>
                <a:gd name="connsiteX7" fmla="*/ 19795 w 57695"/>
                <a:gd name="connsiteY7" fmla="*/ 54964 h 81919"/>
                <a:gd name="connsiteX8" fmla="*/ 32430 w 57695"/>
                <a:gd name="connsiteY8" fmla="*/ 68020 h 81919"/>
                <a:gd name="connsiteX9" fmla="*/ 40012 w 57695"/>
                <a:gd name="connsiteY9" fmla="*/ 81919 h 81919"/>
                <a:gd name="connsiteX10" fmla="*/ 47593 w 57695"/>
                <a:gd name="connsiteY10" fmla="*/ 71390 h 81919"/>
                <a:gd name="connsiteX11" fmla="*/ 36011 w 57695"/>
                <a:gd name="connsiteY11" fmla="*/ 49910 h 81919"/>
                <a:gd name="connsiteX12" fmla="*/ 55174 w 57695"/>
                <a:gd name="connsiteY12" fmla="*/ 54753 h 81919"/>
                <a:gd name="connsiteX13" fmla="*/ 47172 w 57695"/>
                <a:gd name="connsiteY13" fmla="*/ 29272 h 8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695" h="81919">
                  <a:moveTo>
                    <a:pt x="47172" y="29272"/>
                  </a:moveTo>
                  <a:cubicBezTo>
                    <a:pt x="47172" y="15794"/>
                    <a:pt x="26113" y="1474"/>
                    <a:pt x="22112" y="1474"/>
                  </a:cubicBezTo>
                  <a:cubicBezTo>
                    <a:pt x="22112" y="11161"/>
                    <a:pt x="3790" y="0"/>
                    <a:pt x="0" y="0"/>
                  </a:cubicBezTo>
                  <a:cubicBezTo>
                    <a:pt x="3790" y="0"/>
                    <a:pt x="26745" y="16847"/>
                    <a:pt x="14320" y="16847"/>
                  </a:cubicBezTo>
                  <a:cubicBezTo>
                    <a:pt x="24849" y="16847"/>
                    <a:pt x="36432" y="37064"/>
                    <a:pt x="29693" y="37064"/>
                  </a:cubicBezTo>
                  <a:cubicBezTo>
                    <a:pt x="36432" y="37064"/>
                    <a:pt x="18953" y="51384"/>
                    <a:pt x="18953" y="40433"/>
                  </a:cubicBezTo>
                  <a:cubicBezTo>
                    <a:pt x="14109" y="30746"/>
                    <a:pt x="15162" y="26113"/>
                    <a:pt x="7370" y="26113"/>
                  </a:cubicBezTo>
                  <a:cubicBezTo>
                    <a:pt x="16215" y="26113"/>
                    <a:pt x="2527" y="54964"/>
                    <a:pt x="19795" y="54964"/>
                  </a:cubicBezTo>
                  <a:cubicBezTo>
                    <a:pt x="28429" y="54964"/>
                    <a:pt x="41907" y="68020"/>
                    <a:pt x="32430" y="68020"/>
                  </a:cubicBezTo>
                  <a:cubicBezTo>
                    <a:pt x="40012" y="68020"/>
                    <a:pt x="31378" y="81919"/>
                    <a:pt x="40012" y="81919"/>
                  </a:cubicBezTo>
                  <a:cubicBezTo>
                    <a:pt x="48646" y="81919"/>
                    <a:pt x="55384" y="71390"/>
                    <a:pt x="47593" y="71390"/>
                  </a:cubicBezTo>
                  <a:cubicBezTo>
                    <a:pt x="56227" y="71390"/>
                    <a:pt x="29482" y="36432"/>
                    <a:pt x="36011" y="49910"/>
                  </a:cubicBezTo>
                  <a:cubicBezTo>
                    <a:pt x="51384" y="49910"/>
                    <a:pt x="60017" y="54753"/>
                    <a:pt x="55174" y="54753"/>
                  </a:cubicBezTo>
                  <a:cubicBezTo>
                    <a:pt x="60649" y="54332"/>
                    <a:pt x="56859" y="29272"/>
                    <a:pt x="47172" y="2927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3" name="Forme libre : forme 147">
              <a:extLst>
                <a:ext uri="{FF2B5EF4-FFF2-40B4-BE49-F238E27FC236}">
                  <a16:creationId xmlns:a16="http://schemas.microsoft.com/office/drawing/2014/main" id="{ECC2EAD8-6560-440D-8962-49A43D7E1186}"/>
                </a:ext>
              </a:extLst>
            </p:cNvPr>
            <p:cNvSpPr/>
            <p:nvPr/>
          </p:nvSpPr>
          <p:spPr>
            <a:xfrm>
              <a:off x="9896923" y="3447941"/>
              <a:ext cx="49957" cy="50120"/>
            </a:xfrm>
            <a:custGeom>
              <a:avLst/>
              <a:gdLst>
                <a:gd name="connsiteX0" fmla="*/ 2106 w 49957"/>
                <a:gd name="connsiteY0" fmla="*/ 0 h 50120"/>
                <a:gd name="connsiteX1" fmla="*/ 22112 w 49957"/>
                <a:gd name="connsiteY1" fmla="*/ 13057 h 50120"/>
                <a:gd name="connsiteX2" fmla="*/ 40433 w 49957"/>
                <a:gd name="connsiteY2" fmla="*/ 18742 h 50120"/>
                <a:gd name="connsiteX3" fmla="*/ 48014 w 49957"/>
                <a:gd name="connsiteY3" fmla="*/ 30325 h 50120"/>
                <a:gd name="connsiteX4" fmla="*/ 35590 w 49957"/>
                <a:gd name="connsiteY4" fmla="*/ 40012 h 50120"/>
                <a:gd name="connsiteX5" fmla="*/ 32642 w 49957"/>
                <a:gd name="connsiteY5" fmla="*/ 50120 h 50120"/>
                <a:gd name="connsiteX6" fmla="*/ 21059 w 49957"/>
                <a:gd name="connsiteY6" fmla="*/ 42328 h 50120"/>
                <a:gd name="connsiteX7" fmla="*/ 12425 w 49957"/>
                <a:gd name="connsiteY7" fmla="*/ 46119 h 50120"/>
                <a:gd name="connsiteX8" fmla="*/ 11583 w 49957"/>
                <a:gd name="connsiteY8" fmla="*/ 24007 h 50120"/>
                <a:gd name="connsiteX9" fmla="*/ 0 w 49957"/>
                <a:gd name="connsiteY9" fmla="*/ 2738 h 50120"/>
                <a:gd name="connsiteX10" fmla="*/ 2106 w 49957"/>
                <a:gd name="connsiteY10" fmla="*/ 0 h 5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9957" h="50120">
                  <a:moveTo>
                    <a:pt x="2106" y="0"/>
                  </a:moveTo>
                  <a:cubicBezTo>
                    <a:pt x="10740" y="0"/>
                    <a:pt x="30957" y="13057"/>
                    <a:pt x="22112" y="13057"/>
                  </a:cubicBezTo>
                  <a:cubicBezTo>
                    <a:pt x="29904" y="13057"/>
                    <a:pt x="48014" y="18742"/>
                    <a:pt x="40433" y="18742"/>
                  </a:cubicBezTo>
                  <a:cubicBezTo>
                    <a:pt x="48014" y="18742"/>
                    <a:pt x="52858" y="30325"/>
                    <a:pt x="48014" y="30325"/>
                  </a:cubicBezTo>
                  <a:cubicBezTo>
                    <a:pt x="51805" y="30325"/>
                    <a:pt x="40433" y="40012"/>
                    <a:pt x="35590" y="40012"/>
                  </a:cubicBezTo>
                  <a:cubicBezTo>
                    <a:pt x="40433" y="40012"/>
                    <a:pt x="37485" y="50120"/>
                    <a:pt x="32642" y="50120"/>
                  </a:cubicBezTo>
                  <a:cubicBezTo>
                    <a:pt x="36432" y="50120"/>
                    <a:pt x="26745" y="42328"/>
                    <a:pt x="21059" y="42328"/>
                  </a:cubicBezTo>
                  <a:cubicBezTo>
                    <a:pt x="26745" y="42328"/>
                    <a:pt x="19164" y="46119"/>
                    <a:pt x="12425" y="46119"/>
                  </a:cubicBezTo>
                  <a:cubicBezTo>
                    <a:pt x="18321" y="46119"/>
                    <a:pt x="18321" y="24007"/>
                    <a:pt x="11583" y="24007"/>
                  </a:cubicBezTo>
                  <a:cubicBezTo>
                    <a:pt x="19374" y="24007"/>
                    <a:pt x="6739" y="2738"/>
                    <a:pt x="0" y="2738"/>
                  </a:cubicBezTo>
                  <a:cubicBezTo>
                    <a:pt x="5686" y="2738"/>
                    <a:pt x="6739" y="0"/>
                    <a:pt x="2106"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4" name="Forme libre : forme 148">
              <a:extLst>
                <a:ext uri="{FF2B5EF4-FFF2-40B4-BE49-F238E27FC236}">
                  <a16:creationId xmlns:a16="http://schemas.microsoft.com/office/drawing/2014/main" id="{8CFE2481-1B78-47A2-A6EA-42C633A0DF43}"/>
                </a:ext>
              </a:extLst>
            </p:cNvPr>
            <p:cNvSpPr/>
            <p:nvPr/>
          </p:nvSpPr>
          <p:spPr>
            <a:xfrm>
              <a:off x="9824902" y="3386449"/>
              <a:ext cx="53339" cy="49488"/>
            </a:xfrm>
            <a:custGeom>
              <a:avLst/>
              <a:gdLst>
                <a:gd name="connsiteX0" fmla="*/ 50962 w 53339"/>
                <a:gd name="connsiteY0" fmla="*/ 31167 h 49488"/>
                <a:gd name="connsiteX1" fmla="*/ 41275 w 53339"/>
                <a:gd name="connsiteY1" fmla="*/ 15373 h 49488"/>
                <a:gd name="connsiteX2" fmla="*/ 19164 w 53339"/>
                <a:gd name="connsiteY2" fmla="*/ 4422 h 49488"/>
                <a:gd name="connsiteX3" fmla="*/ 0 w 53339"/>
                <a:gd name="connsiteY3" fmla="*/ 0 h 49488"/>
                <a:gd name="connsiteX4" fmla="*/ 20216 w 53339"/>
                <a:gd name="connsiteY4" fmla="*/ 17268 h 49488"/>
                <a:gd name="connsiteX5" fmla="*/ 31799 w 53339"/>
                <a:gd name="connsiteY5" fmla="*/ 36011 h 49488"/>
                <a:gd name="connsiteX6" fmla="*/ 46119 w 53339"/>
                <a:gd name="connsiteY6" fmla="*/ 49488 h 49488"/>
                <a:gd name="connsiteX7" fmla="*/ 50962 w 53339"/>
                <a:gd name="connsiteY7" fmla="*/ 31167 h 4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3339" h="49488">
                  <a:moveTo>
                    <a:pt x="50962" y="31167"/>
                  </a:moveTo>
                  <a:cubicBezTo>
                    <a:pt x="54753" y="31167"/>
                    <a:pt x="49910" y="15373"/>
                    <a:pt x="41275" y="15373"/>
                  </a:cubicBezTo>
                  <a:cubicBezTo>
                    <a:pt x="48857" y="15373"/>
                    <a:pt x="27798" y="4422"/>
                    <a:pt x="19164" y="4422"/>
                  </a:cubicBezTo>
                  <a:cubicBezTo>
                    <a:pt x="10529" y="4422"/>
                    <a:pt x="7581" y="0"/>
                    <a:pt x="0" y="0"/>
                  </a:cubicBezTo>
                  <a:cubicBezTo>
                    <a:pt x="8634" y="0"/>
                    <a:pt x="26955" y="17268"/>
                    <a:pt x="20216" y="17268"/>
                  </a:cubicBezTo>
                  <a:cubicBezTo>
                    <a:pt x="27798" y="17268"/>
                    <a:pt x="40223" y="36011"/>
                    <a:pt x="31799" y="36011"/>
                  </a:cubicBezTo>
                  <a:cubicBezTo>
                    <a:pt x="41486" y="36011"/>
                    <a:pt x="52857" y="49488"/>
                    <a:pt x="46119" y="49488"/>
                  </a:cubicBezTo>
                  <a:cubicBezTo>
                    <a:pt x="50962" y="49488"/>
                    <a:pt x="56649" y="31167"/>
                    <a:pt x="50962" y="3116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5" name="Forme libre : forme 149">
              <a:extLst>
                <a:ext uri="{FF2B5EF4-FFF2-40B4-BE49-F238E27FC236}">
                  <a16:creationId xmlns:a16="http://schemas.microsoft.com/office/drawing/2014/main" id="{63228BB1-2343-44D4-AD72-A42D27AC72F4}"/>
                </a:ext>
              </a:extLst>
            </p:cNvPr>
            <p:cNvSpPr/>
            <p:nvPr/>
          </p:nvSpPr>
          <p:spPr>
            <a:xfrm>
              <a:off x="9937356" y="3434885"/>
              <a:ext cx="32728" cy="28850"/>
            </a:xfrm>
            <a:custGeom>
              <a:avLst/>
              <a:gdLst>
                <a:gd name="connsiteX0" fmla="*/ 18321 w 32728"/>
                <a:gd name="connsiteY0" fmla="*/ 12004 h 28850"/>
                <a:gd name="connsiteX1" fmla="*/ 1895 w 32728"/>
                <a:gd name="connsiteY1" fmla="*/ 0 h 28850"/>
                <a:gd name="connsiteX2" fmla="*/ 0 w 32728"/>
                <a:gd name="connsiteY2" fmla="*/ 13478 h 28850"/>
                <a:gd name="connsiteX3" fmla="*/ 8634 w 32728"/>
                <a:gd name="connsiteY3" fmla="*/ 20217 h 28850"/>
                <a:gd name="connsiteX4" fmla="*/ 17268 w 32728"/>
                <a:gd name="connsiteY4" fmla="*/ 19795 h 28850"/>
                <a:gd name="connsiteX5" fmla="*/ 31799 w 32728"/>
                <a:gd name="connsiteY5" fmla="*/ 28851 h 28850"/>
                <a:gd name="connsiteX6" fmla="*/ 28008 w 32728"/>
                <a:gd name="connsiteY6" fmla="*/ 19795 h 28850"/>
                <a:gd name="connsiteX7" fmla="*/ 18321 w 32728"/>
                <a:gd name="connsiteY7" fmla="*/ 12004 h 28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728" h="28850">
                  <a:moveTo>
                    <a:pt x="18321" y="12004"/>
                  </a:moveTo>
                  <a:cubicBezTo>
                    <a:pt x="25903" y="12004"/>
                    <a:pt x="6739" y="0"/>
                    <a:pt x="1895" y="0"/>
                  </a:cubicBezTo>
                  <a:cubicBezTo>
                    <a:pt x="6739" y="0"/>
                    <a:pt x="5686" y="13478"/>
                    <a:pt x="0" y="13478"/>
                  </a:cubicBezTo>
                  <a:cubicBezTo>
                    <a:pt x="5686" y="13478"/>
                    <a:pt x="11582" y="20217"/>
                    <a:pt x="8634" y="20217"/>
                  </a:cubicBezTo>
                  <a:cubicBezTo>
                    <a:pt x="12425" y="20217"/>
                    <a:pt x="24007" y="19795"/>
                    <a:pt x="17268" y="19795"/>
                  </a:cubicBezTo>
                  <a:cubicBezTo>
                    <a:pt x="23165" y="19795"/>
                    <a:pt x="35590" y="28851"/>
                    <a:pt x="31799" y="28851"/>
                  </a:cubicBezTo>
                  <a:cubicBezTo>
                    <a:pt x="34747" y="28851"/>
                    <a:pt x="29903" y="19795"/>
                    <a:pt x="28008" y="19795"/>
                  </a:cubicBezTo>
                  <a:cubicBezTo>
                    <a:pt x="29693" y="19795"/>
                    <a:pt x="22954" y="12004"/>
                    <a:pt x="18321" y="1200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6" name="Forme libre : forme 150">
              <a:extLst>
                <a:ext uri="{FF2B5EF4-FFF2-40B4-BE49-F238E27FC236}">
                  <a16:creationId xmlns:a16="http://schemas.microsoft.com/office/drawing/2014/main" id="{39EBF74F-F90B-4D52-8A79-F67288E12A74}"/>
                </a:ext>
              </a:extLst>
            </p:cNvPr>
            <p:cNvSpPr/>
            <p:nvPr/>
          </p:nvSpPr>
          <p:spPr>
            <a:xfrm>
              <a:off x="9981580" y="3515962"/>
              <a:ext cx="27497" cy="23164"/>
            </a:xfrm>
            <a:custGeom>
              <a:avLst/>
              <a:gdLst>
                <a:gd name="connsiteX0" fmla="*/ 24007 w 27497"/>
                <a:gd name="connsiteY0" fmla="*/ 9266 h 23164"/>
                <a:gd name="connsiteX1" fmla="*/ 9687 w 27497"/>
                <a:gd name="connsiteY1" fmla="*/ 0 h 23164"/>
                <a:gd name="connsiteX2" fmla="*/ 0 w 27497"/>
                <a:gd name="connsiteY2" fmla="*/ 11161 h 23164"/>
                <a:gd name="connsiteX3" fmla="*/ 4843 w 27497"/>
                <a:gd name="connsiteY3" fmla="*/ 23165 h 23164"/>
                <a:gd name="connsiteX4" fmla="*/ 21059 w 27497"/>
                <a:gd name="connsiteY4" fmla="*/ 19795 h 23164"/>
                <a:gd name="connsiteX5" fmla="*/ 24007 w 27497"/>
                <a:gd name="connsiteY5" fmla="*/ 9266 h 23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497" h="23164">
                  <a:moveTo>
                    <a:pt x="24007" y="9266"/>
                  </a:moveTo>
                  <a:cubicBezTo>
                    <a:pt x="30746" y="9266"/>
                    <a:pt x="17268" y="0"/>
                    <a:pt x="9687" y="0"/>
                  </a:cubicBezTo>
                  <a:cubicBezTo>
                    <a:pt x="16426" y="0"/>
                    <a:pt x="7792" y="11161"/>
                    <a:pt x="0" y="11161"/>
                  </a:cubicBezTo>
                  <a:cubicBezTo>
                    <a:pt x="7792" y="11161"/>
                    <a:pt x="10529" y="23165"/>
                    <a:pt x="4843" y="23165"/>
                  </a:cubicBezTo>
                  <a:cubicBezTo>
                    <a:pt x="10740" y="23165"/>
                    <a:pt x="26955" y="19795"/>
                    <a:pt x="21059" y="19795"/>
                  </a:cubicBezTo>
                  <a:cubicBezTo>
                    <a:pt x="26955" y="19795"/>
                    <a:pt x="30535" y="9266"/>
                    <a:pt x="24007" y="926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7" name="Forme libre : forme 151">
              <a:extLst>
                <a:ext uri="{FF2B5EF4-FFF2-40B4-BE49-F238E27FC236}">
                  <a16:creationId xmlns:a16="http://schemas.microsoft.com/office/drawing/2014/main" id="{0A7E10E3-1655-4CDA-897B-431320FBBEA7}"/>
                </a:ext>
              </a:extLst>
            </p:cNvPr>
            <p:cNvSpPr/>
            <p:nvPr/>
          </p:nvSpPr>
          <p:spPr>
            <a:xfrm>
              <a:off x="9929564" y="3483531"/>
              <a:ext cx="56324" cy="61913"/>
            </a:xfrm>
            <a:custGeom>
              <a:avLst/>
              <a:gdLst>
                <a:gd name="connsiteX0" fmla="*/ 26955 w 56324"/>
                <a:gd name="connsiteY0" fmla="*/ 4212 h 61913"/>
                <a:gd name="connsiteX1" fmla="*/ 15373 w 56324"/>
                <a:gd name="connsiteY1" fmla="*/ 3159 h 61913"/>
                <a:gd name="connsiteX2" fmla="*/ 12635 w 56324"/>
                <a:gd name="connsiteY2" fmla="*/ 17689 h 61913"/>
                <a:gd name="connsiteX3" fmla="*/ 9687 w 56324"/>
                <a:gd name="connsiteY3" fmla="*/ 30746 h 61913"/>
                <a:gd name="connsiteX4" fmla="*/ 0 w 56324"/>
                <a:gd name="connsiteY4" fmla="*/ 32220 h 61913"/>
                <a:gd name="connsiteX5" fmla="*/ 14531 w 56324"/>
                <a:gd name="connsiteY5" fmla="*/ 46540 h 61913"/>
                <a:gd name="connsiteX6" fmla="*/ 25060 w 56324"/>
                <a:gd name="connsiteY6" fmla="*/ 58122 h 61913"/>
                <a:gd name="connsiteX7" fmla="*/ 36642 w 56324"/>
                <a:gd name="connsiteY7" fmla="*/ 61913 h 61913"/>
                <a:gd name="connsiteX8" fmla="*/ 43381 w 56324"/>
                <a:gd name="connsiteY8" fmla="*/ 46961 h 61913"/>
                <a:gd name="connsiteX9" fmla="*/ 46329 w 56324"/>
                <a:gd name="connsiteY9" fmla="*/ 30746 h 61913"/>
                <a:gd name="connsiteX10" fmla="*/ 54963 w 56324"/>
                <a:gd name="connsiteY10" fmla="*/ 29272 h 61913"/>
                <a:gd name="connsiteX11" fmla="*/ 51173 w 56324"/>
                <a:gd name="connsiteY11" fmla="*/ 14952 h 61913"/>
                <a:gd name="connsiteX12" fmla="*/ 49278 w 56324"/>
                <a:gd name="connsiteY12" fmla="*/ 0 h 61913"/>
                <a:gd name="connsiteX13" fmla="*/ 41486 w 56324"/>
                <a:gd name="connsiteY13" fmla="*/ 10529 h 61913"/>
                <a:gd name="connsiteX14" fmla="*/ 38748 w 56324"/>
                <a:gd name="connsiteY14" fmla="*/ 25902 h 61913"/>
                <a:gd name="connsiteX15" fmla="*/ 33905 w 56324"/>
                <a:gd name="connsiteY15" fmla="*/ 37485 h 61913"/>
                <a:gd name="connsiteX16" fmla="*/ 32852 w 56324"/>
                <a:gd name="connsiteY16" fmla="*/ 48014 h 61913"/>
                <a:gd name="connsiteX17" fmla="*/ 30957 w 56324"/>
                <a:gd name="connsiteY17" fmla="*/ 32641 h 61913"/>
                <a:gd name="connsiteX18" fmla="*/ 33905 w 56324"/>
                <a:gd name="connsiteY18" fmla="*/ 14320 h 61913"/>
                <a:gd name="connsiteX19" fmla="*/ 26955 w 56324"/>
                <a:gd name="connsiteY19" fmla="*/ 4212 h 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6324" h="61913">
                  <a:moveTo>
                    <a:pt x="26955" y="4212"/>
                  </a:moveTo>
                  <a:cubicBezTo>
                    <a:pt x="32641" y="4212"/>
                    <a:pt x="20216" y="3159"/>
                    <a:pt x="15373" y="3159"/>
                  </a:cubicBezTo>
                  <a:cubicBezTo>
                    <a:pt x="20216" y="3159"/>
                    <a:pt x="18321" y="17689"/>
                    <a:pt x="12635" y="17689"/>
                  </a:cubicBezTo>
                  <a:cubicBezTo>
                    <a:pt x="18321" y="17689"/>
                    <a:pt x="17479" y="30746"/>
                    <a:pt x="9687" y="30746"/>
                  </a:cubicBezTo>
                  <a:cubicBezTo>
                    <a:pt x="16426" y="30746"/>
                    <a:pt x="6738" y="32220"/>
                    <a:pt x="0" y="32220"/>
                  </a:cubicBezTo>
                  <a:cubicBezTo>
                    <a:pt x="6738" y="32220"/>
                    <a:pt x="2948" y="46540"/>
                    <a:pt x="14531" y="46540"/>
                  </a:cubicBezTo>
                  <a:cubicBezTo>
                    <a:pt x="24218" y="46540"/>
                    <a:pt x="31799" y="58122"/>
                    <a:pt x="25060" y="58122"/>
                  </a:cubicBezTo>
                  <a:cubicBezTo>
                    <a:pt x="32852" y="58122"/>
                    <a:pt x="40433" y="61913"/>
                    <a:pt x="36642" y="61913"/>
                  </a:cubicBezTo>
                  <a:cubicBezTo>
                    <a:pt x="41275" y="61913"/>
                    <a:pt x="45277" y="46961"/>
                    <a:pt x="43381" y="46961"/>
                  </a:cubicBezTo>
                  <a:cubicBezTo>
                    <a:pt x="45277" y="46961"/>
                    <a:pt x="49067" y="30746"/>
                    <a:pt x="46329" y="30746"/>
                  </a:cubicBezTo>
                  <a:cubicBezTo>
                    <a:pt x="49278" y="30746"/>
                    <a:pt x="56859" y="29272"/>
                    <a:pt x="54963" y="29272"/>
                  </a:cubicBezTo>
                  <a:cubicBezTo>
                    <a:pt x="57912" y="29272"/>
                    <a:pt x="55806" y="14952"/>
                    <a:pt x="51173" y="14952"/>
                  </a:cubicBezTo>
                  <a:cubicBezTo>
                    <a:pt x="56017" y="14952"/>
                    <a:pt x="54121" y="0"/>
                    <a:pt x="49278" y="0"/>
                  </a:cubicBezTo>
                  <a:cubicBezTo>
                    <a:pt x="54963" y="0"/>
                    <a:pt x="46329" y="10529"/>
                    <a:pt x="41486" y="10529"/>
                  </a:cubicBezTo>
                  <a:cubicBezTo>
                    <a:pt x="46329" y="10529"/>
                    <a:pt x="41486" y="25902"/>
                    <a:pt x="38748" y="25902"/>
                  </a:cubicBezTo>
                  <a:cubicBezTo>
                    <a:pt x="41486" y="25902"/>
                    <a:pt x="39591" y="37485"/>
                    <a:pt x="33905" y="37485"/>
                  </a:cubicBezTo>
                  <a:cubicBezTo>
                    <a:pt x="38748" y="37485"/>
                    <a:pt x="38748" y="48014"/>
                    <a:pt x="32852" y="48014"/>
                  </a:cubicBezTo>
                  <a:cubicBezTo>
                    <a:pt x="39591" y="48014"/>
                    <a:pt x="35800" y="32641"/>
                    <a:pt x="30957" y="32641"/>
                  </a:cubicBezTo>
                  <a:cubicBezTo>
                    <a:pt x="35800" y="32641"/>
                    <a:pt x="38748" y="14320"/>
                    <a:pt x="33905" y="14320"/>
                  </a:cubicBezTo>
                  <a:cubicBezTo>
                    <a:pt x="37485" y="14320"/>
                    <a:pt x="30746" y="4212"/>
                    <a:pt x="26955" y="421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8" name="Forme libre : forme 152">
              <a:extLst>
                <a:ext uri="{FF2B5EF4-FFF2-40B4-BE49-F238E27FC236}">
                  <a16:creationId xmlns:a16="http://schemas.microsoft.com/office/drawing/2014/main" id="{A33413F2-DABE-4E7D-BFBD-39217A95F554}"/>
                </a:ext>
              </a:extLst>
            </p:cNvPr>
            <p:cNvSpPr/>
            <p:nvPr/>
          </p:nvSpPr>
          <p:spPr>
            <a:xfrm>
              <a:off x="9759830" y="3444361"/>
              <a:ext cx="78135" cy="94554"/>
            </a:xfrm>
            <a:custGeom>
              <a:avLst/>
              <a:gdLst>
                <a:gd name="connsiteX0" fmla="*/ 59386 w 78135"/>
                <a:gd name="connsiteY0" fmla="*/ 6318 h 94554"/>
                <a:gd name="connsiteX1" fmla="*/ 64229 w 78135"/>
                <a:gd name="connsiteY1" fmla="*/ 23586 h 94554"/>
                <a:gd name="connsiteX2" fmla="*/ 75812 w 78135"/>
                <a:gd name="connsiteY2" fmla="*/ 32220 h 94554"/>
                <a:gd name="connsiteX3" fmla="*/ 69073 w 78135"/>
                <a:gd name="connsiteY3" fmla="*/ 35589 h 94554"/>
                <a:gd name="connsiteX4" fmla="*/ 56649 w 78135"/>
                <a:gd name="connsiteY4" fmla="*/ 40854 h 94554"/>
                <a:gd name="connsiteX5" fmla="*/ 53700 w 78135"/>
                <a:gd name="connsiteY5" fmla="*/ 49910 h 94554"/>
                <a:gd name="connsiteX6" fmla="*/ 42118 w 78135"/>
                <a:gd name="connsiteY6" fmla="*/ 48014 h 94554"/>
                <a:gd name="connsiteX7" fmla="*/ 40223 w 78135"/>
                <a:gd name="connsiteY7" fmla="*/ 58965 h 94554"/>
                <a:gd name="connsiteX8" fmla="*/ 29693 w 78135"/>
                <a:gd name="connsiteY8" fmla="*/ 70968 h 94554"/>
                <a:gd name="connsiteX9" fmla="*/ 13267 w 78135"/>
                <a:gd name="connsiteY9" fmla="*/ 82972 h 94554"/>
                <a:gd name="connsiteX10" fmla="*/ 5686 w 78135"/>
                <a:gd name="connsiteY10" fmla="*/ 94554 h 94554"/>
                <a:gd name="connsiteX11" fmla="*/ 0 w 78135"/>
                <a:gd name="connsiteY11" fmla="*/ 78339 h 94554"/>
                <a:gd name="connsiteX12" fmla="*/ 18321 w 78135"/>
                <a:gd name="connsiteY12" fmla="*/ 64861 h 94554"/>
                <a:gd name="connsiteX13" fmla="*/ 30746 w 78135"/>
                <a:gd name="connsiteY13" fmla="*/ 55174 h 94554"/>
                <a:gd name="connsiteX14" fmla="*/ 36432 w 78135"/>
                <a:gd name="connsiteY14" fmla="*/ 36853 h 94554"/>
                <a:gd name="connsiteX15" fmla="*/ 49910 w 78135"/>
                <a:gd name="connsiteY15" fmla="*/ 31588 h 94554"/>
                <a:gd name="connsiteX16" fmla="*/ 48856 w 78135"/>
                <a:gd name="connsiteY16" fmla="*/ 13899 h 94554"/>
                <a:gd name="connsiteX17" fmla="*/ 55595 w 78135"/>
                <a:gd name="connsiteY17" fmla="*/ 0 h 94554"/>
                <a:gd name="connsiteX18" fmla="*/ 59386 w 78135"/>
                <a:gd name="connsiteY18" fmla="*/ 6318 h 94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135" h="94554">
                  <a:moveTo>
                    <a:pt x="59386" y="6318"/>
                  </a:moveTo>
                  <a:cubicBezTo>
                    <a:pt x="65282" y="6318"/>
                    <a:pt x="70968" y="23586"/>
                    <a:pt x="64229" y="23586"/>
                  </a:cubicBezTo>
                  <a:cubicBezTo>
                    <a:pt x="68231" y="23586"/>
                    <a:pt x="83393" y="32220"/>
                    <a:pt x="75812" y="32220"/>
                  </a:cubicBezTo>
                  <a:cubicBezTo>
                    <a:pt x="82551" y="32220"/>
                    <a:pt x="72864" y="35589"/>
                    <a:pt x="69073" y="35589"/>
                  </a:cubicBezTo>
                  <a:cubicBezTo>
                    <a:pt x="73916" y="35589"/>
                    <a:pt x="59386" y="40854"/>
                    <a:pt x="56649" y="40854"/>
                  </a:cubicBezTo>
                  <a:cubicBezTo>
                    <a:pt x="60439" y="40854"/>
                    <a:pt x="56649" y="49910"/>
                    <a:pt x="53700" y="49910"/>
                  </a:cubicBezTo>
                  <a:cubicBezTo>
                    <a:pt x="56649" y="49910"/>
                    <a:pt x="45908" y="48014"/>
                    <a:pt x="42118" y="48014"/>
                  </a:cubicBezTo>
                  <a:cubicBezTo>
                    <a:pt x="45908" y="48014"/>
                    <a:pt x="42960" y="58965"/>
                    <a:pt x="40223" y="58965"/>
                  </a:cubicBezTo>
                  <a:cubicBezTo>
                    <a:pt x="42960" y="58965"/>
                    <a:pt x="36221" y="70968"/>
                    <a:pt x="29693" y="70968"/>
                  </a:cubicBezTo>
                  <a:cubicBezTo>
                    <a:pt x="35379" y="70968"/>
                    <a:pt x="20006" y="82972"/>
                    <a:pt x="13267" y="82972"/>
                  </a:cubicBezTo>
                  <a:cubicBezTo>
                    <a:pt x="20006" y="82972"/>
                    <a:pt x="13267" y="94554"/>
                    <a:pt x="5686" y="94554"/>
                  </a:cubicBezTo>
                  <a:cubicBezTo>
                    <a:pt x="14320" y="94554"/>
                    <a:pt x="3790" y="78339"/>
                    <a:pt x="0" y="78339"/>
                  </a:cubicBezTo>
                  <a:cubicBezTo>
                    <a:pt x="3790" y="78339"/>
                    <a:pt x="22954" y="64861"/>
                    <a:pt x="18321" y="64861"/>
                  </a:cubicBezTo>
                  <a:cubicBezTo>
                    <a:pt x="24007" y="64861"/>
                    <a:pt x="37485" y="55174"/>
                    <a:pt x="30746" y="55174"/>
                  </a:cubicBezTo>
                  <a:cubicBezTo>
                    <a:pt x="37485" y="55174"/>
                    <a:pt x="42328" y="36853"/>
                    <a:pt x="36432" y="36853"/>
                  </a:cubicBezTo>
                  <a:cubicBezTo>
                    <a:pt x="42328" y="36853"/>
                    <a:pt x="56649" y="31588"/>
                    <a:pt x="49910" y="31588"/>
                  </a:cubicBezTo>
                  <a:cubicBezTo>
                    <a:pt x="56649" y="31588"/>
                    <a:pt x="53700" y="13899"/>
                    <a:pt x="48856" y="13899"/>
                  </a:cubicBezTo>
                  <a:cubicBezTo>
                    <a:pt x="53700" y="13899"/>
                    <a:pt x="59386" y="0"/>
                    <a:pt x="55595" y="0"/>
                  </a:cubicBezTo>
                  <a:cubicBezTo>
                    <a:pt x="59386" y="210"/>
                    <a:pt x="64019" y="6318"/>
                    <a:pt x="59386" y="6318"/>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69" name="Forme libre : forme 153">
              <a:extLst>
                <a:ext uri="{FF2B5EF4-FFF2-40B4-BE49-F238E27FC236}">
                  <a16:creationId xmlns:a16="http://schemas.microsoft.com/office/drawing/2014/main" id="{12AE60F4-892D-4A05-BDC9-216B75B6AA40}"/>
                </a:ext>
              </a:extLst>
            </p:cNvPr>
            <p:cNvSpPr/>
            <p:nvPr/>
          </p:nvSpPr>
          <p:spPr>
            <a:xfrm>
              <a:off x="10492469" y="4126881"/>
              <a:ext cx="26575" cy="45276"/>
            </a:xfrm>
            <a:custGeom>
              <a:avLst/>
              <a:gdLst>
                <a:gd name="connsiteX0" fmla="*/ 13478 w 26575"/>
                <a:gd name="connsiteY0" fmla="*/ 1053 h 45276"/>
                <a:gd name="connsiteX1" fmla="*/ 0 w 26575"/>
                <a:gd name="connsiteY1" fmla="*/ 0 h 45276"/>
                <a:gd name="connsiteX2" fmla="*/ 0 w 26575"/>
                <a:gd name="connsiteY2" fmla="*/ 23165 h 45276"/>
                <a:gd name="connsiteX3" fmla="*/ 7582 w 26575"/>
                <a:gd name="connsiteY3" fmla="*/ 45277 h 45276"/>
                <a:gd name="connsiteX4" fmla="*/ 24007 w 26575"/>
                <a:gd name="connsiteY4" fmla="*/ 38117 h 45276"/>
                <a:gd name="connsiteX5" fmla="*/ 13478 w 26575"/>
                <a:gd name="connsiteY5" fmla="*/ 1053 h 45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6575" h="45276">
                  <a:moveTo>
                    <a:pt x="13478" y="1053"/>
                  </a:moveTo>
                  <a:cubicBezTo>
                    <a:pt x="22112" y="1053"/>
                    <a:pt x="8634" y="0"/>
                    <a:pt x="0" y="0"/>
                  </a:cubicBezTo>
                  <a:cubicBezTo>
                    <a:pt x="7582" y="0"/>
                    <a:pt x="8634" y="23165"/>
                    <a:pt x="0" y="23165"/>
                  </a:cubicBezTo>
                  <a:cubicBezTo>
                    <a:pt x="9688" y="23165"/>
                    <a:pt x="0" y="45277"/>
                    <a:pt x="7582" y="45277"/>
                  </a:cubicBezTo>
                  <a:cubicBezTo>
                    <a:pt x="15373" y="45277"/>
                    <a:pt x="30746" y="38117"/>
                    <a:pt x="24007" y="38117"/>
                  </a:cubicBezTo>
                  <a:cubicBezTo>
                    <a:pt x="30746" y="37906"/>
                    <a:pt x="23165" y="1053"/>
                    <a:pt x="13478" y="105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0" name="Forme libre : forme 154">
              <a:extLst>
                <a:ext uri="{FF2B5EF4-FFF2-40B4-BE49-F238E27FC236}">
                  <a16:creationId xmlns:a16="http://schemas.microsoft.com/office/drawing/2014/main" id="{5B234113-1EE7-46CD-AA5C-9BA15DC2FC5B}"/>
                </a:ext>
              </a:extLst>
            </p:cNvPr>
            <p:cNvSpPr/>
            <p:nvPr/>
          </p:nvSpPr>
          <p:spPr>
            <a:xfrm>
              <a:off x="10390754" y="4306791"/>
              <a:ext cx="56163" cy="28151"/>
            </a:xfrm>
            <a:custGeom>
              <a:avLst/>
              <a:gdLst>
                <a:gd name="connsiteX0" fmla="*/ 38327 w 56163"/>
                <a:gd name="connsiteY0" fmla="*/ 7935 h 28151"/>
                <a:gd name="connsiteX1" fmla="*/ 13477 w 56163"/>
                <a:gd name="connsiteY1" fmla="*/ 2249 h 28151"/>
                <a:gd name="connsiteX2" fmla="*/ 0 w 56163"/>
                <a:gd name="connsiteY2" fmla="*/ 9409 h 28151"/>
                <a:gd name="connsiteX3" fmla="*/ 23797 w 56163"/>
                <a:gd name="connsiteY3" fmla="*/ 23308 h 28151"/>
                <a:gd name="connsiteX4" fmla="*/ 42118 w 56163"/>
                <a:gd name="connsiteY4" fmla="*/ 28152 h 28151"/>
                <a:gd name="connsiteX5" fmla="*/ 54543 w 56163"/>
                <a:gd name="connsiteY5" fmla="*/ 19518 h 28151"/>
                <a:gd name="connsiteX6" fmla="*/ 38327 w 56163"/>
                <a:gd name="connsiteY6" fmla="*/ 7935 h 28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163" h="28151">
                  <a:moveTo>
                    <a:pt x="38327" y="7935"/>
                  </a:moveTo>
                  <a:cubicBezTo>
                    <a:pt x="27798" y="7935"/>
                    <a:pt x="22954" y="2249"/>
                    <a:pt x="13477" y="2249"/>
                  </a:cubicBezTo>
                  <a:cubicBezTo>
                    <a:pt x="5686" y="-5542"/>
                    <a:pt x="5686" y="9409"/>
                    <a:pt x="0" y="9409"/>
                  </a:cubicBezTo>
                  <a:cubicBezTo>
                    <a:pt x="5686" y="9409"/>
                    <a:pt x="15373" y="23308"/>
                    <a:pt x="23797" y="23308"/>
                  </a:cubicBezTo>
                  <a:cubicBezTo>
                    <a:pt x="31588" y="23308"/>
                    <a:pt x="48857" y="28152"/>
                    <a:pt x="42118" y="28152"/>
                  </a:cubicBezTo>
                  <a:cubicBezTo>
                    <a:pt x="48857" y="28152"/>
                    <a:pt x="60439" y="19518"/>
                    <a:pt x="54543" y="19518"/>
                  </a:cubicBezTo>
                  <a:cubicBezTo>
                    <a:pt x="60439" y="19518"/>
                    <a:pt x="48014" y="16991"/>
                    <a:pt x="38327" y="793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1" name="Forme libre : forme 155">
              <a:extLst>
                <a:ext uri="{FF2B5EF4-FFF2-40B4-BE49-F238E27FC236}">
                  <a16:creationId xmlns:a16="http://schemas.microsoft.com/office/drawing/2014/main" id="{63E7A21E-18AD-4713-A366-E25203B09345}"/>
                </a:ext>
              </a:extLst>
            </p:cNvPr>
            <p:cNvSpPr/>
            <p:nvPr/>
          </p:nvSpPr>
          <p:spPr>
            <a:xfrm>
              <a:off x="10389463" y="4162470"/>
              <a:ext cx="36123" cy="26113"/>
            </a:xfrm>
            <a:custGeom>
              <a:avLst/>
              <a:gdLst>
                <a:gd name="connsiteX0" fmla="*/ 26140 w 36123"/>
                <a:gd name="connsiteY0" fmla="*/ 15373 h 26113"/>
                <a:gd name="connsiteX1" fmla="*/ 29089 w 36123"/>
                <a:gd name="connsiteY1" fmla="*/ 6739 h 26113"/>
                <a:gd name="connsiteX2" fmla="*/ 33932 w 36123"/>
                <a:gd name="connsiteY2" fmla="*/ 1895 h 26113"/>
                <a:gd name="connsiteX3" fmla="*/ 16664 w 36123"/>
                <a:gd name="connsiteY3" fmla="*/ 0 h 26113"/>
                <a:gd name="connsiteX4" fmla="*/ 11820 w 36123"/>
                <a:gd name="connsiteY4" fmla="*/ 11582 h 26113"/>
                <a:gd name="connsiteX5" fmla="*/ 3186 w 36123"/>
                <a:gd name="connsiteY5" fmla="*/ 25060 h 26113"/>
                <a:gd name="connsiteX6" fmla="*/ 18559 w 36123"/>
                <a:gd name="connsiteY6" fmla="*/ 26113 h 26113"/>
                <a:gd name="connsiteX7" fmla="*/ 26140 w 36123"/>
                <a:gd name="connsiteY7" fmla="*/ 15373 h 26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123" h="26113">
                  <a:moveTo>
                    <a:pt x="26140" y="15373"/>
                  </a:moveTo>
                  <a:cubicBezTo>
                    <a:pt x="29931" y="15373"/>
                    <a:pt x="32879" y="6739"/>
                    <a:pt x="29089" y="6739"/>
                  </a:cubicBezTo>
                  <a:cubicBezTo>
                    <a:pt x="32879" y="6739"/>
                    <a:pt x="39618" y="1895"/>
                    <a:pt x="33932" y="1895"/>
                  </a:cubicBezTo>
                  <a:cubicBezTo>
                    <a:pt x="39618" y="1895"/>
                    <a:pt x="20455" y="0"/>
                    <a:pt x="16664" y="0"/>
                  </a:cubicBezTo>
                  <a:cubicBezTo>
                    <a:pt x="20455" y="0"/>
                    <a:pt x="16664" y="11582"/>
                    <a:pt x="11820" y="11582"/>
                  </a:cubicBezTo>
                  <a:cubicBezTo>
                    <a:pt x="15611" y="11582"/>
                    <a:pt x="-8396" y="25060"/>
                    <a:pt x="3186" y="25060"/>
                  </a:cubicBezTo>
                  <a:cubicBezTo>
                    <a:pt x="16664" y="25060"/>
                    <a:pt x="24245" y="26113"/>
                    <a:pt x="18559" y="26113"/>
                  </a:cubicBezTo>
                  <a:cubicBezTo>
                    <a:pt x="26140" y="25902"/>
                    <a:pt x="29931" y="15373"/>
                    <a:pt x="26140" y="1537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2" name="Forme libre : forme 156">
              <a:extLst>
                <a:ext uri="{FF2B5EF4-FFF2-40B4-BE49-F238E27FC236}">
                  <a16:creationId xmlns:a16="http://schemas.microsoft.com/office/drawing/2014/main" id="{7E4E6EC3-7D13-4CB1-B473-59907FF8C52A}"/>
                </a:ext>
              </a:extLst>
            </p:cNvPr>
            <p:cNvSpPr/>
            <p:nvPr/>
          </p:nvSpPr>
          <p:spPr>
            <a:xfrm>
              <a:off x="9857543" y="4107296"/>
              <a:ext cx="28024" cy="25060"/>
            </a:xfrm>
            <a:custGeom>
              <a:avLst/>
              <a:gdLst>
                <a:gd name="connsiteX0" fmla="*/ 12635 w 28024"/>
                <a:gd name="connsiteY0" fmla="*/ 0 h 25060"/>
                <a:gd name="connsiteX1" fmla="*/ 1053 w 28024"/>
                <a:gd name="connsiteY1" fmla="*/ 5265 h 25060"/>
                <a:gd name="connsiteX2" fmla="*/ 0 w 28024"/>
                <a:gd name="connsiteY2" fmla="*/ 16847 h 25060"/>
                <a:gd name="connsiteX3" fmla="*/ 5896 w 28024"/>
                <a:gd name="connsiteY3" fmla="*/ 25060 h 25060"/>
                <a:gd name="connsiteX4" fmla="*/ 17479 w 28024"/>
                <a:gd name="connsiteY4" fmla="*/ 21691 h 25060"/>
                <a:gd name="connsiteX5" fmla="*/ 23376 w 28024"/>
                <a:gd name="connsiteY5" fmla="*/ 11161 h 25060"/>
                <a:gd name="connsiteX6" fmla="*/ 26113 w 28024"/>
                <a:gd name="connsiteY6" fmla="*/ 2948 h 25060"/>
                <a:gd name="connsiteX7" fmla="*/ 12635 w 28024"/>
                <a:gd name="connsiteY7" fmla="*/ 0 h 25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24" h="25060">
                  <a:moveTo>
                    <a:pt x="12635" y="0"/>
                  </a:moveTo>
                  <a:cubicBezTo>
                    <a:pt x="16426" y="0"/>
                    <a:pt x="6739" y="5265"/>
                    <a:pt x="1053" y="5265"/>
                  </a:cubicBezTo>
                  <a:cubicBezTo>
                    <a:pt x="6739" y="5265"/>
                    <a:pt x="4001" y="16847"/>
                    <a:pt x="0" y="16847"/>
                  </a:cubicBezTo>
                  <a:cubicBezTo>
                    <a:pt x="4001" y="16847"/>
                    <a:pt x="12425" y="25060"/>
                    <a:pt x="5896" y="25060"/>
                  </a:cubicBezTo>
                  <a:cubicBezTo>
                    <a:pt x="12635" y="25060"/>
                    <a:pt x="20216" y="21691"/>
                    <a:pt x="17479" y="21691"/>
                  </a:cubicBezTo>
                  <a:cubicBezTo>
                    <a:pt x="20427" y="21691"/>
                    <a:pt x="27166" y="11161"/>
                    <a:pt x="23376" y="11161"/>
                  </a:cubicBezTo>
                  <a:cubicBezTo>
                    <a:pt x="27166" y="11161"/>
                    <a:pt x="30114" y="2948"/>
                    <a:pt x="26113" y="2948"/>
                  </a:cubicBezTo>
                  <a:cubicBezTo>
                    <a:pt x="30746" y="2738"/>
                    <a:pt x="16426" y="0"/>
                    <a:pt x="1263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3" name="Forme libre : forme 157">
              <a:extLst>
                <a:ext uri="{FF2B5EF4-FFF2-40B4-BE49-F238E27FC236}">
                  <a16:creationId xmlns:a16="http://schemas.microsoft.com/office/drawing/2014/main" id="{6BAC4CA7-A732-4E6F-BF2C-E28806B7A283}"/>
                </a:ext>
              </a:extLst>
            </p:cNvPr>
            <p:cNvSpPr/>
            <p:nvPr/>
          </p:nvSpPr>
          <p:spPr>
            <a:xfrm>
              <a:off x="9916297" y="4109612"/>
              <a:ext cx="62560" cy="37274"/>
            </a:xfrm>
            <a:custGeom>
              <a:avLst/>
              <a:gdLst>
                <a:gd name="connsiteX0" fmla="*/ 0 w 62560"/>
                <a:gd name="connsiteY0" fmla="*/ 0 h 37274"/>
                <a:gd name="connsiteX1" fmla="*/ 12425 w 62560"/>
                <a:gd name="connsiteY1" fmla="*/ 12425 h 37274"/>
                <a:gd name="connsiteX2" fmla="*/ 25903 w 62560"/>
                <a:gd name="connsiteY2" fmla="*/ 23586 h 37274"/>
                <a:gd name="connsiteX3" fmla="*/ 35590 w 62560"/>
                <a:gd name="connsiteY3" fmla="*/ 35168 h 37274"/>
                <a:gd name="connsiteX4" fmla="*/ 47172 w 62560"/>
                <a:gd name="connsiteY4" fmla="*/ 32852 h 37274"/>
                <a:gd name="connsiteX5" fmla="*/ 59596 w 62560"/>
                <a:gd name="connsiteY5" fmla="*/ 37274 h 37274"/>
                <a:gd name="connsiteX6" fmla="*/ 59596 w 62560"/>
                <a:gd name="connsiteY6" fmla="*/ 25271 h 37274"/>
                <a:gd name="connsiteX7" fmla="*/ 52016 w 62560"/>
                <a:gd name="connsiteY7" fmla="*/ 16637 h 37274"/>
                <a:gd name="connsiteX8" fmla="*/ 52016 w 62560"/>
                <a:gd name="connsiteY8" fmla="*/ 8002 h 37274"/>
                <a:gd name="connsiteX9" fmla="*/ 39591 w 62560"/>
                <a:gd name="connsiteY9" fmla="*/ 14320 h 37274"/>
                <a:gd name="connsiteX10" fmla="*/ 27166 w 62560"/>
                <a:gd name="connsiteY10" fmla="*/ 8634 h 37274"/>
                <a:gd name="connsiteX11" fmla="*/ 11793 w 62560"/>
                <a:gd name="connsiteY11" fmla="*/ 3791 h 37274"/>
                <a:gd name="connsiteX12" fmla="*/ 0 w 62560"/>
                <a:gd name="connsiteY12" fmla="*/ 0 h 37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2560" h="37274">
                  <a:moveTo>
                    <a:pt x="0" y="0"/>
                  </a:moveTo>
                  <a:cubicBezTo>
                    <a:pt x="3790" y="0"/>
                    <a:pt x="22954" y="12425"/>
                    <a:pt x="12425" y="12425"/>
                  </a:cubicBezTo>
                  <a:cubicBezTo>
                    <a:pt x="22112" y="12425"/>
                    <a:pt x="32641" y="23586"/>
                    <a:pt x="25903" y="23586"/>
                  </a:cubicBezTo>
                  <a:cubicBezTo>
                    <a:pt x="33484" y="23586"/>
                    <a:pt x="43171" y="35168"/>
                    <a:pt x="35590" y="35168"/>
                  </a:cubicBezTo>
                  <a:cubicBezTo>
                    <a:pt x="41275" y="35168"/>
                    <a:pt x="49910" y="32852"/>
                    <a:pt x="47172" y="32852"/>
                  </a:cubicBezTo>
                  <a:cubicBezTo>
                    <a:pt x="52016" y="32852"/>
                    <a:pt x="63598" y="37274"/>
                    <a:pt x="59596" y="37274"/>
                  </a:cubicBezTo>
                  <a:cubicBezTo>
                    <a:pt x="62545" y="37274"/>
                    <a:pt x="64440" y="25271"/>
                    <a:pt x="59596" y="25271"/>
                  </a:cubicBezTo>
                  <a:cubicBezTo>
                    <a:pt x="66335" y="25271"/>
                    <a:pt x="57701" y="16637"/>
                    <a:pt x="52016" y="16637"/>
                  </a:cubicBezTo>
                  <a:cubicBezTo>
                    <a:pt x="57701" y="16637"/>
                    <a:pt x="55806" y="8002"/>
                    <a:pt x="52016" y="8002"/>
                  </a:cubicBezTo>
                  <a:cubicBezTo>
                    <a:pt x="53911" y="8002"/>
                    <a:pt x="44224" y="14320"/>
                    <a:pt x="39591" y="14320"/>
                  </a:cubicBezTo>
                  <a:cubicBezTo>
                    <a:pt x="43381" y="14320"/>
                    <a:pt x="32852" y="8634"/>
                    <a:pt x="27166" y="8634"/>
                  </a:cubicBezTo>
                  <a:cubicBezTo>
                    <a:pt x="32852" y="8634"/>
                    <a:pt x="17479" y="3791"/>
                    <a:pt x="11793" y="3791"/>
                  </a:cubicBezTo>
                  <a:cubicBezTo>
                    <a:pt x="15162" y="3370"/>
                    <a:pt x="2738" y="0"/>
                    <a:pt x="0"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4" name="Forme libre : forme 158">
              <a:extLst>
                <a:ext uri="{FF2B5EF4-FFF2-40B4-BE49-F238E27FC236}">
                  <a16:creationId xmlns:a16="http://schemas.microsoft.com/office/drawing/2014/main" id="{40B67911-144E-4E92-BC6E-9A47CD016D3D}"/>
                </a:ext>
              </a:extLst>
            </p:cNvPr>
            <p:cNvSpPr/>
            <p:nvPr/>
          </p:nvSpPr>
          <p:spPr>
            <a:xfrm>
              <a:off x="9887447" y="4108547"/>
              <a:ext cx="54916" cy="33495"/>
            </a:xfrm>
            <a:custGeom>
              <a:avLst/>
              <a:gdLst>
                <a:gd name="connsiteX0" fmla="*/ 20006 w 54916"/>
                <a:gd name="connsiteY0" fmla="*/ 10331 h 33495"/>
                <a:gd name="connsiteX1" fmla="*/ 5686 w 54916"/>
                <a:gd name="connsiteY1" fmla="*/ 9489 h 33495"/>
                <a:gd name="connsiteX2" fmla="*/ 0 w 54916"/>
                <a:gd name="connsiteY2" fmla="*/ 21913 h 33495"/>
                <a:gd name="connsiteX3" fmla="*/ 15373 w 54916"/>
                <a:gd name="connsiteY3" fmla="*/ 32022 h 33495"/>
                <a:gd name="connsiteX4" fmla="*/ 34536 w 54916"/>
                <a:gd name="connsiteY4" fmla="*/ 33496 h 33495"/>
                <a:gd name="connsiteX5" fmla="*/ 48014 w 54916"/>
                <a:gd name="connsiteY5" fmla="*/ 33075 h 33495"/>
                <a:gd name="connsiteX6" fmla="*/ 52857 w 54916"/>
                <a:gd name="connsiteY6" fmla="*/ 27389 h 33495"/>
                <a:gd name="connsiteX7" fmla="*/ 34536 w 54916"/>
                <a:gd name="connsiteY7" fmla="*/ 21071 h 33495"/>
                <a:gd name="connsiteX8" fmla="*/ 26745 w 54916"/>
                <a:gd name="connsiteY8" fmla="*/ 8646 h 33495"/>
                <a:gd name="connsiteX9" fmla="*/ 21901 w 54916"/>
                <a:gd name="connsiteY9" fmla="*/ 12 h 33495"/>
                <a:gd name="connsiteX10" fmla="*/ 20006 w 54916"/>
                <a:gd name="connsiteY10" fmla="*/ 10331 h 33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916" h="33495">
                  <a:moveTo>
                    <a:pt x="20006" y="10331"/>
                  </a:moveTo>
                  <a:cubicBezTo>
                    <a:pt x="22954" y="10331"/>
                    <a:pt x="11371" y="9489"/>
                    <a:pt x="5686" y="9489"/>
                  </a:cubicBezTo>
                  <a:cubicBezTo>
                    <a:pt x="10529" y="9489"/>
                    <a:pt x="7581" y="21913"/>
                    <a:pt x="0" y="21913"/>
                  </a:cubicBezTo>
                  <a:cubicBezTo>
                    <a:pt x="7792" y="21913"/>
                    <a:pt x="6738" y="32022"/>
                    <a:pt x="15373" y="32022"/>
                  </a:cubicBezTo>
                  <a:cubicBezTo>
                    <a:pt x="22112" y="32022"/>
                    <a:pt x="25902" y="33496"/>
                    <a:pt x="34536" y="33496"/>
                  </a:cubicBezTo>
                  <a:cubicBezTo>
                    <a:pt x="42328" y="33496"/>
                    <a:pt x="49910" y="33075"/>
                    <a:pt x="48014" y="33075"/>
                  </a:cubicBezTo>
                  <a:cubicBezTo>
                    <a:pt x="50962" y="33075"/>
                    <a:pt x="58544" y="27389"/>
                    <a:pt x="52857" y="27389"/>
                  </a:cubicBezTo>
                  <a:cubicBezTo>
                    <a:pt x="59596" y="27389"/>
                    <a:pt x="40433" y="21071"/>
                    <a:pt x="34536" y="21071"/>
                  </a:cubicBezTo>
                  <a:cubicBezTo>
                    <a:pt x="40433" y="21071"/>
                    <a:pt x="27797" y="8646"/>
                    <a:pt x="26745" y="8646"/>
                  </a:cubicBezTo>
                  <a:cubicBezTo>
                    <a:pt x="27797" y="8646"/>
                    <a:pt x="25902" y="12"/>
                    <a:pt x="21901" y="12"/>
                  </a:cubicBezTo>
                  <a:cubicBezTo>
                    <a:pt x="24849" y="-409"/>
                    <a:pt x="24007" y="10331"/>
                    <a:pt x="20006" y="1033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5" name="Forme libre : forme 159">
              <a:extLst>
                <a:ext uri="{FF2B5EF4-FFF2-40B4-BE49-F238E27FC236}">
                  <a16:creationId xmlns:a16="http://schemas.microsoft.com/office/drawing/2014/main" id="{1C7BB234-C354-4406-B7C6-85B0DC2B2855}"/>
                </a:ext>
              </a:extLst>
            </p:cNvPr>
            <p:cNvSpPr/>
            <p:nvPr/>
          </p:nvSpPr>
          <p:spPr>
            <a:xfrm>
              <a:off x="9977789" y="4166471"/>
              <a:ext cx="66400" cy="38958"/>
            </a:xfrm>
            <a:custGeom>
              <a:avLst/>
              <a:gdLst>
                <a:gd name="connsiteX0" fmla="*/ 56649 w 66400"/>
                <a:gd name="connsiteY0" fmla="*/ 22954 h 38958"/>
                <a:gd name="connsiteX1" fmla="*/ 37485 w 66400"/>
                <a:gd name="connsiteY1" fmla="*/ 7160 h 38958"/>
                <a:gd name="connsiteX2" fmla="*/ 13478 w 66400"/>
                <a:gd name="connsiteY2" fmla="*/ 0 h 38958"/>
                <a:gd name="connsiteX3" fmla="*/ 0 w 66400"/>
                <a:gd name="connsiteY3" fmla="*/ 3791 h 38958"/>
                <a:gd name="connsiteX4" fmla="*/ 18111 w 66400"/>
                <a:gd name="connsiteY4" fmla="*/ 15373 h 38958"/>
                <a:gd name="connsiteX5" fmla="*/ 37275 w 66400"/>
                <a:gd name="connsiteY5" fmla="*/ 25902 h 38958"/>
                <a:gd name="connsiteX6" fmla="*/ 50752 w 66400"/>
                <a:gd name="connsiteY6" fmla="*/ 38959 h 38958"/>
                <a:gd name="connsiteX7" fmla="*/ 64230 w 66400"/>
                <a:gd name="connsiteY7" fmla="*/ 37485 h 38958"/>
                <a:gd name="connsiteX8" fmla="*/ 56649 w 66400"/>
                <a:gd name="connsiteY8" fmla="*/ 22954 h 3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6400" h="38958">
                  <a:moveTo>
                    <a:pt x="56649" y="22954"/>
                  </a:moveTo>
                  <a:cubicBezTo>
                    <a:pt x="64441" y="22954"/>
                    <a:pt x="43171" y="7160"/>
                    <a:pt x="37485" y="7160"/>
                  </a:cubicBezTo>
                  <a:cubicBezTo>
                    <a:pt x="42329" y="7160"/>
                    <a:pt x="21270" y="0"/>
                    <a:pt x="13478" y="0"/>
                  </a:cubicBezTo>
                  <a:cubicBezTo>
                    <a:pt x="21270" y="0"/>
                    <a:pt x="6739" y="3791"/>
                    <a:pt x="0" y="3791"/>
                  </a:cubicBezTo>
                  <a:cubicBezTo>
                    <a:pt x="6739" y="3791"/>
                    <a:pt x="25903" y="15373"/>
                    <a:pt x="18111" y="15373"/>
                  </a:cubicBezTo>
                  <a:cubicBezTo>
                    <a:pt x="24850" y="15373"/>
                    <a:pt x="42960" y="25902"/>
                    <a:pt x="37275" y="25902"/>
                  </a:cubicBezTo>
                  <a:cubicBezTo>
                    <a:pt x="45066" y="25902"/>
                    <a:pt x="59386" y="38959"/>
                    <a:pt x="50752" y="38959"/>
                  </a:cubicBezTo>
                  <a:cubicBezTo>
                    <a:pt x="61282" y="38959"/>
                    <a:pt x="69916" y="37485"/>
                    <a:pt x="64230" y="37485"/>
                  </a:cubicBezTo>
                  <a:cubicBezTo>
                    <a:pt x="69916" y="37274"/>
                    <a:pt x="63388" y="22954"/>
                    <a:pt x="56649" y="2295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6" name="Forme libre : forme 160">
              <a:extLst>
                <a:ext uri="{FF2B5EF4-FFF2-40B4-BE49-F238E27FC236}">
                  <a16:creationId xmlns:a16="http://schemas.microsoft.com/office/drawing/2014/main" id="{CF7E1815-7FE9-48E3-A866-903723A5E821}"/>
                </a:ext>
              </a:extLst>
            </p:cNvPr>
            <p:cNvSpPr/>
            <p:nvPr/>
          </p:nvSpPr>
          <p:spPr>
            <a:xfrm>
              <a:off x="9991750" y="4132356"/>
              <a:ext cx="152991" cy="35800"/>
            </a:xfrm>
            <a:custGeom>
              <a:avLst/>
              <a:gdLst>
                <a:gd name="connsiteX0" fmla="*/ 58903 w 152991"/>
                <a:gd name="connsiteY0" fmla="*/ 12425 h 35800"/>
                <a:gd name="connsiteX1" fmla="*/ 34895 w 152991"/>
                <a:gd name="connsiteY1" fmla="*/ 4212 h 35800"/>
                <a:gd name="connsiteX2" fmla="*/ 11941 w 152991"/>
                <a:gd name="connsiteY2" fmla="*/ 0 h 35800"/>
                <a:gd name="connsiteX3" fmla="*/ 4150 w 152991"/>
                <a:gd name="connsiteY3" fmla="*/ 11161 h 35800"/>
                <a:gd name="connsiteX4" fmla="*/ 31105 w 152991"/>
                <a:gd name="connsiteY4" fmla="*/ 21691 h 35800"/>
                <a:gd name="connsiteX5" fmla="*/ 55112 w 152991"/>
                <a:gd name="connsiteY5" fmla="*/ 30325 h 35800"/>
                <a:gd name="connsiteX6" fmla="*/ 73434 w 152991"/>
                <a:gd name="connsiteY6" fmla="*/ 29483 h 35800"/>
                <a:gd name="connsiteX7" fmla="*/ 82068 w 152991"/>
                <a:gd name="connsiteY7" fmla="*/ 35800 h 35800"/>
                <a:gd name="connsiteX8" fmla="*/ 92597 w 152991"/>
                <a:gd name="connsiteY8" fmla="*/ 30114 h 35800"/>
                <a:gd name="connsiteX9" fmla="*/ 105022 w 152991"/>
                <a:gd name="connsiteY9" fmla="*/ 35379 h 35800"/>
                <a:gd name="connsiteX10" fmla="*/ 116604 w 152991"/>
                <a:gd name="connsiteY10" fmla="*/ 26324 h 35800"/>
                <a:gd name="connsiteX11" fmla="*/ 125238 w 152991"/>
                <a:gd name="connsiteY11" fmla="*/ 33484 h 35800"/>
                <a:gd name="connsiteX12" fmla="*/ 130082 w 152991"/>
                <a:gd name="connsiteY12" fmla="*/ 25692 h 35800"/>
                <a:gd name="connsiteX13" fmla="*/ 139769 w 152991"/>
                <a:gd name="connsiteY13" fmla="*/ 33905 h 35800"/>
                <a:gd name="connsiteX14" fmla="*/ 151351 w 152991"/>
                <a:gd name="connsiteY14" fmla="*/ 29483 h 35800"/>
                <a:gd name="connsiteX15" fmla="*/ 148403 w 152991"/>
                <a:gd name="connsiteY15" fmla="*/ 15584 h 35800"/>
                <a:gd name="connsiteX16" fmla="*/ 134925 w 152991"/>
                <a:gd name="connsiteY16" fmla="*/ 23797 h 35800"/>
                <a:gd name="connsiteX17" fmla="*/ 123553 w 152991"/>
                <a:gd name="connsiteY17" fmla="*/ 15162 h 35800"/>
                <a:gd name="connsiteX18" fmla="*/ 109023 w 152991"/>
                <a:gd name="connsiteY18" fmla="*/ 10319 h 35800"/>
                <a:gd name="connsiteX19" fmla="*/ 102284 w 152991"/>
                <a:gd name="connsiteY19" fmla="*/ 22744 h 35800"/>
                <a:gd name="connsiteX20" fmla="*/ 87964 w 152991"/>
                <a:gd name="connsiteY20" fmla="*/ 20848 h 35800"/>
                <a:gd name="connsiteX21" fmla="*/ 75329 w 152991"/>
                <a:gd name="connsiteY21" fmla="*/ 17900 h 35800"/>
                <a:gd name="connsiteX22" fmla="*/ 58903 w 152991"/>
                <a:gd name="connsiteY22" fmla="*/ 12425 h 35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52991" h="35800">
                  <a:moveTo>
                    <a:pt x="58903" y="12425"/>
                  </a:moveTo>
                  <a:cubicBezTo>
                    <a:pt x="68590" y="12425"/>
                    <a:pt x="39739" y="4212"/>
                    <a:pt x="34895" y="4212"/>
                  </a:cubicBezTo>
                  <a:cubicBezTo>
                    <a:pt x="41634" y="4212"/>
                    <a:pt x="17627" y="0"/>
                    <a:pt x="11941" y="0"/>
                  </a:cubicBezTo>
                  <a:cubicBezTo>
                    <a:pt x="17627" y="0"/>
                    <a:pt x="-10170" y="11161"/>
                    <a:pt x="4150" y="11161"/>
                  </a:cubicBezTo>
                  <a:cubicBezTo>
                    <a:pt x="10046" y="23586"/>
                    <a:pt x="38686" y="21691"/>
                    <a:pt x="31105" y="21691"/>
                  </a:cubicBezTo>
                  <a:cubicBezTo>
                    <a:pt x="39739" y="21691"/>
                    <a:pt x="44372" y="30325"/>
                    <a:pt x="55112" y="30325"/>
                  </a:cubicBezTo>
                  <a:cubicBezTo>
                    <a:pt x="64799" y="30325"/>
                    <a:pt x="79962" y="29483"/>
                    <a:pt x="73434" y="29483"/>
                  </a:cubicBezTo>
                  <a:cubicBezTo>
                    <a:pt x="80172" y="29483"/>
                    <a:pt x="85858" y="35800"/>
                    <a:pt x="82068" y="35800"/>
                  </a:cubicBezTo>
                  <a:cubicBezTo>
                    <a:pt x="86068" y="35800"/>
                    <a:pt x="99336" y="30114"/>
                    <a:pt x="92597" y="30114"/>
                  </a:cubicBezTo>
                  <a:cubicBezTo>
                    <a:pt x="99336" y="30114"/>
                    <a:pt x="110708" y="35379"/>
                    <a:pt x="105022" y="35379"/>
                  </a:cubicBezTo>
                  <a:cubicBezTo>
                    <a:pt x="111760" y="35379"/>
                    <a:pt x="121448" y="26324"/>
                    <a:pt x="116604" y="26324"/>
                  </a:cubicBezTo>
                  <a:cubicBezTo>
                    <a:pt x="120395" y="26324"/>
                    <a:pt x="130082" y="33484"/>
                    <a:pt x="125238" y="33484"/>
                  </a:cubicBezTo>
                  <a:cubicBezTo>
                    <a:pt x="130082" y="33484"/>
                    <a:pt x="134925" y="25692"/>
                    <a:pt x="130082" y="25692"/>
                  </a:cubicBezTo>
                  <a:cubicBezTo>
                    <a:pt x="135979" y="25692"/>
                    <a:pt x="131977" y="33905"/>
                    <a:pt x="139769" y="33905"/>
                  </a:cubicBezTo>
                  <a:cubicBezTo>
                    <a:pt x="148403" y="33905"/>
                    <a:pt x="154089" y="29483"/>
                    <a:pt x="151351" y="29483"/>
                  </a:cubicBezTo>
                  <a:cubicBezTo>
                    <a:pt x="154300" y="29483"/>
                    <a:pt x="153246" y="15584"/>
                    <a:pt x="148403" y="15584"/>
                  </a:cubicBezTo>
                  <a:cubicBezTo>
                    <a:pt x="153246" y="15584"/>
                    <a:pt x="138716" y="23797"/>
                    <a:pt x="134925" y="23797"/>
                  </a:cubicBezTo>
                  <a:cubicBezTo>
                    <a:pt x="138716" y="23797"/>
                    <a:pt x="126291" y="15162"/>
                    <a:pt x="123553" y="15162"/>
                  </a:cubicBezTo>
                  <a:cubicBezTo>
                    <a:pt x="126502" y="15162"/>
                    <a:pt x="113866" y="10319"/>
                    <a:pt x="109023" y="10319"/>
                  </a:cubicBezTo>
                  <a:cubicBezTo>
                    <a:pt x="113866" y="10319"/>
                    <a:pt x="105232" y="22744"/>
                    <a:pt x="102284" y="22744"/>
                  </a:cubicBezTo>
                  <a:cubicBezTo>
                    <a:pt x="105022" y="22744"/>
                    <a:pt x="92597" y="20848"/>
                    <a:pt x="87964" y="20848"/>
                  </a:cubicBezTo>
                  <a:cubicBezTo>
                    <a:pt x="94703" y="20848"/>
                    <a:pt x="79330" y="17900"/>
                    <a:pt x="75329" y="17900"/>
                  </a:cubicBezTo>
                  <a:cubicBezTo>
                    <a:pt x="79119" y="17689"/>
                    <a:pt x="68590" y="12425"/>
                    <a:pt x="58903" y="1242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7" name="Forme libre : forme 161">
              <a:extLst>
                <a:ext uri="{FF2B5EF4-FFF2-40B4-BE49-F238E27FC236}">
                  <a16:creationId xmlns:a16="http://schemas.microsoft.com/office/drawing/2014/main" id="{3E1347D6-7742-4E17-8569-B72C589D055A}"/>
                </a:ext>
              </a:extLst>
            </p:cNvPr>
            <p:cNvSpPr/>
            <p:nvPr/>
          </p:nvSpPr>
          <p:spPr>
            <a:xfrm>
              <a:off x="10150444" y="4153836"/>
              <a:ext cx="43177" cy="12848"/>
            </a:xfrm>
            <a:custGeom>
              <a:avLst/>
              <a:gdLst>
                <a:gd name="connsiteX0" fmla="*/ 29932 w 43177"/>
                <a:gd name="connsiteY0" fmla="*/ 1474 h 12848"/>
                <a:gd name="connsiteX1" fmla="*/ 5925 w 43177"/>
                <a:gd name="connsiteY1" fmla="*/ 0 h 12848"/>
                <a:gd name="connsiteX2" fmla="*/ 4029 w 43177"/>
                <a:gd name="connsiteY2" fmla="*/ 9477 h 12848"/>
                <a:gd name="connsiteX3" fmla="*/ 28036 w 43177"/>
                <a:gd name="connsiteY3" fmla="*/ 9477 h 12848"/>
                <a:gd name="connsiteX4" fmla="*/ 42357 w 43177"/>
                <a:gd name="connsiteY4" fmla="*/ 12846 h 12848"/>
                <a:gd name="connsiteX5" fmla="*/ 29932 w 43177"/>
                <a:gd name="connsiteY5" fmla="*/ 1474 h 12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177" h="12848">
                  <a:moveTo>
                    <a:pt x="29932" y="1474"/>
                  </a:moveTo>
                  <a:cubicBezTo>
                    <a:pt x="37724" y="1474"/>
                    <a:pt x="9715" y="0"/>
                    <a:pt x="5925" y="0"/>
                  </a:cubicBezTo>
                  <a:cubicBezTo>
                    <a:pt x="9926" y="0"/>
                    <a:pt x="-7553" y="9477"/>
                    <a:pt x="4029" y="9477"/>
                  </a:cubicBezTo>
                  <a:cubicBezTo>
                    <a:pt x="13716" y="9477"/>
                    <a:pt x="33933" y="9477"/>
                    <a:pt x="28036" y="9477"/>
                  </a:cubicBezTo>
                  <a:cubicBezTo>
                    <a:pt x="34775" y="9477"/>
                    <a:pt x="46358" y="12846"/>
                    <a:pt x="42357" y="12846"/>
                  </a:cubicBezTo>
                  <a:cubicBezTo>
                    <a:pt x="46147" y="13057"/>
                    <a:pt x="34775" y="1474"/>
                    <a:pt x="29932" y="147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8" name="Forme libre : forme 162">
              <a:extLst>
                <a:ext uri="{FF2B5EF4-FFF2-40B4-BE49-F238E27FC236}">
                  <a16:creationId xmlns:a16="http://schemas.microsoft.com/office/drawing/2014/main" id="{AF286786-58FD-432A-8F60-1AF3475E5658}"/>
                </a:ext>
              </a:extLst>
            </p:cNvPr>
            <p:cNvSpPr/>
            <p:nvPr/>
          </p:nvSpPr>
          <p:spPr>
            <a:xfrm>
              <a:off x="10208384" y="4145202"/>
              <a:ext cx="40932" cy="12635"/>
            </a:xfrm>
            <a:custGeom>
              <a:avLst/>
              <a:gdLst>
                <a:gd name="connsiteX0" fmla="*/ 16215 w 40932"/>
                <a:gd name="connsiteY0" fmla="*/ 0 h 12635"/>
                <a:gd name="connsiteX1" fmla="*/ 0 w 40932"/>
                <a:gd name="connsiteY1" fmla="*/ 1895 h 12635"/>
                <a:gd name="connsiteX2" fmla="*/ 17268 w 40932"/>
                <a:gd name="connsiteY2" fmla="*/ 11582 h 12635"/>
                <a:gd name="connsiteX3" fmla="*/ 34537 w 40932"/>
                <a:gd name="connsiteY3" fmla="*/ 12635 h 12635"/>
                <a:gd name="connsiteX4" fmla="*/ 37485 w 40932"/>
                <a:gd name="connsiteY4" fmla="*/ 6528 h 12635"/>
                <a:gd name="connsiteX5" fmla="*/ 16215 w 40932"/>
                <a:gd name="connsiteY5" fmla="*/ 0 h 126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932" h="12635">
                  <a:moveTo>
                    <a:pt x="16215" y="0"/>
                  </a:moveTo>
                  <a:cubicBezTo>
                    <a:pt x="2738" y="0"/>
                    <a:pt x="9477" y="1895"/>
                    <a:pt x="0" y="1895"/>
                  </a:cubicBezTo>
                  <a:cubicBezTo>
                    <a:pt x="9477" y="1895"/>
                    <a:pt x="24849" y="11582"/>
                    <a:pt x="17268" y="11582"/>
                  </a:cubicBezTo>
                  <a:cubicBezTo>
                    <a:pt x="25060" y="11582"/>
                    <a:pt x="40223" y="12635"/>
                    <a:pt x="34537" y="12635"/>
                  </a:cubicBezTo>
                  <a:cubicBezTo>
                    <a:pt x="38327" y="12635"/>
                    <a:pt x="45066" y="6528"/>
                    <a:pt x="37485" y="6528"/>
                  </a:cubicBezTo>
                  <a:cubicBezTo>
                    <a:pt x="45066" y="6318"/>
                    <a:pt x="22954" y="0"/>
                    <a:pt x="1621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79" name="Forme libre : forme 163">
              <a:extLst>
                <a:ext uri="{FF2B5EF4-FFF2-40B4-BE49-F238E27FC236}">
                  <a16:creationId xmlns:a16="http://schemas.microsoft.com/office/drawing/2014/main" id="{8D8BF709-BD73-4B14-97B1-3CCEF71D33F8}"/>
                </a:ext>
              </a:extLst>
            </p:cNvPr>
            <p:cNvSpPr/>
            <p:nvPr/>
          </p:nvSpPr>
          <p:spPr>
            <a:xfrm>
              <a:off x="10641566" y="4441922"/>
              <a:ext cx="25337" cy="25060"/>
            </a:xfrm>
            <a:custGeom>
              <a:avLst/>
              <a:gdLst>
                <a:gd name="connsiteX0" fmla="*/ 16215 w 25337"/>
                <a:gd name="connsiteY0" fmla="*/ 13056 h 25060"/>
                <a:gd name="connsiteX1" fmla="*/ 24007 w 25337"/>
                <a:gd name="connsiteY1" fmla="*/ 10108 h 25060"/>
                <a:gd name="connsiteX2" fmla="*/ 10529 w 25337"/>
                <a:gd name="connsiteY2" fmla="*/ 0 h 25060"/>
                <a:gd name="connsiteX3" fmla="*/ 0 w 25337"/>
                <a:gd name="connsiteY3" fmla="*/ 4843 h 25060"/>
                <a:gd name="connsiteX4" fmla="*/ 4843 w 25337"/>
                <a:gd name="connsiteY4" fmla="*/ 18321 h 25060"/>
                <a:gd name="connsiteX5" fmla="*/ 22112 w 25337"/>
                <a:gd name="connsiteY5" fmla="*/ 25060 h 25060"/>
                <a:gd name="connsiteX6" fmla="*/ 16215 w 25337"/>
                <a:gd name="connsiteY6" fmla="*/ 13056 h 250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337" h="25060">
                  <a:moveTo>
                    <a:pt x="16215" y="13056"/>
                  </a:moveTo>
                  <a:cubicBezTo>
                    <a:pt x="22954" y="13056"/>
                    <a:pt x="27797" y="10108"/>
                    <a:pt x="24007" y="10108"/>
                  </a:cubicBezTo>
                  <a:cubicBezTo>
                    <a:pt x="27797" y="10108"/>
                    <a:pt x="12425" y="0"/>
                    <a:pt x="10529" y="0"/>
                  </a:cubicBezTo>
                  <a:cubicBezTo>
                    <a:pt x="14530" y="0"/>
                    <a:pt x="3790" y="4843"/>
                    <a:pt x="0" y="4843"/>
                  </a:cubicBezTo>
                  <a:cubicBezTo>
                    <a:pt x="3790" y="4843"/>
                    <a:pt x="10529" y="18321"/>
                    <a:pt x="4843" y="18321"/>
                  </a:cubicBezTo>
                  <a:cubicBezTo>
                    <a:pt x="11582" y="18321"/>
                    <a:pt x="25903" y="25060"/>
                    <a:pt x="22112" y="25060"/>
                  </a:cubicBezTo>
                  <a:cubicBezTo>
                    <a:pt x="24639" y="25060"/>
                    <a:pt x="20849" y="13056"/>
                    <a:pt x="16215" y="1305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0" name="Forme libre : forme 164">
              <a:extLst>
                <a:ext uri="{FF2B5EF4-FFF2-40B4-BE49-F238E27FC236}">
                  <a16:creationId xmlns:a16="http://schemas.microsoft.com/office/drawing/2014/main" id="{8BA088E7-C365-4F3D-ABBC-D3C19E9E1B3A}"/>
                </a:ext>
              </a:extLst>
            </p:cNvPr>
            <p:cNvSpPr/>
            <p:nvPr/>
          </p:nvSpPr>
          <p:spPr>
            <a:xfrm>
              <a:off x="5627439" y="2243372"/>
              <a:ext cx="38262" cy="38329"/>
            </a:xfrm>
            <a:custGeom>
              <a:avLst/>
              <a:gdLst>
                <a:gd name="connsiteX0" fmla="*/ 33694 w 38262"/>
                <a:gd name="connsiteY0" fmla="*/ 25481 h 38329"/>
                <a:gd name="connsiteX1" fmla="*/ 33694 w 38262"/>
                <a:gd name="connsiteY1" fmla="*/ 9055 h 38329"/>
                <a:gd name="connsiteX2" fmla="*/ 32220 w 38262"/>
                <a:gd name="connsiteY2" fmla="*/ 0 h 38329"/>
                <a:gd name="connsiteX3" fmla="*/ 18321 w 38262"/>
                <a:gd name="connsiteY3" fmla="*/ 11582 h 38329"/>
                <a:gd name="connsiteX4" fmla="*/ 0 w 38262"/>
                <a:gd name="connsiteY4" fmla="*/ 19164 h 38329"/>
                <a:gd name="connsiteX5" fmla="*/ 12004 w 38262"/>
                <a:gd name="connsiteY5" fmla="*/ 32641 h 38329"/>
                <a:gd name="connsiteX6" fmla="*/ 22954 w 38262"/>
                <a:gd name="connsiteY6" fmla="*/ 38327 h 38329"/>
                <a:gd name="connsiteX7" fmla="*/ 33694 w 38262"/>
                <a:gd name="connsiteY7" fmla="*/ 25481 h 38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62" h="38329">
                  <a:moveTo>
                    <a:pt x="33694" y="25481"/>
                  </a:moveTo>
                  <a:cubicBezTo>
                    <a:pt x="39591" y="25481"/>
                    <a:pt x="38117" y="9055"/>
                    <a:pt x="33694" y="9055"/>
                  </a:cubicBezTo>
                  <a:cubicBezTo>
                    <a:pt x="38538" y="9055"/>
                    <a:pt x="41486" y="0"/>
                    <a:pt x="32220" y="0"/>
                  </a:cubicBezTo>
                  <a:cubicBezTo>
                    <a:pt x="41275" y="0"/>
                    <a:pt x="26534" y="11582"/>
                    <a:pt x="18321" y="11582"/>
                  </a:cubicBezTo>
                  <a:cubicBezTo>
                    <a:pt x="8845" y="11582"/>
                    <a:pt x="4844" y="19164"/>
                    <a:pt x="0" y="19164"/>
                  </a:cubicBezTo>
                  <a:cubicBezTo>
                    <a:pt x="5265" y="19164"/>
                    <a:pt x="18321" y="32641"/>
                    <a:pt x="12004" y="32641"/>
                  </a:cubicBezTo>
                  <a:cubicBezTo>
                    <a:pt x="18743" y="32641"/>
                    <a:pt x="30114" y="38327"/>
                    <a:pt x="22954" y="38327"/>
                  </a:cubicBezTo>
                  <a:cubicBezTo>
                    <a:pt x="29272" y="38538"/>
                    <a:pt x="35590" y="25481"/>
                    <a:pt x="33694" y="2548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1" name="Forme libre : forme 165">
              <a:extLst>
                <a:ext uri="{FF2B5EF4-FFF2-40B4-BE49-F238E27FC236}">
                  <a16:creationId xmlns:a16="http://schemas.microsoft.com/office/drawing/2014/main" id="{DA4A865F-7C82-4C42-B94C-506EE143B421}"/>
                </a:ext>
              </a:extLst>
            </p:cNvPr>
            <p:cNvSpPr/>
            <p:nvPr/>
          </p:nvSpPr>
          <p:spPr>
            <a:xfrm>
              <a:off x="5610170" y="2289070"/>
              <a:ext cx="63218" cy="50330"/>
            </a:xfrm>
            <a:custGeom>
              <a:avLst/>
              <a:gdLst>
                <a:gd name="connsiteX0" fmla="*/ 57280 w 63218"/>
                <a:gd name="connsiteY0" fmla="*/ 4212 h 50330"/>
                <a:gd name="connsiteX1" fmla="*/ 38959 w 63218"/>
                <a:gd name="connsiteY1" fmla="*/ 0 h 50330"/>
                <a:gd name="connsiteX2" fmla="*/ 13899 w 63218"/>
                <a:gd name="connsiteY2" fmla="*/ 8634 h 50330"/>
                <a:gd name="connsiteX3" fmla="*/ 0 w 63218"/>
                <a:gd name="connsiteY3" fmla="*/ 10108 h 50330"/>
                <a:gd name="connsiteX4" fmla="*/ 10529 w 63218"/>
                <a:gd name="connsiteY4" fmla="*/ 26324 h 50330"/>
                <a:gd name="connsiteX5" fmla="*/ 10109 w 63218"/>
                <a:gd name="connsiteY5" fmla="*/ 35379 h 50330"/>
                <a:gd name="connsiteX6" fmla="*/ 8634 w 63218"/>
                <a:gd name="connsiteY6" fmla="*/ 50331 h 50330"/>
                <a:gd name="connsiteX7" fmla="*/ 24849 w 63218"/>
                <a:gd name="connsiteY7" fmla="*/ 50331 h 50330"/>
                <a:gd name="connsiteX8" fmla="*/ 40644 w 63218"/>
                <a:gd name="connsiteY8" fmla="*/ 47383 h 50330"/>
                <a:gd name="connsiteX9" fmla="*/ 52226 w 63218"/>
                <a:gd name="connsiteY9" fmla="*/ 44434 h 50330"/>
                <a:gd name="connsiteX10" fmla="*/ 56017 w 63218"/>
                <a:gd name="connsiteY10" fmla="*/ 27166 h 50330"/>
                <a:gd name="connsiteX11" fmla="*/ 57280 w 63218"/>
                <a:gd name="connsiteY11" fmla="*/ 4212 h 503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3218" h="50330">
                  <a:moveTo>
                    <a:pt x="57280" y="4212"/>
                  </a:moveTo>
                  <a:cubicBezTo>
                    <a:pt x="61702" y="4212"/>
                    <a:pt x="48225" y="0"/>
                    <a:pt x="38959" y="0"/>
                  </a:cubicBezTo>
                  <a:cubicBezTo>
                    <a:pt x="29272" y="0"/>
                    <a:pt x="20638" y="8634"/>
                    <a:pt x="13899" y="8634"/>
                  </a:cubicBezTo>
                  <a:cubicBezTo>
                    <a:pt x="20638" y="8634"/>
                    <a:pt x="7582" y="10108"/>
                    <a:pt x="0" y="10108"/>
                  </a:cubicBezTo>
                  <a:cubicBezTo>
                    <a:pt x="7792" y="10108"/>
                    <a:pt x="15373" y="26324"/>
                    <a:pt x="10529" y="26324"/>
                  </a:cubicBezTo>
                  <a:cubicBezTo>
                    <a:pt x="15373" y="26324"/>
                    <a:pt x="17268" y="35379"/>
                    <a:pt x="10109" y="35379"/>
                  </a:cubicBezTo>
                  <a:cubicBezTo>
                    <a:pt x="10109" y="42539"/>
                    <a:pt x="-421" y="50331"/>
                    <a:pt x="8634" y="50331"/>
                  </a:cubicBezTo>
                  <a:cubicBezTo>
                    <a:pt x="17689" y="50331"/>
                    <a:pt x="30325" y="50331"/>
                    <a:pt x="24849" y="50331"/>
                  </a:cubicBezTo>
                  <a:cubicBezTo>
                    <a:pt x="30536" y="50331"/>
                    <a:pt x="48014" y="47383"/>
                    <a:pt x="40644" y="47383"/>
                  </a:cubicBezTo>
                  <a:cubicBezTo>
                    <a:pt x="47383" y="47383"/>
                    <a:pt x="58965" y="44434"/>
                    <a:pt x="52226" y="44434"/>
                  </a:cubicBezTo>
                  <a:cubicBezTo>
                    <a:pt x="59386" y="44434"/>
                    <a:pt x="63808" y="27166"/>
                    <a:pt x="56017" y="27166"/>
                  </a:cubicBezTo>
                  <a:cubicBezTo>
                    <a:pt x="63808" y="27377"/>
                    <a:pt x="66757" y="4212"/>
                    <a:pt x="57280" y="4212"/>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2" name="Forme libre : forme 166">
              <a:extLst>
                <a:ext uri="{FF2B5EF4-FFF2-40B4-BE49-F238E27FC236}">
                  <a16:creationId xmlns:a16="http://schemas.microsoft.com/office/drawing/2014/main" id="{783F544F-CFDA-4037-8CA4-5597675506BB}"/>
                </a:ext>
              </a:extLst>
            </p:cNvPr>
            <p:cNvSpPr/>
            <p:nvPr/>
          </p:nvSpPr>
          <p:spPr>
            <a:xfrm>
              <a:off x="5399254" y="2326555"/>
              <a:ext cx="38316" cy="11161"/>
            </a:xfrm>
            <a:custGeom>
              <a:avLst/>
              <a:gdLst>
                <a:gd name="connsiteX0" fmla="*/ 34653 w 38316"/>
                <a:gd name="connsiteY0" fmla="*/ 1474 h 11161"/>
                <a:gd name="connsiteX1" fmla="*/ 16332 w 38316"/>
                <a:gd name="connsiteY1" fmla="*/ 0 h 11161"/>
                <a:gd name="connsiteX2" fmla="*/ 1381 w 38316"/>
                <a:gd name="connsiteY2" fmla="*/ 7792 h 11161"/>
                <a:gd name="connsiteX3" fmla="*/ 17175 w 38316"/>
                <a:gd name="connsiteY3" fmla="*/ 11161 h 11161"/>
                <a:gd name="connsiteX4" fmla="*/ 32547 w 38316"/>
                <a:gd name="connsiteY4" fmla="*/ 10319 h 11161"/>
                <a:gd name="connsiteX5" fmla="*/ 34653 w 38316"/>
                <a:gd name="connsiteY5" fmla="*/ 1474 h 11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316" h="11161">
                  <a:moveTo>
                    <a:pt x="34653" y="1474"/>
                  </a:moveTo>
                  <a:cubicBezTo>
                    <a:pt x="42235" y="1474"/>
                    <a:pt x="23071" y="0"/>
                    <a:pt x="16332" y="0"/>
                  </a:cubicBezTo>
                  <a:cubicBezTo>
                    <a:pt x="23071" y="0"/>
                    <a:pt x="-6622" y="7792"/>
                    <a:pt x="1381" y="7792"/>
                  </a:cubicBezTo>
                  <a:cubicBezTo>
                    <a:pt x="10015" y="7792"/>
                    <a:pt x="7698" y="11161"/>
                    <a:pt x="17175" y="11161"/>
                  </a:cubicBezTo>
                  <a:cubicBezTo>
                    <a:pt x="26230" y="11161"/>
                    <a:pt x="39286" y="10319"/>
                    <a:pt x="32547" y="10319"/>
                  </a:cubicBezTo>
                  <a:cubicBezTo>
                    <a:pt x="39497" y="10108"/>
                    <a:pt x="40129" y="1474"/>
                    <a:pt x="34653" y="147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3" name="Forme libre : forme 167">
              <a:extLst>
                <a:ext uri="{FF2B5EF4-FFF2-40B4-BE49-F238E27FC236}">
                  <a16:creationId xmlns:a16="http://schemas.microsoft.com/office/drawing/2014/main" id="{C0BF7B51-D173-45BD-87EB-FB453B5E9400}"/>
                </a:ext>
              </a:extLst>
            </p:cNvPr>
            <p:cNvSpPr/>
            <p:nvPr/>
          </p:nvSpPr>
          <p:spPr>
            <a:xfrm>
              <a:off x="6177076" y="2422162"/>
              <a:ext cx="101308" cy="18110"/>
            </a:xfrm>
            <a:custGeom>
              <a:avLst/>
              <a:gdLst>
                <a:gd name="connsiteX0" fmla="*/ 100240 w 101308"/>
                <a:gd name="connsiteY0" fmla="*/ 10529 h 18110"/>
                <a:gd name="connsiteX1" fmla="*/ 78549 w 101308"/>
                <a:gd name="connsiteY1" fmla="*/ 10108 h 18110"/>
                <a:gd name="connsiteX2" fmla="*/ 63177 w 101308"/>
                <a:gd name="connsiteY2" fmla="*/ 5896 h 18110"/>
                <a:gd name="connsiteX3" fmla="*/ 40223 w 101308"/>
                <a:gd name="connsiteY3" fmla="*/ 6739 h 18110"/>
                <a:gd name="connsiteX4" fmla="*/ 21480 w 101308"/>
                <a:gd name="connsiteY4" fmla="*/ 3791 h 18110"/>
                <a:gd name="connsiteX5" fmla="*/ 3790 w 101308"/>
                <a:gd name="connsiteY5" fmla="*/ 0 h 18110"/>
                <a:gd name="connsiteX6" fmla="*/ 0 w 101308"/>
                <a:gd name="connsiteY6" fmla="*/ 6739 h 18110"/>
                <a:gd name="connsiteX7" fmla="*/ 15794 w 101308"/>
                <a:gd name="connsiteY7" fmla="*/ 8213 h 18110"/>
                <a:gd name="connsiteX8" fmla="*/ 33063 w 101308"/>
                <a:gd name="connsiteY8" fmla="*/ 12004 h 18110"/>
                <a:gd name="connsiteX9" fmla="*/ 44645 w 101308"/>
                <a:gd name="connsiteY9" fmla="*/ 18111 h 18110"/>
                <a:gd name="connsiteX10" fmla="*/ 65704 w 101308"/>
                <a:gd name="connsiteY10" fmla="*/ 16215 h 18110"/>
                <a:gd name="connsiteX11" fmla="*/ 87394 w 101308"/>
                <a:gd name="connsiteY11" fmla="*/ 17689 h 18110"/>
                <a:gd name="connsiteX12" fmla="*/ 100240 w 101308"/>
                <a:gd name="connsiteY12" fmla="*/ 10529 h 18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1308" h="18110">
                  <a:moveTo>
                    <a:pt x="100240" y="10529"/>
                  </a:moveTo>
                  <a:cubicBezTo>
                    <a:pt x="106558" y="10529"/>
                    <a:pt x="82972" y="10108"/>
                    <a:pt x="78549" y="10108"/>
                  </a:cubicBezTo>
                  <a:cubicBezTo>
                    <a:pt x="83393" y="10108"/>
                    <a:pt x="68441" y="5896"/>
                    <a:pt x="63177" y="5896"/>
                  </a:cubicBezTo>
                  <a:cubicBezTo>
                    <a:pt x="69073" y="5896"/>
                    <a:pt x="49910" y="6739"/>
                    <a:pt x="40223" y="6739"/>
                  </a:cubicBezTo>
                  <a:cubicBezTo>
                    <a:pt x="29693" y="6739"/>
                    <a:pt x="28640" y="3791"/>
                    <a:pt x="21480" y="3791"/>
                  </a:cubicBezTo>
                  <a:cubicBezTo>
                    <a:pt x="29272" y="3791"/>
                    <a:pt x="10529" y="0"/>
                    <a:pt x="3790" y="0"/>
                  </a:cubicBezTo>
                  <a:cubicBezTo>
                    <a:pt x="10529" y="0"/>
                    <a:pt x="4211" y="6739"/>
                    <a:pt x="0" y="6739"/>
                  </a:cubicBezTo>
                  <a:cubicBezTo>
                    <a:pt x="4211" y="6739"/>
                    <a:pt x="7160" y="8213"/>
                    <a:pt x="15794" y="8213"/>
                  </a:cubicBezTo>
                  <a:cubicBezTo>
                    <a:pt x="23586" y="8213"/>
                    <a:pt x="40223" y="12004"/>
                    <a:pt x="33063" y="12004"/>
                  </a:cubicBezTo>
                  <a:cubicBezTo>
                    <a:pt x="40223" y="12004"/>
                    <a:pt x="51805" y="18111"/>
                    <a:pt x="44645" y="18111"/>
                  </a:cubicBezTo>
                  <a:cubicBezTo>
                    <a:pt x="51805" y="18111"/>
                    <a:pt x="56227" y="16215"/>
                    <a:pt x="65704" y="16215"/>
                  </a:cubicBezTo>
                  <a:cubicBezTo>
                    <a:pt x="74338" y="16215"/>
                    <a:pt x="94133" y="17689"/>
                    <a:pt x="87394" y="17689"/>
                  </a:cubicBezTo>
                  <a:cubicBezTo>
                    <a:pt x="93923" y="17689"/>
                    <a:pt x="103189" y="10529"/>
                    <a:pt x="100240" y="1052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4" name="Forme libre : forme 168">
              <a:extLst>
                <a:ext uri="{FF2B5EF4-FFF2-40B4-BE49-F238E27FC236}">
                  <a16:creationId xmlns:a16="http://schemas.microsoft.com/office/drawing/2014/main" id="{BDF94A83-D627-453E-8C16-0A2B9F4F457B}"/>
                </a:ext>
              </a:extLst>
            </p:cNvPr>
            <p:cNvSpPr/>
            <p:nvPr/>
          </p:nvSpPr>
          <p:spPr>
            <a:xfrm>
              <a:off x="6499699" y="2425321"/>
              <a:ext cx="87649" cy="26534"/>
            </a:xfrm>
            <a:custGeom>
              <a:avLst/>
              <a:gdLst>
                <a:gd name="connsiteX0" fmla="*/ 37485 w 87649"/>
                <a:gd name="connsiteY0" fmla="*/ 9266 h 26534"/>
                <a:gd name="connsiteX1" fmla="*/ 22533 w 87649"/>
                <a:gd name="connsiteY1" fmla="*/ 11161 h 26534"/>
                <a:gd name="connsiteX2" fmla="*/ 0 w 87649"/>
                <a:gd name="connsiteY2" fmla="*/ 18321 h 26534"/>
                <a:gd name="connsiteX3" fmla="*/ 16847 w 87649"/>
                <a:gd name="connsiteY3" fmla="*/ 25481 h 26534"/>
                <a:gd name="connsiteX4" fmla="*/ 42328 w 87649"/>
                <a:gd name="connsiteY4" fmla="*/ 26534 h 26534"/>
                <a:gd name="connsiteX5" fmla="*/ 60017 w 87649"/>
                <a:gd name="connsiteY5" fmla="*/ 20217 h 26534"/>
                <a:gd name="connsiteX6" fmla="*/ 69705 w 87649"/>
                <a:gd name="connsiteY6" fmla="*/ 18742 h 26534"/>
                <a:gd name="connsiteX7" fmla="*/ 65914 w 87649"/>
                <a:gd name="connsiteY7" fmla="*/ 9687 h 26534"/>
                <a:gd name="connsiteX8" fmla="*/ 86973 w 87649"/>
                <a:gd name="connsiteY8" fmla="*/ 0 h 26534"/>
                <a:gd name="connsiteX9" fmla="*/ 72021 w 87649"/>
                <a:gd name="connsiteY9" fmla="*/ 2316 h 26534"/>
                <a:gd name="connsiteX10" fmla="*/ 60017 w 87649"/>
                <a:gd name="connsiteY10" fmla="*/ 7160 h 26534"/>
                <a:gd name="connsiteX11" fmla="*/ 37485 w 87649"/>
                <a:gd name="connsiteY11" fmla="*/ 9266 h 26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7649" h="26534">
                  <a:moveTo>
                    <a:pt x="37485" y="9266"/>
                  </a:moveTo>
                  <a:cubicBezTo>
                    <a:pt x="42750" y="9266"/>
                    <a:pt x="30746" y="11161"/>
                    <a:pt x="22533" y="11161"/>
                  </a:cubicBezTo>
                  <a:cubicBezTo>
                    <a:pt x="30746" y="11161"/>
                    <a:pt x="7160" y="18321"/>
                    <a:pt x="0" y="18321"/>
                  </a:cubicBezTo>
                  <a:cubicBezTo>
                    <a:pt x="3790" y="18321"/>
                    <a:pt x="1474" y="25481"/>
                    <a:pt x="16847" y="25481"/>
                  </a:cubicBezTo>
                  <a:cubicBezTo>
                    <a:pt x="32641" y="25481"/>
                    <a:pt x="50120" y="26534"/>
                    <a:pt x="42328" y="26534"/>
                  </a:cubicBezTo>
                  <a:cubicBezTo>
                    <a:pt x="50120" y="26534"/>
                    <a:pt x="50541" y="20217"/>
                    <a:pt x="60017" y="20217"/>
                  </a:cubicBezTo>
                  <a:cubicBezTo>
                    <a:pt x="68652" y="20217"/>
                    <a:pt x="74970" y="18742"/>
                    <a:pt x="69705" y="18742"/>
                  </a:cubicBezTo>
                  <a:cubicBezTo>
                    <a:pt x="75391" y="18742"/>
                    <a:pt x="56648" y="9687"/>
                    <a:pt x="65914" y="9687"/>
                  </a:cubicBezTo>
                  <a:cubicBezTo>
                    <a:pt x="69705" y="17900"/>
                    <a:pt x="77918" y="0"/>
                    <a:pt x="86973" y="0"/>
                  </a:cubicBezTo>
                  <a:cubicBezTo>
                    <a:pt x="89711" y="0"/>
                    <a:pt x="84025" y="2316"/>
                    <a:pt x="72021" y="2316"/>
                  </a:cubicBezTo>
                  <a:cubicBezTo>
                    <a:pt x="76022" y="2316"/>
                    <a:pt x="67810" y="7160"/>
                    <a:pt x="60017" y="7160"/>
                  </a:cubicBezTo>
                  <a:cubicBezTo>
                    <a:pt x="63387" y="7371"/>
                    <a:pt x="42750" y="9266"/>
                    <a:pt x="37485" y="9266"/>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5" name="Forme libre : forme 169">
              <a:extLst>
                <a:ext uri="{FF2B5EF4-FFF2-40B4-BE49-F238E27FC236}">
                  <a16:creationId xmlns:a16="http://schemas.microsoft.com/office/drawing/2014/main" id="{B1D9857C-68FF-4A2E-BA65-C37D8477C8C7}"/>
                </a:ext>
              </a:extLst>
            </p:cNvPr>
            <p:cNvSpPr/>
            <p:nvPr/>
          </p:nvSpPr>
          <p:spPr>
            <a:xfrm>
              <a:off x="7347952" y="3114579"/>
              <a:ext cx="41135" cy="14951"/>
            </a:xfrm>
            <a:custGeom>
              <a:avLst/>
              <a:gdLst>
                <a:gd name="connsiteX0" fmla="*/ 37906 w 41135"/>
                <a:gd name="connsiteY0" fmla="*/ 6739 h 14951"/>
                <a:gd name="connsiteX1" fmla="*/ 15794 w 41135"/>
                <a:gd name="connsiteY1" fmla="*/ 1895 h 14951"/>
                <a:gd name="connsiteX2" fmla="*/ 0 w 41135"/>
                <a:gd name="connsiteY2" fmla="*/ 0 h 14951"/>
                <a:gd name="connsiteX3" fmla="*/ 7370 w 41135"/>
                <a:gd name="connsiteY3" fmla="*/ 13899 h 14951"/>
                <a:gd name="connsiteX4" fmla="*/ 28429 w 41135"/>
                <a:gd name="connsiteY4" fmla="*/ 14952 h 14951"/>
                <a:gd name="connsiteX5" fmla="*/ 37906 w 41135"/>
                <a:gd name="connsiteY5" fmla="*/ 6739 h 14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135" h="14951">
                  <a:moveTo>
                    <a:pt x="37906" y="6739"/>
                  </a:moveTo>
                  <a:cubicBezTo>
                    <a:pt x="46119" y="6739"/>
                    <a:pt x="19585" y="1895"/>
                    <a:pt x="15794" y="1895"/>
                  </a:cubicBezTo>
                  <a:cubicBezTo>
                    <a:pt x="20216" y="1895"/>
                    <a:pt x="3790" y="0"/>
                    <a:pt x="0" y="0"/>
                  </a:cubicBezTo>
                  <a:cubicBezTo>
                    <a:pt x="3369" y="0"/>
                    <a:pt x="13898" y="13899"/>
                    <a:pt x="7370" y="13899"/>
                  </a:cubicBezTo>
                  <a:cubicBezTo>
                    <a:pt x="14109" y="13899"/>
                    <a:pt x="34115" y="14952"/>
                    <a:pt x="28429" y="14952"/>
                  </a:cubicBezTo>
                  <a:cubicBezTo>
                    <a:pt x="33484" y="14952"/>
                    <a:pt x="47383" y="6739"/>
                    <a:pt x="37906" y="673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6" name="Forme libre : forme 170">
              <a:extLst>
                <a:ext uri="{FF2B5EF4-FFF2-40B4-BE49-F238E27FC236}">
                  <a16:creationId xmlns:a16="http://schemas.microsoft.com/office/drawing/2014/main" id="{F694B3CE-B131-41C5-AE87-15ACE02458EE}"/>
                </a:ext>
              </a:extLst>
            </p:cNvPr>
            <p:cNvSpPr/>
            <p:nvPr/>
          </p:nvSpPr>
          <p:spPr>
            <a:xfrm>
              <a:off x="5580056" y="3379711"/>
              <a:ext cx="21421" cy="20216"/>
            </a:xfrm>
            <a:custGeom>
              <a:avLst/>
              <a:gdLst>
                <a:gd name="connsiteX0" fmla="*/ 16215 w 21421"/>
                <a:gd name="connsiteY0" fmla="*/ 0 h 20216"/>
                <a:gd name="connsiteX1" fmla="*/ 421 w 21421"/>
                <a:gd name="connsiteY1" fmla="*/ 7160 h 20216"/>
                <a:gd name="connsiteX2" fmla="*/ 0 w 21421"/>
                <a:gd name="connsiteY2" fmla="*/ 20217 h 20216"/>
                <a:gd name="connsiteX3" fmla="*/ 17689 w 21421"/>
                <a:gd name="connsiteY3" fmla="*/ 12004 h 20216"/>
                <a:gd name="connsiteX4" fmla="*/ 16215 w 21421"/>
                <a:gd name="connsiteY4" fmla="*/ 0 h 202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21" h="20216">
                  <a:moveTo>
                    <a:pt x="16215" y="0"/>
                  </a:moveTo>
                  <a:cubicBezTo>
                    <a:pt x="20006" y="0"/>
                    <a:pt x="9898" y="7160"/>
                    <a:pt x="421" y="7160"/>
                  </a:cubicBezTo>
                  <a:cubicBezTo>
                    <a:pt x="9477" y="7160"/>
                    <a:pt x="8213" y="20217"/>
                    <a:pt x="0" y="20217"/>
                  </a:cubicBezTo>
                  <a:cubicBezTo>
                    <a:pt x="8213" y="20217"/>
                    <a:pt x="25060" y="12004"/>
                    <a:pt x="17689" y="12004"/>
                  </a:cubicBezTo>
                  <a:cubicBezTo>
                    <a:pt x="24007" y="12004"/>
                    <a:pt x="21480" y="0"/>
                    <a:pt x="16215"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7" name="Forme libre : forme 171">
              <a:extLst>
                <a:ext uri="{FF2B5EF4-FFF2-40B4-BE49-F238E27FC236}">
                  <a16:creationId xmlns:a16="http://schemas.microsoft.com/office/drawing/2014/main" id="{E481FE01-789C-455D-9DAC-1FDD7587A97F}"/>
                </a:ext>
              </a:extLst>
            </p:cNvPr>
            <p:cNvSpPr/>
            <p:nvPr/>
          </p:nvSpPr>
          <p:spPr>
            <a:xfrm>
              <a:off x="5491608" y="3498904"/>
              <a:ext cx="20822" cy="18321"/>
            </a:xfrm>
            <a:custGeom>
              <a:avLst/>
              <a:gdLst>
                <a:gd name="connsiteX0" fmla="*/ 13899 w 20822"/>
                <a:gd name="connsiteY0" fmla="*/ 0 h 18321"/>
                <a:gd name="connsiteX1" fmla="*/ 0 w 20822"/>
                <a:gd name="connsiteY1" fmla="*/ 7160 h 18321"/>
                <a:gd name="connsiteX2" fmla="*/ 13057 w 20822"/>
                <a:gd name="connsiteY2" fmla="*/ 18321 h 18321"/>
                <a:gd name="connsiteX3" fmla="*/ 13899 w 20822"/>
                <a:gd name="connsiteY3" fmla="*/ 0 h 18321"/>
              </a:gdLst>
              <a:ahLst/>
              <a:cxnLst>
                <a:cxn ang="0">
                  <a:pos x="connsiteX0" y="connsiteY0"/>
                </a:cxn>
                <a:cxn ang="0">
                  <a:pos x="connsiteX1" y="connsiteY1"/>
                </a:cxn>
                <a:cxn ang="0">
                  <a:pos x="connsiteX2" y="connsiteY2"/>
                </a:cxn>
                <a:cxn ang="0">
                  <a:pos x="connsiteX3" y="connsiteY3"/>
                </a:cxn>
              </a:cxnLst>
              <a:rect l="l" t="t" r="r" b="b"/>
              <a:pathLst>
                <a:path w="20822" h="18321">
                  <a:moveTo>
                    <a:pt x="13899" y="0"/>
                  </a:moveTo>
                  <a:cubicBezTo>
                    <a:pt x="21059" y="0"/>
                    <a:pt x="9477" y="7160"/>
                    <a:pt x="0" y="7160"/>
                  </a:cubicBezTo>
                  <a:cubicBezTo>
                    <a:pt x="9056" y="7160"/>
                    <a:pt x="22533" y="18321"/>
                    <a:pt x="13057" y="18321"/>
                  </a:cubicBezTo>
                  <a:cubicBezTo>
                    <a:pt x="23587" y="18111"/>
                    <a:pt x="22955" y="0"/>
                    <a:pt x="13899"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8" name="Forme libre : forme 172">
              <a:extLst>
                <a:ext uri="{FF2B5EF4-FFF2-40B4-BE49-F238E27FC236}">
                  <a16:creationId xmlns:a16="http://schemas.microsoft.com/office/drawing/2014/main" id="{1280B05A-99BA-4789-9DE7-8A2CA0F19812}"/>
                </a:ext>
              </a:extLst>
            </p:cNvPr>
            <p:cNvSpPr/>
            <p:nvPr/>
          </p:nvSpPr>
          <p:spPr>
            <a:xfrm>
              <a:off x="4756232" y="2631488"/>
              <a:ext cx="34176" cy="32641"/>
            </a:xfrm>
            <a:custGeom>
              <a:avLst/>
              <a:gdLst>
                <a:gd name="connsiteX0" fmla="*/ 30746 w 34176"/>
                <a:gd name="connsiteY0" fmla="*/ 8634 h 32641"/>
                <a:gd name="connsiteX1" fmla="*/ 19163 w 34176"/>
                <a:gd name="connsiteY1" fmla="*/ 16215 h 32641"/>
                <a:gd name="connsiteX2" fmla="*/ 14320 w 34176"/>
                <a:gd name="connsiteY2" fmla="*/ 27377 h 32641"/>
                <a:gd name="connsiteX3" fmla="*/ 0 w 34176"/>
                <a:gd name="connsiteY3" fmla="*/ 32641 h 32641"/>
                <a:gd name="connsiteX4" fmla="*/ 10529 w 34176"/>
                <a:gd name="connsiteY4" fmla="*/ 16847 h 32641"/>
                <a:gd name="connsiteX5" fmla="*/ 16215 w 34176"/>
                <a:gd name="connsiteY5" fmla="*/ 8634 h 32641"/>
                <a:gd name="connsiteX6" fmla="*/ 31588 w 34176"/>
                <a:gd name="connsiteY6" fmla="*/ 0 h 32641"/>
                <a:gd name="connsiteX7" fmla="*/ 30746 w 34176"/>
                <a:gd name="connsiteY7" fmla="*/ 8634 h 3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176" h="32641">
                  <a:moveTo>
                    <a:pt x="30746" y="8634"/>
                  </a:moveTo>
                  <a:cubicBezTo>
                    <a:pt x="36432" y="8634"/>
                    <a:pt x="23586" y="16215"/>
                    <a:pt x="19163" y="16215"/>
                  </a:cubicBezTo>
                  <a:cubicBezTo>
                    <a:pt x="23375" y="16215"/>
                    <a:pt x="20216" y="27377"/>
                    <a:pt x="14320" y="27377"/>
                  </a:cubicBezTo>
                  <a:cubicBezTo>
                    <a:pt x="20006" y="27377"/>
                    <a:pt x="3369" y="32641"/>
                    <a:pt x="0" y="32641"/>
                  </a:cubicBezTo>
                  <a:cubicBezTo>
                    <a:pt x="3790" y="32641"/>
                    <a:pt x="13899" y="16847"/>
                    <a:pt x="10529" y="16847"/>
                  </a:cubicBezTo>
                  <a:cubicBezTo>
                    <a:pt x="13899" y="16847"/>
                    <a:pt x="22533" y="8634"/>
                    <a:pt x="16215" y="8634"/>
                  </a:cubicBezTo>
                  <a:cubicBezTo>
                    <a:pt x="22533" y="8634"/>
                    <a:pt x="35379" y="0"/>
                    <a:pt x="31588" y="0"/>
                  </a:cubicBezTo>
                  <a:cubicBezTo>
                    <a:pt x="35168" y="0"/>
                    <a:pt x="35168" y="8634"/>
                    <a:pt x="30746" y="863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89" name="Forme libre : forme 173">
              <a:extLst>
                <a:ext uri="{FF2B5EF4-FFF2-40B4-BE49-F238E27FC236}">
                  <a16:creationId xmlns:a16="http://schemas.microsoft.com/office/drawing/2014/main" id="{804B7CD4-9D7C-4BFF-9476-8EFF8A0DD2C9}"/>
                </a:ext>
              </a:extLst>
            </p:cNvPr>
            <p:cNvSpPr/>
            <p:nvPr/>
          </p:nvSpPr>
          <p:spPr>
            <a:xfrm>
              <a:off x="4694828" y="2666024"/>
              <a:ext cx="21139" cy="11161"/>
            </a:xfrm>
            <a:custGeom>
              <a:avLst/>
              <a:gdLst>
                <a:gd name="connsiteX0" fmla="*/ 15916 w 21139"/>
                <a:gd name="connsiteY0" fmla="*/ 0 h 11161"/>
                <a:gd name="connsiteX1" fmla="*/ 2438 w 21139"/>
                <a:gd name="connsiteY1" fmla="*/ 1895 h 11161"/>
                <a:gd name="connsiteX2" fmla="*/ 3491 w 21139"/>
                <a:gd name="connsiteY2" fmla="*/ 11161 h 11161"/>
                <a:gd name="connsiteX3" fmla="*/ 18443 w 21139"/>
                <a:gd name="connsiteY3" fmla="*/ 10108 h 11161"/>
                <a:gd name="connsiteX4" fmla="*/ 15916 w 21139"/>
                <a:gd name="connsiteY4" fmla="*/ 0 h 111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139" h="11161">
                  <a:moveTo>
                    <a:pt x="15916" y="0"/>
                  </a:moveTo>
                  <a:cubicBezTo>
                    <a:pt x="20128" y="0"/>
                    <a:pt x="5808" y="1895"/>
                    <a:pt x="2438" y="1895"/>
                  </a:cubicBezTo>
                  <a:cubicBezTo>
                    <a:pt x="5808" y="1895"/>
                    <a:pt x="-5353" y="11161"/>
                    <a:pt x="3491" y="11161"/>
                  </a:cubicBezTo>
                  <a:cubicBezTo>
                    <a:pt x="11704" y="11161"/>
                    <a:pt x="22234" y="10108"/>
                    <a:pt x="18443" y="10108"/>
                  </a:cubicBezTo>
                  <a:cubicBezTo>
                    <a:pt x="22655" y="10108"/>
                    <a:pt x="22023" y="0"/>
                    <a:pt x="15916"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0" name="Forme libre : forme 174">
              <a:extLst>
                <a:ext uri="{FF2B5EF4-FFF2-40B4-BE49-F238E27FC236}">
                  <a16:creationId xmlns:a16="http://schemas.microsoft.com/office/drawing/2014/main" id="{CB8AA154-77A4-46D7-AE6D-F0BC0988D9E3}"/>
                </a:ext>
              </a:extLst>
            </p:cNvPr>
            <p:cNvSpPr/>
            <p:nvPr/>
          </p:nvSpPr>
          <p:spPr>
            <a:xfrm>
              <a:off x="4639986" y="2652546"/>
              <a:ext cx="49466" cy="21058"/>
            </a:xfrm>
            <a:custGeom>
              <a:avLst/>
              <a:gdLst>
                <a:gd name="connsiteX0" fmla="*/ 43381 w 49466"/>
                <a:gd name="connsiteY0" fmla="*/ 7160 h 21058"/>
                <a:gd name="connsiteX1" fmla="*/ 34115 w 49466"/>
                <a:gd name="connsiteY1" fmla="*/ 16215 h 21058"/>
                <a:gd name="connsiteX2" fmla="*/ 19795 w 49466"/>
                <a:gd name="connsiteY2" fmla="*/ 21059 h 21058"/>
                <a:gd name="connsiteX3" fmla="*/ 8634 w 49466"/>
                <a:gd name="connsiteY3" fmla="*/ 18742 h 21058"/>
                <a:gd name="connsiteX4" fmla="*/ 0 w 49466"/>
                <a:gd name="connsiteY4" fmla="*/ 14952 h 21058"/>
                <a:gd name="connsiteX5" fmla="*/ 13899 w 49466"/>
                <a:gd name="connsiteY5" fmla="*/ 12635 h 21058"/>
                <a:gd name="connsiteX6" fmla="*/ 28851 w 49466"/>
                <a:gd name="connsiteY6" fmla="*/ 6318 h 21058"/>
                <a:gd name="connsiteX7" fmla="*/ 46119 w 49466"/>
                <a:gd name="connsiteY7" fmla="*/ 0 h 21058"/>
                <a:gd name="connsiteX8" fmla="*/ 43381 w 49466"/>
                <a:gd name="connsiteY8" fmla="*/ 7160 h 21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466" h="21058">
                  <a:moveTo>
                    <a:pt x="43381" y="7160"/>
                  </a:moveTo>
                  <a:cubicBezTo>
                    <a:pt x="49067" y="7160"/>
                    <a:pt x="38538" y="16215"/>
                    <a:pt x="34115" y="16215"/>
                  </a:cubicBezTo>
                  <a:cubicBezTo>
                    <a:pt x="38959" y="16215"/>
                    <a:pt x="23165" y="21059"/>
                    <a:pt x="19795" y="21059"/>
                  </a:cubicBezTo>
                  <a:cubicBezTo>
                    <a:pt x="23165" y="21059"/>
                    <a:pt x="12635" y="18742"/>
                    <a:pt x="8634" y="18742"/>
                  </a:cubicBezTo>
                  <a:cubicBezTo>
                    <a:pt x="12425" y="18742"/>
                    <a:pt x="3790" y="14952"/>
                    <a:pt x="0" y="14952"/>
                  </a:cubicBezTo>
                  <a:cubicBezTo>
                    <a:pt x="4423" y="14952"/>
                    <a:pt x="18742" y="12635"/>
                    <a:pt x="13899" y="12635"/>
                  </a:cubicBezTo>
                  <a:cubicBezTo>
                    <a:pt x="18742" y="12635"/>
                    <a:pt x="36011" y="6318"/>
                    <a:pt x="28851" y="6318"/>
                  </a:cubicBezTo>
                  <a:cubicBezTo>
                    <a:pt x="35590" y="6318"/>
                    <a:pt x="50963" y="0"/>
                    <a:pt x="46119" y="0"/>
                  </a:cubicBezTo>
                  <a:cubicBezTo>
                    <a:pt x="50963" y="0"/>
                    <a:pt x="50963" y="7160"/>
                    <a:pt x="43381" y="716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1" name="Forme libre : forme 175">
              <a:extLst>
                <a:ext uri="{FF2B5EF4-FFF2-40B4-BE49-F238E27FC236}">
                  <a16:creationId xmlns:a16="http://schemas.microsoft.com/office/drawing/2014/main" id="{4CB324EF-9767-474B-B1C7-B1B139EA8872}"/>
                </a:ext>
              </a:extLst>
            </p:cNvPr>
            <p:cNvSpPr/>
            <p:nvPr/>
          </p:nvSpPr>
          <p:spPr>
            <a:xfrm>
              <a:off x="4618506" y="2655495"/>
              <a:ext cx="12495" cy="6738"/>
            </a:xfrm>
            <a:custGeom>
              <a:avLst/>
              <a:gdLst>
                <a:gd name="connsiteX0" fmla="*/ 11582 w 12495"/>
                <a:gd name="connsiteY0" fmla="*/ 0 h 6738"/>
                <a:gd name="connsiteX1" fmla="*/ 7160 w 12495"/>
                <a:gd name="connsiteY1" fmla="*/ 6739 h 6738"/>
                <a:gd name="connsiteX2" fmla="*/ 0 w 12495"/>
                <a:gd name="connsiteY2" fmla="*/ 0 h 6738"/>
                <a:gd name="connsiteX3" fmla="*/ 11582 w 12495"/>
                <a:gd name="connsiteY3" fmla="*/ 0 h 6738"/>
              </a:gdLst>
              <a:ahLst/>
              <a:cxnLst>
                <a:cxn ang="0">
                  <a:pos x="connsiteX0" y="connsiteY0"/>
                </a:cxn>
                <a:cxn ang="0">
                  <a:pos x="connsiteX1" y="connsiteY1"/>
                </a:cxn>
                <a:cxn ang="0">
                  <a:pos x="connsiteX2" y="connsiteY2"/>
                </a:cxn>
                <a:cxn ang="0">
                  <a:pos x="connsiteX3" y="connsiteY3"/>
                </a:cxn>
              </a:cxnLst>
              <a:rect l="l" t="t" r="r" b="b"/>
              <a:pathLst>
                <a:path w="12495" h="6738">
                  <a:moveTo>
                    <a:pt x="11582" y="0"/>
                  </a:moveTo>
                  <a:cubicBezTo>
                    <a:pt x="13899" y="0"/>
                    <a:pt x="11582" y="6739"/>
                    <a:pt x="7160" y="6739"/>
                  </a:cubicBezTo>
                  <a:cubicBezTo>
                    <a:pt x="10529" y="6739"/>
                    <a:pt x="4844" y="0"/>
                    <a:pt x="0" y="0"/>
                  </a:cubicBezTo>
                  <a:cubicBezTo>
                    <a:pt x="4844" y="0"/>
                    <a:pt x="13899" y="0"/>
                    <a:pt x="11582"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2" name="Forme libre : forme 176">
              <a:extLst>
                <a:ext uri="{FF2B5EF4-FFF2-40B4-BE49-F238E27FC236}">
                  <a16:creationId xmlns:a16="http://schemas.microsoft.com/office/drawing/2014/main" id="{E0E19C2A-D1FA-4CFD-B3C5-CFD80371D976}"/>
                </a:ext>
              </a:extLst>
            </p:cNvPr>
            <p:cNvSpPr/>
            <p:nvPr/>
          </p:nvSpPr>
          <p:spPr>
            <a:xfrm>
              <a:off x="7834020" y="1631611"/>
              <a:ext cx="182360" cy="26990"/>
            </a:xfrm>
            <a:custGeom>
              <a:avLst/>
              <a:gdLst>
                <a:gd name="connsiteX0" fmla="*/ 33877 w 182360"/>
                <a:gd name="connsiteY0" fmla="*/ 3791 h 26990"/>
                <a:gd name="connsiteX1" fmla="*/ 1656 w 182360"/>
                <a:gd name="connsiteY1" fmla="*/ 0 h 26990"/>
                <a:gd name="connsiteX2" fmla="*/ 25453 w 182360"/>
                <a:gd name="connsiteY2" fmla="*/ 6739 h 26990"/>
                <a:gd name="connsiteX3" fmla="*/ 13028 w 182360"/>
                <a:gd name="connsiteY3" fmla="*/ 7792 h 26990"/>
                <a:gd name="connsiteX4" fmla="*/ 44616 w 182360"/>
                <a:gd name="connsiteY4" fmla="*/ 13478 h 26990"/>
                <a:gd name="connsiteX5" fmla="*/ 79153 w 182360"/>
                <a:gd name="connsiteY5" fmla="*/ 21059 h 26990"/>
                <a:gd name="connsiteX6" fmla="*/ 87788 w 182360"/>
                <a:gd name="connsiteY6" fmla="*/ 17689 h 26990"/>
                <a:gd name="connsiteX7" fmla="*/ 60832 w 182360"/>
                <a:gd name="connsiteY7" fmla="*/ 10529 h 26990"/>
                <a:gd name="connsiteX8" fmla="*/ 84839 w 182360"/>
                <a:gd name="connsiteY8" fmla="*/ 14320 h 26990"/>
                <a:gd name="connsiteX9" fmla="*/ 113690 w 182360"/>
                <a:gd name="connsiteY9" fmla="*/ 18532 h 26990"/>
                <a:gd name="connsiteX10" fmla="*/ 130116 w 182360"/>
                <a:gd name="connsiteY10" fmla="*/ 20427 h 26990"/>
                <a:gd name="connsiteX11" fmla="*/ 162336 w 182360"/>
                <a:gd name="connsiteY11" fmla="*/ 23375 h 26990"/>
                <a:gd name="connsiteX12" fmla="*/ 181499 w 182360"/>
                <a:gd name="connsiteY12" fmla="*/ 24850 h 26990"/>
                <a:gd name="connsiteX13" fmla="*/ 148437 w 182360"/>
                <a:gd name="connsiteY13" fmla="*/ 18111 h 26990"/>
                <a:gd name="connsiteX14" fmla="*/ 105687 w 182360"/>
                <a:gd name="connsiteY14" fmla="*/ 13267 h 26990"/>
                <a:gd name="connsiteX15" fmla="*/ 70098 w 182360"/>
                <a:gd name="connsiteY15" fmla="*/ 8002 h 26990"/>
                <a:gd name="connsiteX16" fmla="*/ 33877 w 182360"/>
                <a:gd name="connsiteY16" fmla="*/ 3791 h 269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2360" h="26990">
                  <a:moveTo>
                    <a:pt x="33877" y="3791"/>
                  </a:moveTo>
                  <a:cubicBezTo>
                    <a:pt x="23137" y="3791"/>
                    <a:pt x="-7399" y="0"/>
                    <a:pt x="1656" y="0"/>
                  </a:cubicBezTo>
                  <a:cubicBezTo>
                    <a:pt x="11344" y="0"/>
                    <a:pt x="26927" y="6739"/>
                    <a:pt x="25453" y="6739"/>
                  </a:cubicBezTo>
                  <a:cubicBezTo>
                    <a:pt x="27559" y="6739"/>
                    <a:pt x="2078" y="7792"/>
                    <a:pt x="13028" y="7792"/>
                  </a:cubicBezTo>
                  <a:cubicBezTo>
                    <a:pt x="24611" y="7792"/>
                    <a:pt x="31560" y="13478"/>
                    <a:pt x="44616" y="13478"/>
                  </a:cubicBezTo>
                  <a:cubicBezTo>
                    <a:pt x="53251" y="22112"/>
                    <a:pt x="64412" y="21059"/>
                    <a:pt x="79153" y="21059"/>
                  </a:cubicBezTo>
                  <a:cubicBezTo>
                    <a:pt x="93684" y="21059"/>
                    <a:pt x="98738" y="17689"/>
                    <a:pt x="87788" y="17689"/>
                  </a:cubicBezTo>
                  <a:cubicBezTo>
                    <a:pt x="82523" y="7581"/>
                    <a:pt x="52830" y="10529"/>
                    <a:pt x="60832" y="10529"/>
                  </a:cubicBezTo>
                  <a:cubicBezTo>
                    <a:pt x="67571" y="10529"/>
                    <a:pt x="71362" y="14320"/>
                    <a:pt x="84839" y="14320"/>
                  </a:cubicBezTo>
                  <a:cubicBezTo>
                    <a:pt x="97895" y="14320"/>
                    <a:pt x="105055" y="18532"/>
                    <a:pt x="113690" y="18532"/>
                  </a:cubicBezTo>
                  <a:cubicBezTo>
                    <a:pt x="121903" y="18532"/>
                    <a:pt x="120850" y="20427"/>
                    <a:pt x="130116" y="20427"/>
                  </a:cubicBezTo>
                  <a:cubicBezTo>
                    <a:pt x="139592" y="20427"/>
                    <a:pt x="151806" y="23375"/>
                    <a:pt x="162336" y="23375"/>
                  </a:cubicBezTo>
                  <a:cubicBezTo>
                    <a:pt x="169496" y="30535"/>
                    <a:pt x="186343" y="24850"/>
                    <a:pt x="181499" y="24850"/>
                  </a:cubicBezTo>
                  <a:cubicBezTo>
                    <a:pt x="186343" y="24850"/>
                    <a:pt x="158966" y="18111"/>
                    <a:pt x="148437" y="18111"/>
                  </a:cubicBezTo>
                  <a:cubicBezTo>
                    <a:pt x="137907" y="18111"/>
                    <a:pt x="118954" y="13267"/>
                    <a:pt x="105687" y="13267"/>
                  </a:cubicBezTo>
                  <a:cubicBezTo>
                    <a:pt x="93052" y="13267"/>
                    <a:pt x="76416" y="8002"/>
                    <a:pt x="70098" y="8002"/>
                  </a:cubicBezTo>
                  <a:cubicBezTo>
                    <a:pt x="76626" y="8002"/>
                    <a:pt x="43985" y="3791"/>
                    <a:pt x="33877" y="379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3" name="Forme libre : forme 177">
              <a:extLst>
                <a:ext uri="{FF2B5EF4-FFF2-40B4-BE49-F238E27FC236}">
                  <a16:creationId xmlns:a16="http://schemas.microsoft.com/office/drawing/2014/main" id="{CF50FDC7-3BD4-4D77-9DC3-605B3D05D980}"/>
                </a:ext>
              </a:extLst>
            </p:cNvPr>
            <p:cNvSpPr/>
            <p:nvPr/>
          </p:nvSpPr>
          <p:spPr>
            <a:xfrm>
              <a:off x="11669242" y="4701157"/>
              <a:ext cx="38246" cy="51806"/>
            </a:xfrm>
            <a:custGeom>
              <a:avLst/>
              <a:gdLst>
                <a:gd name="connsiteX0" fmla="*/ 30745 w 38246"/>
                <a:gd name="connsiteY0" fmla="*/ 34747 h 51806"/>
                <a:gd name="connsiteX1" fmla="*/ 20216 w 38246"/>
                <a:gd name="connsiteY1" fmla="*/ 19795 h 51806"/>
                <a:gd name="connsiteX2" fmla="*/ 13477 w 38246"/>
                <a:gd name="connsiteY2" fmla="*/ 23165 h 51806"/>
                <a:gd name="connsiteX3" fmla="*/ 0 w 38246"/>
                <a:gd name="connsiteY3" fmla="*/ 0 h 51806"/>
                <a:gd name="connsiteX4" fmla="*/ 11582 w 38246"/>
                <a:gd name="connsiteY4" fmla="*/ 32641 h 51806"/>
                <a:gd name="connsiteX5" fmla="*/ 25902 w 38246"/>
                <a:gd name="connsiteY5" fmla="*/ 46540 h 51806"/>
                <a:gd name="connsiteX6" fmla="*/ 34536 w 38246"/>
                <a:gd name="connsiteY6" fmla="*/ 51805 h 51806"/>
                <a:gd name="connsiteX7" fmla="*/ 30745 w 38246"/>
                <a:gd name="connsiteY7" fmla="*/ 34747 h 51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246" h="51806">
                  <a:moveTo>
                    <a:pt x="30745" y="34747"/>
                  </a:moveTo>
                  <a:cubicBezTo>
                    <a:pt x="38326" y="34747"/>
                    <a:pt x="25902" y="19795"/>
                    <a:pt x="20216" y="19795"/>
                  </a:cubicBezTo>
                  <a:cubicBezTo>
                    <a:pt x="26113" y="19795"/>
                    <a:pt x="25060" y="23165"/>
                    <a:pt x="13477" y="23165"/>
                  </a:cubicBezTo>
                  <a:cubicBezTo>
                    <a:pt x="24006" y="23165"/>
                    <a:pt x="8634" y="0"/>
                    <a:pt x="0" y="0"/>
                  </a:cubicBezTo>
                  <a:cubicBezTo>
                    <a:pt x="8634" y="0"/>
                    <a:pt x="24006" y="32641"/>
                    <a:pt x="11582" y="32641"/>
                  </a:cubicBezTo>
                  <a:cubicBezTo>
                    <a:pt x="24006" y="32641"/>
                    <a:pt x="33694" y="46540"/>
                    <a:pt x="25902" y="46540"/>
                  </a:cubicBezTo>
                  <a:cubicBezTo>
                    <a:pt x="33694" y="46540"/>
                    <a:pt x="43171" y="51805"/>
                    <a:pt x="34536" y="51805"/>
                  </a:cubicBezTo>
                  <a:cubicBezTo>
                    <a:pt x="43171" y="52016"/>
                    <a:pt x="34536" y="34747"/>
                    <a:pt x="30745" y="3474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4" name="Forme libre : forme 178">
              <a:extLst>
                <a:ext uri="{FF2B5EF4-FFF2-40B4-BE49-F238E27FC236}">
                  <a16:creationId xmlns:a16="http://schemas.microsoft.com/office/drawing/2014/main" id="{F5B2CCD5-618B-405C-9AF9-B83F367A0E95}"/>
                </a:ext>
              </a:extLst>
            </p:cNvPr>
            <p:cNvSpPr/>
            <p:nvPr/>
          </p:nvSpPr>
          <p:spPr>
            <a:xfrm>
              <a:off x="11705673" y="4759069"/>
              <a:ext cx="29451" cy="29693"/>
            </a:xfrm>
            <a:custGeom>
              <a:avLst/>
              <a:gdLst>
                <a:gd name="connsiteX0" fmla="*/ 20217 w 29451"/>
                <a:gd name="connsiteY0" fmla="*/ 17690 h 29693"/>
                <a:gd name="connsiteX1" fmla="*/ 0 w 29451"/>
                <a:gd name="connsiteY1" fmla="*/ 0 h 29693"/>
                <a:gd name="connsiteX2" fmla="*/ 2949 w 29451"/>
                <a:gd name="connsiteY2" fmla="*/ 7160 h 29693"/>
                <a:gd name="connsiteX3" fmla="*/ 11582 w 29451"/>
                <a:gd name="connsiteY3" fmla="*/ 20638 h 29693"/>
                <a:gd name="connsiteX4" fmla="*/ 21270 w 29451"/>
                <a:gd name="connsiteY4" fmla="*/ 29693 h 29693"/>
                <a:gd name="connsiteX5" fmla="*/ 28009 w 29451"/>
                <a:gd name="connsiteY5" fmla="*/ 28851 h 29693"/>
                <a:gd name="connsiteX6" fmla="*/ 20217 w 29451"/>
                <a:gd name="connsiteY6" fmla="*/ 17690 h 29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51" h="29693">
                  <a:moveTo>
                    <a:pt x="20217" y="17690"/>
                  </a:moveTo>
                  <a:cubicBezTo>
                    <a:pt x="25060" y="17690"/>
                    <a:pt x="4843" y="0"/>
                    <a:pt x="0" y="0"/>
                  </a:cubicBezTo>
                  <a:cubicBezTo>
                    <a:pt x="4843" y="0"/>
                    <a:pt x="10529" y="7160"/>
                    <a:pt x="2949" y="7160"/>
                  </a:cubicBezTo>
                  <a:cubicBezTo>
                    <a:pt x="10740" y="7160"/>
                    <a:pt x="20217" y="20638"/>
                    <a:pt x="11582" y="20638"/>
                  </a:cubicBezTo>
                  <a:cubicBezTo>
                    <a:pt x="21270" y="20638"/>
                    <a:pt x="25060" y="29693"/>
                    <a:pt x="21270" y="29693"/>
                  </a:cubicBezTo>
                  <a:cubicBezTo>
                    <a:pt x="24218" y="29693"/>
                    <a:pt x="31799" y="28851"/>
                    <a:pt x="28009" y="28851"/>
                  </a:cubicBezTo>
                  <a:cubicBezTo>
                    <a:pt x="32641" y="28640"/>
                    <a:pt x="25060" y="28219"/>
                    <a:pt x="20217" y="1769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5" name="Forme libre : forme 179">
              <a:extLst>
                <a:ext uri="{FF2B5EF4-FFF2-40B4-BE49-F238E27FC236}">
                  <a16:creationId xmlns:a16="http://schemas.microsoft.com/office/drawing/2014/main" id="{82924F59-2576-42AC-827F-9D61D6692AE5}"/>
                </a:ext>
              </a:extLst>
            </p:cNvPr>
            <p:cNvSpPr/>
            <p:nvPr/>
          </p:nvSpPr>
          <p:spPr>
            <a:xfrm>
              <a:off x="11728627" y="4743696"/>
              <a:ext cx="25532" cy="41907"/>
            </a:xfrm>
            <a:custGeom>
              <a:avLst/>
              <a:gdLst>
                <a:gd name="connsiteX0" fmla="*/ 0 w 25532"/>
                <a:gd name="connsiteY0" fmla="*/ 0 h 41907"/>
                <a:gd name="connsiteX1" fmla="*/ 7582 w 25532"/>
                <a:gd name="connsiteY1" fmla="*/ 25481 h 41907"/>
                <a:gd name="connsiteX2" fmla="*/ 5686 w 25532"/>
                <a:gd name="connsiteY2" fmla="*/ 33694 h 41907"/>
                <a:gd name="connsiteX3" fmla="*/ 15374 w 25532"/>
                <a:gd name="connsiteY3" fmla="*/ 41486 h 41907"/>
                <a:gd name="connsiteX4" fmla="*/ 23166 w 25532"/>
                <a:gd name="connsiteY4" fmla="*/ 41907 h 41907"/>
                <a:gd name="connsiteX5" fmla="*/ 13478 w 25532"/>
                <a:gd name="connsiteY5" fmla="*/ 33694 h 41907"/>
                <a:gd name="connsiteX6" fmla="*/ 9688 w 25532"/>
                <a:gd name="connsiteY6" fmla="*/ 21269 h 41907"/>
                <a:gd name="connsiteX7" fmla="*/ 5686 w 25532"/>
                <a:gd name="connsiteY7" fmla="*/ 7792 h 41907"/>
                <a:gd name="connsiteX8" fmla="*/ 0 w 25532"/>
                <a:gd name="connsiteY8" fmla="*/ 0 h 41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532" h="41907">
                  <a:moveTo>
                    <a:pt x="0" y="0"/>
                  </a:moveTo>
                  <a:cubicBezTo>
                    <a:pt x="6739" y="0"/>
                    <a:pt x="15374" y="25481"/>
                    <a:pt x="7582" y="25481"/>
                  </a:cubicBezTo>
                  <a:cubicBezTo>
                    <a:pt x="15374" y="25481"/>
                    <a:pt x="12425" y="33694"/>
                    <a:pt x="5686" y="33694"/>
                  </a:cubicBezTo>
                  <a:cubicBezTo>
                    <a:pt x="11583" y="33694"/>
                    <a:pt x="21059" y="41486"/>
                    <a:pt x="15374" y="41486"/>
                  </a:cubicBezTo>
                  <a:cubicBezTo>
                    <a:pt x="21270" y="41486"/>
                    <a:pt x="29694" y="41907"/>
                    <a:pt x="23166" y="41907"/>
                  </a:cubicBezTo>
                  <a:cubicBezTo>
                    <a:pt x="28852" y="41907"/>
                    <a:pt x="16427" y="33694"/>
                    <a:pt x="13478" y="33694"/>
                  </a:cubicBezTo>
                  <a:cubicBezTo>
                    <a:pt x="16427" y="33694"/>
                    <a:pt x="13478" y="21269"/>
                    <a:pt x="9688" y="21269"/>
                  </a:cubicBezTo>
                  <a:cubicBezTo>
                    <a:pt x="13478" y="21269"/>
                    <a:pt x="11583" y="7792"/>
                    <a:pt x="5686" y="7792"/>
                  </a:cubicBezTo>
                  <a:cubicBezTo>
                    <a:pt x="10529" y="7581"/>
                    <a:pt x="4001" y="0"/>
                    <a:pt x="0" y="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6" name="Forme libre : forme 180">
              <a:extLst>
                <a:ext uri="{FF2B5EF4-FFF2-40B4-BE49-F238E27FC236}">
                  <a16:creationId xmlns:a16="http://schemas.microsoft.com/office/drawing/2014/main" id="{FF974258-6216-4037-86F8-B45DB27CA065}"/>
                </a:ext>
              </a:extLst>
            </p:cNvPr>
            <p:cNvSpPr/>
            <p:nvPr/>
          </p:nvSpPr>
          <p:spPr>
            <a:xfrm>
              <a:off x="11811178" y="4909851"/>
              <a:ext cx="12116" cy="13898"/>
            </a:xfrm>
            <a:custGeom>
              <a:avLst/>
              <a:gdLst>
                <a:gd name="connsiteX0" fmla="*/ 9686 w 12116"/>
                <a:gd name="connsiteY0" fmla="*/ 8634 h 13898"/>
                <a:gd name="connsiteX1" fmla="*/ 6739 w 12116"/>
                <a:gd name="connsiteY1" fmla="*/ 13899 h 13898"/>
                <a:gd name="connsiteX2" fmla="*/ 0 w 12116"/>
                <a:gd name="connsiteY2" fmla="*/ 5686 h 13898"/>
                <a:gd name="connsiteX3" fmla="*/ 2949 w 12116"/>
                <a:gd name="connsiteY3" fmla="*/ 0 h 13898"/>
                <a:gd name="connsiteX4" fmla="*/ 9686 w 12116"/>
                <a:gd name="connsiteY4" fmla="*/ 8634 h 13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16" h="13898">
                  <a:moveTo>
                    <a:pt x="9686" y="8634"/>
                  </a:moveTo>
                  <a:cubicBezTo>
                    <a:pt x="15373" y="8634"/>
                    <a:pt x="9686" y="13899"/>
                    <a:pt x="6739" y="13899"/>
                  </a:cubicBezTo>
                  <a:cubicBezTo>
                    <a:pt x="11582" y="13899"/>
                    <a:pt x="1895" y="5686"/>
                    <a:pt x="0" y="5686"/>
                  </a:cubicBezTo>
                  <a:cubicBezTo>
                    <a:pt x="2949" y="5686"/>
                    <a:pt x="4843" y="0"/>
                    <a:pt x="2949" y="0"/>
                  </a:cubicBezTo>
                  <a:cubicBezTo>
                    <a:pt x="6739" y="0"/>
                    <a:pt x="13478" y="8634"/>
                    <a:pt x="9686" y="863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7" name="Forme libre : forme 181">
              <a:extLst>
                <a:ext uri="{FF2B5EF4-FFF2-40B4-BE49-F238E27FC236}">
                  <a16:creationId xmlns:a16="http://schemas.microsoft.com/office/drawing/2014/main" id="{7C386577-A2FA-4C0F-9BA5-77FE3BEABEF1}"/>
                </a:ext>
              </a:extLst>
            </p:cNvPr>
            <p:cNvSpPr/>
            <p:nvPr/>
          </p:nvSpPr>
          <p:spPr>
            <a:xfrm>
              <a:off x="11716202" y="4742222"/>
              <a:ext cx="9456" cy="7791"/>
            </a:xfrm>
            <a:custGeom>
              <a:avLst/>
              <a:gdLst>
                <a:gd name="connsiteX0" fmla="*/ 7792 w 9456"/>
                <a:gd name="connsiteY0" fmla="*/ 1474 h 7791"/>
                <a:gd name="connsiteX1" fmla="*/ 6739 w 9456"/>
                <a:gd name="connsiteY1" fmla="*/ 7792 h 7791"/>
                <a:gd name="connsiteX2" fmla="*/ 0 w 9456"/>
                <a:gd name="connsiteY2" fmla="*/ 6317 h 7791"/>
                <a:gd name="connsiteX3" fmla="*/ 1895 w 9456"/>
                <a:gd name="connsiteY3" fmla="*/ 0 h 7791"/>
                <a:gd name="connsiteX4" fmla="*/ 7792 w 9456"/>
                <a:gd name="connsiteY4" fmla="*/ 1474 h 779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56" h="7791">
                  <a:moveTo>
                    <a:pt x="7792" y="1474"/>
                  </a:moveTo>
                  <a:cubicBezTo>
                    <a:pt x="10529" y="1474"/>
                    <a:pt x="9688" y="7792"/>
                    <a:pt x="6739" y="7792"/>
                  </a:cubicBezTo>
                  <a:cubicBezTo>
                    <a:pt x="8634" y="7792"/>
                    <a:pt x="2949" y="6317"/>
                    <a:pt x="0" y="6317"/>
                  </a:cubicBezTo>
                  <a:cubicBezTo>
                    <a:pt x="2949" y="6317"/>
                    <a:pt x="4843" y="0"/>
                    <a:pt x="1895" y="0"/>
                  </a:cubicBezTo>
                  <a:cubicBezTo>
                    <a:pt x="3790" y="0"/>
                    <a:pt x="10529" y="1474"/>
                    <a:pt x="7792" y="1474"/>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8" name="Forme libre : forme 182">
              <a:extLst>
                <a:ext uri="{FF2B5EF4-FFF2-40B4-BE49-F238E27FC236}">
                  <a16:creationId xmlns:a16="http://schemas.microsoft.com/office/drawing/2014/main" id="{16B571E7-36E5-4656-920D-0695D7F6C165}"/>
                </a:ext>
              </a:extLst>
            </p:cNvPr>
            <p:cNvSpPr/>
            <p:nvPr/>
          </p:nvSpPr>
          <p:spPr>
            <a:xfrm>
              <a:off x="11756424" y="4830038"/>
              <a:ext cx="12164" cy="9265"/>
            </a:xfrm>
            <a:custGeom>
              <a:avLst/>
              <a:gdLst>
                <a:gd name="connsiteX0" fmla="*/ 9688 w 12164"/>
                <a:gd name="connsiteY0" fmla="*/ 3369 h 9265"/>
                <a:gd name="connsiteX1" fmla="*/ 843 w 12164"/>
                <a:gd name="connsiteY1" fmla="*/ 0 h 9265"/>
                <a:gd name="connsiteX2" fmla="*/ 0 w 12164"/>
                <a:gd name="connsiteY2" fmla="*/ 6317 h 9265"/>
                <a:gd name="connsiteX3" fmla="*/ 6739 w 12164"/>
                <a:gd name="connsiteY3" fmla="*/ 9266 h 9265"/>
                <a:gd name="connsiteX4" fmla="*/ 9688 w 12164"/>
                <a:gd name="connsiteY4" fmla="*/ 3369 h 9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64" h="9265">
                  <a:moveTo>
                    <a:pt x="9688" y="3369"/>
                  </a:moveTo>
                  <a:cubicBezTo>
                    <a:pt x="14531" y="3369"/>
                    <a:pt x="3790" y="0"/>
                    <a:pt x="843" y="0"/>
                  </a:cubicBezTo>
                  <a:cubicBezTo>
                    <a:pt x="3790" y="0"/>
                    <a:pt x="4844" y="6317"/>
                    <a:pt x="0" y="6317"/>
                  </a:cubicBezTo>
                  <a:cubicBezTo>
                    <a:pt x="3790" y="6317"/>
                    <a:pt x="11583" y="9266"/>
                    <a:pt x="6739" y="9266"/>
                  </a:cubicBezTo>
                  <a:cubicBezTo>
                    <a:pt x="11583" y="9055"/>
                    <a:pt x="14531" y="3369"/>
                    <a:pt x="9688" y="336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199" name="Forme libre : forme 183">
              <a:extLst>
                <a:ext uri="{FF2B5EF4-FFF2-40B4-BE49-F238E27FC236}">
                  <a16:creationId xmlns:a16="http://schemas.microsoft.com/office/drawing/2014/main" id="{F7E618C9-0341-4B79-B5F1-548B94C2EF70}"/>
                </a:ext>
              </a:extLst>
            </p:cNvPr>
            <p:cNvSpPr/>
            <p:nvPr/>
          </p:nvSpPr>
          <p:spPr>
            <a:xfrm>
              <a:off x="11793910" y="4877631"/>
              <a:ext cx="17506" cy="20005"/>
            </a:xfrm>
            <a:custGeom>
              <a:avLst/>
              <a:gdLst>
                <a:gd name="connsiteX0" fmla="*/ 9688 w 17506"/>
                <a:gd name="connsiteY0" fmla="*/ 7581 h 20005"/>
                <a:gd name="connsiteX1" fmla="*/ 1895 w 17506"/>
                <a:gd name="connsiteY1" fmla="*/ 0 h 20005"/>
                <a:gd name="connsiteX2" fmla="*/ 0 w 17506"/>
                <a:gd name="connsiteY2" fmla="*/ 7160 h 20005"/>
                <a:gd name="connsiteX3" fmla="*/ 5896 w 17506"/>
                <a:gd name="connsiteY3" fmla="*/ 13899 h 20005"/>
                <a:gd name="connsiteX4" fmla="*/ 13478 w 17506"/>
                <a:gd name="connsiteY4" fmla="*/ 20006 h 20005"/>
                <a:gd name="connsiteX5" fmla="*/ 16425 w 17506"/>
                <a:gd name="connsiteY5" fmla="*/ 16215 h 20005"/>
                <a:gd name="connsiteX6" fmla="*/ 9688 w 17506"/>
                <a:gd name="connsiteY6" fmla="*/ 7581 h 200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506" h="20005">
                  <a:moveTo>
                    <a:pt x="9688" y="7581"/>
                  </a:moveTo>
                  <a:cubicBezTo>
                    <a:pt x="14531" y="7581"/>
                    <a:pt x="4001" y="0"/>
                    <a:pt x="1895" y="0"/>
                  </a:cubicBezTo>
                  <a:cubicBezTo>
                    <a:pt x="4843" y="0"/>
                    <a:pt x="5896" y="7160"/>
                    <a:pt x="0" y="7160"/>
                  </a:cubicBezTo>
                  <a:cubicBezTo>
                    <a:pt x="5896" y="7160"/>
                    <a:pt x="7792" y="13899"/>
                    <a:pt x="5896" y="13899"/>
                  </a:cubicBezTo>
                  <a:cubicBezTo>
                    <a:pt x="7792" y="13899"/>
                    <a:pt x="15583" y="20006"/>
                    <a:pt x="13478" y="20006"/>
                  </a:cubicBezTo>
                  <a:cubicBezTo>
                    <a:pt x="15583" y="20006"/>
                    <a:pt x="19374" y="16215"/>
                    <a:pt x="16425" y="16215"/>
                  </a:cubicBezTo>
                  <a:cubicBezTo>
                    <a:pt x="19374" y="16426"/>
                    <a:pt x="15583" y="7581"/>
                    <a:pt x="9688" y="758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0" name="Forme libre : forme 184">
              <a:extLst>
                <a:ext uri="{FF2B5EF4-FFF2-40B4-BE49-F238E27FC236}">
                  <a16:creationId xmlns:a16="http://schemas.microsoft.com/office/drawing/2014/main" id="{2C7DFE38-BF1E-48C9-B7A5-D5BC9E0CF968}"/>
                </a:ext>
              </a:extLst>
            </p:cNvPr>
            <p:cNvSpPr/>
            <p:nvPr/>
          </p:nvSpPr>
          <p:spPr>
            <a:xfrm>
              <a:off x="11693248" y="4694629"/>
              <a:ext cx="12339" cy="14530"/>
            </a:xfrm>
            <a:custGeom>
              <a:avLst/>
              <a:gdLst>
                <a:gd name="connsiteX0" fmla="*/ 9477 w 12339"/>
                <a:gd name="connsiteY0" fmla="*/ 9055 h 14530"/>
                <a:gd name="connsiteX1" fmla="*/ 2738 w 12339"/>
                <a:gd name="connsiteY1" fmla="*/ 0 h 14530"/>
                <a:gd name="connsiteX2" fmla="*/ 0 w 12339"/>
                <a:gd name="connsiteY2" fmla="*/ 8213 h 14530"/>
                <a:gd name="connsiteX3" fmla="*/ 7582 w 12339"/>
                <a:gd name="connsiteY3" fmla="*/ 14531 h 14530"/>
                <a:gd name="connsiteX4" fmla="*/ 10529 w 12339"/>
                <a:gd name="connsiteY4" fmla="*/ 9687 h 14530"/>
                <a:gd name="connsiteX5" fmla="*/ 9477 w 12339"/>
                <a:gd name="connsiteY5" fmla="*/ 9055 h 145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339" h="14530">
                  <a:moveTo>
                    <a:pt x="9477" y="9055"/>
                  </a:moveTo>
                  <a:cubicBezTo>
                    <a:pt x="14110" y="9055"/>
                    <a:pt x="4634" y="0"/>
                    <a:pt x="2738" y="0"/>
                  </a:cubicBezTo>
                  <a:cubicBezTo>
                    <a:pt x="5686" y="0"/>
                    <a:pt x="5686" y="8213"/>
                    <a:pt x="0" y="8213"/>
                  </a:cubicBezTo>
                  <a:cubicBezTo>
                    <a:pt x="7582" y="8213"/>
                    <a:pt x="11583" y="14531"/>
                    <a:pt x="7582" y="14531"/>
                  </a:cubicBezTo>
                  <a:cubicBezTo>
                    <a:pt x="11583" y="14531"/>
                    <a:pt x="14320" y="9687"/>
                    <a:pt x="10529" y="9687"/>
                  </a:cubicBezTo>
                  <a:cubicBezTo>
                    <a:pt x="10529" y="9687"/>
                    <a:pt x="10529" y="9055"/>
                    <a:pt x="9477" y="905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1" name="Forme libre : forme 185">
              <a:extLst>
                <a:ext uri="{FF2B5EF4-FFF2-40B4-BE49-F238E27FC236}">
                  <a16:creationId xmlns:a16="http://schemas.microsoft.com/office/drawing/2014/main" id="{9F7B5C5E-BC1E-411D-A7FD-2BE082D773E5}"/>
                </a:ext>
              </a:extLst>
            </p:cNvPr>
            <p:cNvSpPr/>
            <p:nvPr/>
          </p:nvSpPr>
          <p:spPr>
            <a:xfrm>
              <a:off x="11452966" y="4500045"/>
              <a:ext cx="39536" cy="29271"/>
            </a:xfrm>
            <a:custGeom>
              <a:avLst/>
              <a:gdLst>
                <a:gd name="connsiteX0" fmla="*/ 36432 w 39536"/>
                <a:gd name="connsiteY0" fmla="*/ 25481 h 29271"/>
                <a:gd name="connsiteX1" fmla="*/ 22953 w 39536"/>
                <a:gd name="connsiteY1" fmla="*/ 13056 h 29271"/>
                <a:gd name="connsiteX2" fmla="*/ 5686 w 39536"/>
                <a:gd name="connsiteY2" fmla="*/ 1474 h 29271"/>
                <a:gd name="connsiteX3" fmla="*/ 0 w 39536"/>
                <a:gd name="connsiteY3" fmla="*/ 0 h 29271"/>
                <a:gd name="connsiteX4" fmla="*/ 13478 w 39536"/>
                <a:gd name="connsiteY4" fmla="*/ 16847 h 29271"/>
                <a:gd name="connsiteX5" fmla="*/ 31588 w 39536"/>
                <a:gd name="connsiteY5" fmla="*/ 29272 h 29271"/>
                <a:gd name="connsiteX6" fmla="*/ 36432 w 39536"/>
                <a:gd name="connsiteY6" fmla="*/ 25481 h 29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9536" h="29271">
                  <a:moveTo>
                    <a:pt x="36432" y="25481"/>
                  </a:moveTo>
                  <a:cubicBezTo>
                    <a:pt x="46119" y="25481"/>
                    <a:pt x="30746" y="19795"/>
                    <a:pt x="22953" y="13056"/>
                  </a:cubicBezTo>
                  <a:cubicBezTo>
                    <a:pt x="14320" y="13056"/>
                    <a:pt x="12424" y="1474"/>
                    <a:pt x="5686" y="1474"/>
                  </a:cubicBezTo>
                  <a:cubicBezTo>
                    <a:pt x="12424" y="1474"/>
                    <a:pt x="6739" y="0"/>
                    <a:pt x="0" y="0"/>
                  </a:cubicBezTo>
                  <a:cubicBezTo>
                    <a:pt x="4843" y="0"/>
                    <a:pt x="21059" y="16847"/>
                    <a:pt x="13478" y="16847"/>
                  </a:cubicBezTo>
                  <a:cubicBezTo>
                    <a:pt x="21270" y="16847"/>
                    <a:pt x="37484" y="29272"/>
                    <a:pt x="31588" y="29272"/>
                  </a:cubicBezTo>
                  <a:cubicBezTo>
                    <a:pt x="37484" y="29272"/>
                    <a:pt x="41276" y="25481"/>
                    <a:pt x="36432" y="2548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2" name="Forme libre : forme 186">
              <a:extLst>
                <a:ext uri="{FF2B5EF4-FFF2-40B4-BE49-F238E27FC236}">
                  <a16:creationId xmlns:a16="http://schemas.microsoft.com/office/drawing/2014/main" id="{B3EBBACA-B645-4C05-9250-CA5AD3E566EE}"/>
                </a:ext>
              </a:extLst>
            </p:cNvPr>
            <p:cNvSpPr/>
            <p:nvPr/>
          </p:nvSpPr>
          <p:spPr>
            <a:xfrm>
              <a:off x="11412743" y="4423601"/>
              <a:ext cx="40735" cy="57069"/>
            </a:xfrm>
            <a:custGeom>
              <a:avLst/>
              <a:gdLst>
                <a:gd name="connsiteX0" fmla="*/ 24007 w 40735"/>
                <a:gd name="connsiteY0" fmla="*/ 32220 h 57069"/>
                <a:gd name="connsiteX1" fmla="*/ 9688 w 40735"/>
                <a:gd name="connsiteY1" fmla="*/ 13478 h 57069"/>
                <a:gd name="connsiteX2" fmla="*/ 0 w 40735"/>
                <a:gd name="connsiteY2" fmla="*/ 0 h 57069"/>
                <a:gd name="connsiteX3" fmla="*/ 6739 w 40735"/>
                <a:gd name="connsiteY3" fmla="*/ 21691 h 57069"/>
                <a:gd name="connsiteX4" fmla="*/ 22113 w 40735"/>
                <a:gd name="connsiteY4" fmla="*/ 41275 h 57069"/>
                <a:gd name="connsiteX5" fmla="*/ 37485 w 40735"/>
                <a:gd name="connsiteY5" fmla="*/ 57069 h 57069"/>
                <a:gd name="connsiteX6" fmla="*/ 37485 w 40735"/>
                <a:gd name="connsiteY6" fmla="*/ 49278 h 57069"/>
                <a:gd name="connsiteX7" fmla="*/ 24007 w 40735"/>
                <a:gd name="connsiteY7" fmla="*/ 32220 h 57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35" h="57069">
                  <a:moveTo>
                    <a:pt x="24007" y="32220"/>
                  </a:moveTo>
                  <a:cubicBezTo>
                    <a:pt x="33695" y="32220"/>
                    <a:pt x="15374" y="13478"/>
                    <a:pt x="9688" y="13478"/>
                  </a:cubicBezTo>
                  <a:cubicBezTo>
                    <a:pt x="16427" y="13478"/>
                    <a:pt x="6739" y="0"/>
                    <a:pt x="0" y="0"/>
                  </a:cubicBezTo>
                  <a:cubicBezTo>
                    <a:pt x="6739" y="0"/>
                    <a:pt x="16216" y="21691"/>
                    <a:pt x="6739" y="21691"/>
                  </a:cubicBezTo>
                  <a:cubicBezTo>
                    <a:pt x="15374" y="21691"/>
                    <a:pt x="29694" y="41275"/>
                    <a:pt x="22113" y="41275"/>
                  </a:cubicBezTo>
                  <a:cubicBezTo>
                    <a:pt x="29694" y="41275"/>
                    <a:pt x="40434" y="57069"/>
                    <a:pt x="37485" y="57069"/>
                  </a:cubicBezTo>
                  <a:cubicBezTo>
                    <a:pt x="41276" y="57069"/>
                    <a:pt x="42329" y="49278"/>
                    <a:pt x="37485" y="49278"/>
                  </a:cubicBezTo>
                  <a:cubicBezTo>
                    <a:pt x="42118" y="49699"/>
                    <a:pt x="31588" y="32220"/>
                    <a:pt x="24007" y="32220"/>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3" name="Forme libre : forme 187">
              <a:extLst>
                <a:ext uri="{FF2B5EF4-FFF2-40B4-BE49-F238E27FC236}">
                  <a16:creationId xmlns:a16="http://schemas.microsoft.com/office/drawing/2014/main" id="{7285A137-3A75-4978-A221-5F4743F4542A}"/>
                </a:ext>
              </a:extLst>
            </p:cNvPr>
            <p:cNvSpPr/>
            <p:nvPr/>
          </p:nvSpPr>
          <p:spPr>
            <a:xfrm>
              <a:off x="11322401" y="4371585"/>
              <a:ext cx="62413" cy="51106"/>
            </a:xfrm>
            <a:custGeom>
              <a:avLst/>
              <a:gdLst>
                <a:gd name="connsiteX0" fmla="*/ 56649 w 62413"/>
                <a:gd name="connsiteY0" fmla="*/ 40223 h 51106"/>
                <a:gd name="connsiteX1" fmla="*/ 36432 w 62413"/>
                <a:gd name="connsiteY1" fmla="*/ 24428 h 51106"/>
                <a:gd name="connsiteX2" fmla="*/ 18110 w 62413"/>
                <a:gd name="connsiteY2" fmla="*/ 12003 h 51106"/>
                <a:gd name="connsiteX3" fmla="*/ 0 w 62413"/>
                <a:gd name="connsiteY3" fmla="*/ 0 h 51106"/>
                <a:gd name="connsiteX4" fmla="*/ 5686 w 62413"/>
                <a:gd name="connsiteY4" fmla="*/ 8213 h 51106"/>
                <a:gd name="connsiteX5" fmla="*/ 22955 w 62413"/>
                <a:gd name="connsiteY5" fmla="*/ 22533 h 51106"/>
                <a:gd name="connsiteX6" fmla="*/ 40223 w 62413"/>
                <a:gd name="connsiteY6" fmla="*/ 37906 h 51106"/>
                <a:gd name="connsiteX7" fmla="*/ 56438 w 62413"/>
                <a:gd name="connsiteY7" fmla="*/ 49489 h 51106"/>
                <a:gd name="connsiteX8" fmla="*/ 56649 w 62413"/>
                <a:gd name="connsiteY8" fmla="*/ 40223 h 51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2413" h="51106">
                  <a:moveTo>
                    <a:pt x="56649" y="40223"/>
                  </a:moveTo>
                  <a:cubicBezTo>
                    <a:pt x="63388" y="40223"/>
                    <a:pt x="42329" y="24428"/>
                    <a:pt x="36432" y="24428"/>
                  </a:cubicBezTo>
                  <a:cubicBezTo>
                    <a:pt x="43171" y="24428"/>
                    <a:pt x="24007" y="12003"/>
                    <a:pt x="18110" y="12003"/>
                  </a:cubicBezTo>
                  <a:cubicBezTo>
                    <a:pt x="24849" y="12003"/>
                    <a:pt x="2738" y="0"/>
                    <a:pt x="0" y="0"/>
                  </a:cubicBezTo>
                  <a:cubicBezTo>
                    <a:pt x="1896" y="0"/>
                    <a:pt x="10529" y="8213"/>
                    <a:pt x="5686" y="8213"/>
                  </a:cubicBezTo>
                  <a:cubicBezTo>
                    <a:pt x="10529" y="8213"/>
                    <a:pt x="28851" y="22533"/>
                    <a:pt x="22955" y="22533"/>
                  </a:cubicBezTo>
                  <a:cubicBezTo>
                    <a:pt x="29694" y="22533"/>
                    <a:pt x="35379" y="28219"/>
                    <a:pt x="40223" y="37906"/>
                  </a:cubicBezTo>
                  <a:cubicBezTo>
                    <a:pt x="52647" y="37906"/>
                    <a:pt x="62335" y="49489"/>
                    <a:pt x="56438" y="49489"/>
                  </a:cubicBezTo>
                  <a:cubicBezTo>
                    <a:pt x="63388" y="49278"/>
                    <a:pt x="65283" y="57069"/>
                    <a:pt x="56649" y="40223"/>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4" name="Forme libre : forme 188">
              <a:extLst>
                <a:ext uri="{FF2B5EF4-FFF2-40B4-BE49-F238E27FC236}">
                  <a16:creationId xmlns:a16="http://schemas.microsoft.com/office/drawing/2014/main" id="{32D0F9E3-2564-4136-B012-98919E3F917D}"/>
                </a:ext>
              </a:extLst>
            </p:cNvPr>
            <p:cNvSpPr/>
            <p:nvPr/>
          </p:nvSpPr>
          <p:spPr>
            <a:xfrm>
              <a:off x="11255012" y="4326730"/>
              <a:ext cx="46516" cy="37484"/>
            </a:xfrm>
            <a:custGeom>
              <a:avLst/>
              <a:gdLst>
                <a:gd name="connsiteX0" fmla="*/ 31799 w 46516"/>
                <a:gd name="connsiteY0" fmla="*/ 27377 h 37484"/>
                <a:gd name="connsiteX1" fmla="*/ 16427 w 46516"/>
                <a:gd name="connsiteY1" fmla="*/ 13899 h 37484"/>
                <a:gd name="connsiteX2" fmla="*/ 0 w 46516"/>
                <a:gd name="connsiteY2" fmla="*/ 0 h 37484"/>
                <a:gd name="connsiteX3" fmla="*/ 1896 w 46516"/>
                <a:gd name="connsiteY3" fmla="*/ 7581 h 37484"/>
                <a:gd name="connsiteX4" fmla="*/ 18321 w 46516"/>
                <a:gd name="connsiteY4" fmla="*/ 24007 h 37484"/>
                <a:gd name="connsiteX5" fmla="*/ 34537 w 46516"/>
                <a:gd name="connsiteY5" fmla="*/ 34537 h 37484"/>
                <a:gd name="connsiteX6" fmla="*/ 44224 w 46516"/>
                <a:gd name="connsiteY6" fmla="*/ 37485 h 37484"/>
                <a:gd name="connsiteX7" fmla="*/ 31799 w 46516"/>
                <a:gd name="connsiteY7" fmla="*/ 27377 h 3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6" h="37484">
                  <a:moveTo>
                    <a:pt x="31799" y="27377"/>
                  </a:moveTo>
                  <a:cubicBezTo>
                    <a:pt x="39591" y="27377"/>
                    <a:pt x="23166" y="13899"/>
                    <a:pt x="16427" y="13899"/>
                  </a:cubicBezTo>
                  <a:cubicBezTo>
                    <a:pt x="22322" y="13899"/>
                    <a:pt x="2107" y="0"/>
                    <a:pt x="0" y="0"/>
                  </a:cubicBezTo>
                  <a:cubicBezTo>
                    <a:pt x="2949" y="0"/>
                    <a:pt x="13478" y="7581"/>
                    <a:pt x="1896" y="7581"/>
                  </a:cubicBezTo>
                  <a:cubicBezTo>
                    <a:pt x="13478" y="7581"/>
                    <a:pt x="24007" y="24007"/>
                    <a:pt x="18321" y="24007"/>
                  </a:cubicBezTo>
                  <a:cubicBezTo>
                    <a:pt x="24007" y="24007"/>
                    <a:pt x="41276" y="34537"/>
                    <a:pt x="34537" y="34537"/>
                  </a:cubicBezTo>
                  <a:cubicBezTo>
                    <a:pt x="40223" y="34537"/>
                    <a:pt x="46962" y="37485"/>
                    <a:pt x="44224" y="37485"/>
                  </a:cubicBezTo>
                  <a:cubicBezTo>
                    <a:pt x="49278" y="37485"/>
                    <a:pt x="46330" y="27377"/>
                    <a:pt x="31799" y="27377"/>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5" name="Forme libre : forme 189">
              <a:extLst>
                <a:ext uri="{FF2B5EF4-FFF2-40B4-BE49-F238E27FC236}">
                  <a16:creationId xmlns:a16="http://schemas.microsoft.com/office/drawing/2014/main" id="{8995DBD0-E2B6-474D-8D5F-C24E36582AC2}"/>
                </a:ext>
              </a:extLst>
            </p:cNvPr>
            <p:cNvSpPr/>
            <p:nvPr/>
          </p:nvSpPr>
          <p:spPr>
            <a:xfrm>
              <a:off x="11019573" y="4142254"/>
              <a:ext cx="105956" cy="94765"/>
            </a:xfrm>
            <a:custGeom>
              <a:avLst/>
              <a:gdLst>
                <a:gd name="connsiteX0" fmla="*/ 101083 w 105956"/>
                <a:gd name="connsiteY0" fmla="*/ 85499 h 94765"/>
                <a:gd name="connsiteX1" fmla="*/ 86763 w 105956"/>
                <a:gd name="connsiteY1" fmla="*/ 62545 h 94765"/>
                <a:gd name="connsiteX2" fmla="*/ 70337 w 105956"/>
                <a:gd name="connsiteY2" fmla="*/ 48225 h 94765"/>
                <a:gd name="connsiteX3" fmla="*/ 45277 w 105956"/>
                <a:gd name="connsiteY3" fmla="*/ 26534 h 94765"/>
                <a:gd name="connsiteX4" fmla="*/ 25060 w 105956"/>
                <a:gd name="connsiteY4" fmla="*/ 13478 h 94765"/>
                <a:gd name="connsiteX5" fmla="*/ 7792 w 105956"/>
                <a:gd name="connsiteY5" fmla="*/ 0 h 94765"/>
                <a:gd name="connsiteX6" fmla="*/ 0 w 105956"/>
                <a:gd name="connsiteY6" fmla="*/ 0 h 94765"/>
                <a:gd name="connsiteX7" fmla="*/ 19164 w 105956"/>
                <a:gd name="connsiteY7" fmla="*/ 12004 h 94765"/>
                <a:gd name="connsiteX8" fmla="*/ 35590 w 105956"/>
                <a:gd name="connsiteY8" fmla="*/ 25902 h 94765"/>
                <a:gd name="connsiteX9" fmla="*/ 51805 w 105956"/>
                <a:gd name="connsiteY9" fmla="*/ 35589 h 94765"/>
                <a:gd name="connsiteX10" fmla="*/ 74970 w 105956"/>
                <a:gd name="connsiteY10" fmla="*/ 56648 h 94765"/>
                <a:gd name="connsiteX11" fmla="*/ 84657 w 105956"/>
                <a:gd name="connsiteY11" fmla="*/ 69705 h 94765"/>
                <a:gd name="connsiteX12" fmla="*/ 90344 w 105956"/>
                <a:gd name="connsiteY12" fmla="*/ 86552 h 94765"/>
                <a:gd name="connsiteX13" fmla="*/ 102768 w 105956"/>
                <a:gd name="connsiteY13" fmla="*/ 94765 h 94765"/>
                <a:gd name="connsiteX14" fmla="*/ 101083 w 105956"/>
                <a:gd name="connsiteY14" fmla="*/ 85499 h 9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05956" h="94765">
                  <a:moveTo>
                    <a:pt x="101083" y="85499"/>
                  </a:moveTo>
                  <a:cubicBezTo>
                    <a:pt x="110770" y="85499"/>
                    <a:pt x="95187" y="62545"/>
                    <a:pt x="86763" y="62545"/>
                  </a:cubicBezTo>
                  <a:cubicBezTo>
                    <a:pt x="96450" y="62545"/>
                    <a:pt x="78129" y="48225"/>
                    <a:pt x="70337" y="48225"/>
                  </a:cubicBezTo>
                  <a:cubicBezTo>
                    <a:pt x="78971" y="48225"/>
                    <a:pt x="52016" y="26534"/>
                    <a:pt x="45277" y="26534"/>
                  </a:cubicBezTo>
                  <a:cubicBezTo>
                    <a:pt x="53069" y="26534"/>
                    <a:pt x="31799" y="13478"/>
                    <a:pt x="25060" y="13478"/>
                  </a:cubicBezTo>
                  <a:cubicBezTo>
                    <a:pt x="30746" y="13478"/>
                    <a:pt x="14531" y="0"/>
                    <a:pt x="7792" y="0"/>
                  </a:cubicBezTo>
                  <a:cubicBezTo>
                    <a:pt x="12636" y="0"/>
                    <a:pt x="7792" y="0"/>
                    <a:pt x="0" y="0"/>
                  </a:cubicBezTo>
                  <a:cubicBezTo>
                    <a:pt x="6739" y="0"/>
                    <a:pt x="28009" y="12004"/>
                    <a:pt x="19164" y="12004"/>
                  </a:cubicBezTo>
                  <a:cubicBezTo>
                    <a:pt x="28851" y="12004"/>
                    <a:pt x="43171" y="25902"/>
                    <a:pt x="35590" y="25902"/>
                  </a:cubicBezTo>
                  <a:cubicBezTo>
                    <a:pt x="42329" y="25902"/>
                    <a:pt x="39591" y="35589"/>
                    <a:pt x="51805" y="35589"/>
                  </a:cubicBezTo>
                  <a:cubicBezTo>
                    <a:pt x="63388" y="35589"/>
                    <a:pt x="84446" y="56648"/>
                    <a:pt x="74970" y="56648"/>
                  </a:cubicBezTo>
                  <a:cubicBezTo>
                    <a:pt x="83605" y="56648"/>
                    <a:pt x="92238" y="69705"/>
                    <a:pt x="84657" y="69705"/>
                  </a:cubicBezTo>
                  <a:cubicBezTo>
                    <a:pt x="92449" y="69705"/>
                    <a:pt x="101926" y="86552"/>
                    <a:pt x="90344" y="86552"/>
                  </a:cubicBezTo>
                  <a:cubicBezTo>
                    <a:pt x="101926" y="86552"/>
                    <a:pt x="106769" y="94765"/>
                    <a:pt x="102768" y="94765"/>
                  </a:cubicBezTo>
                  <a:cubicBezTo>
                    <a:pt x="106769" y="94765"/>
                    <a:pt x="107822" y="85499"/>
                    <a:pt x="101083" y="8549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6" name="Forme libre : forme 190">
              <a:extLst>
                <a:ext uri="{FF2B5EF4-FFF2-40B4-BE49-F238E27FC236}">
                  <a16:creationId xmlns:a16="http://schemas.microsoft.com/office/drawing/2014/main" id="{10A67685-F3D4-47E7-92F0-8CE2BFF48237}"/>
                </a:ext>
              </a:extLst>
            </p:cNvPr>
            <p:cNvSpPr/>
            <p:nvPr/>
          </p:nvSpPr>
          <p:spPr>
            <a:xfrm>
              <a:off x="4965346" y="1673728"/>
              <a:ext cx="6378875" cy="2017022"/>
            </a:xfrm>
            <a:custGeom>
              <a:avLst/>
              <a:gdLst>
                <a:gd name="connsiteX0" fmla="*/ 6376219 w 6378875"/>
                <a:gd name="connsiteY0" fmla="*/ 996086 h 2017022"/>
                <a:gd name="connsiteX1" fmla="*/ 6326308 w 6378875"/>
                <a:gd name="connsiteY1" fmla="*/ 970184 h 2017022"/>
                <a:gd name="connsiteX2" fmla="*/ 6269661 w 6378875"/>
                <a:gd name="connsiteY2" fmla="*/ 943860 h 2017022"/>
                <a:gd name="connsiteX3" fmla="*/ 6245653 w 6378875"/>
                <a:gd name="connsiteY3" fmla="*/ 935647 h 2017022"/>
                <a:gd name="connsiteX4" fmla="*/ 6261026 w 6378875"/>
                <a:gd name="connsiteY4" fmla="*/ 949967 h 2017022"/>
                <a:gd name="connsiteX5" fmla="*/ 6240809 w 6378875"/>
                <a:gd name="connsiteY5" fmla="*/ 939438 h 2017022"/>
                <a:gd name="connsiteX6" fmla="*/ 6224594 w 6378875"/>
                <a:gd name="connsiteY6" fmla="*/ 922170 h 2017022"/>
                <a:gd name="connsiteX7" fmla="*/ 6142886 w 6378875"/>
                <a:gd name="connsiteY7" fmla="*/ 880894 h 2017022"/>
                <a:gd name="connsiteX8" fmla="*/ 6070021 w 6378875"/>
                <a:gd name="connsiteY8" fmla="*/ 845726 h 2017022"/>
                <a:gd name="connsiteX9" fmla="*/ 6044961 w 6378875"/>
                <a:gd name="connsiteY9" fmla="*/ 831827 h 2017022"/>
                <a:gd name="connsiteX10" fmla="*/ 6002633 w 6378875"/>
                <a:gd name="connsiteY10" fmla="*/ 814137 h 2017022"/>
                <a:gd name="connsiteX11" fmla="*/ 5968939 w 6378875"/>
                <a:gd name="connsiteY11" fmla="*/ 800239 h 2017022"/>
                <a:gd name="connsiteX12" fmla="*/ 5945984 w 6378875"/>
                <a:gd name="connsiteY12" fmla="*/ 790130 h 2017022"/>
                <a:gd name="connsiteX13" fmla="*/ 5901761 w 6378875"/>
                <a:gd name="connsiteY13" fmla="*/ 774757 h 2017022"/>
                <a:gd name="connsiteX14" fmla="*/ 5872910 w 6378875"/>
                <a:gd name="connsiteY14" fmla="*/ 765281 h 2017022"/>
                <a:gd name="connsiteX15" fmla="*/ 5811419 w 6378875"/>
                <a:gd name="connsiteY15" fmla="*/ 741695 h 2017022"/>
                <a:gd name="connsiteX16" fmla="*/ 5807628 w 6378875"/>
                <a:gd name="connsiteY16" fmla="*/ 745064 h 2017022"/>
                <a:gd name="connsiteX17" fmla="*/ 5824895 w 6378875"/>
                <a:gd name="connsiteY17" fmla="*/ 758963 h 2017022"/>
                <a:gd name="connsiteX18" fmla="*/ 5803836 w 6378875"/>
                <a:gd name="connsiteY18" fmla="*/ 757068 h 2017022"/>
                <a:gd name="connsiteX19" fmla="*/ 5784673 w 6378875"/>
                <a:gd name="connsiteY19" fmla="*/ 746538 h 2017022"/>
                <a:gd name="connsiteX20" fmla="*/ 5757717 w 6378875"/>
                <a:gd name="connsiteY20" fmla="*/ 734535 h 2017022"/>
                <a:gd name="connsiteX21" fmla="*/ 5753085 w 6378875"/>
                <a:gd name="connsiteY21" fmla="*/ 727796 h 2017022"/>
                <a:gd name="connsiteX22" fmla="*/ 5779830 w 6378875"/>
                <a:gd name="connsiteY22" fmla="*/ 737904 h 2017022"/>
                <a:gd name="connsiteX23" fmla="*/ 5746135 w 6378875"/>
                <a:gd name="connsiteY23" fmla="*/ 720215 h 2017022"/>
                <a:gd name="connsiteX24" fmla="*/ 5727814 w 6378875"/>
                <a:gd name="connsiteY24" fmla="*/ 719162 h 2017022"/>
                <a:gd name="connsiteX25" fmla="*/ 5703807 w 6378875"/>
                <a:gd name="connsiteY25" fmla="*/ 714950 h 2017022"/>
                <a:gd name="connsiteX26" fmla="*/ 5646106 w 6378875"/>
                <a:gd name="connsiteY26" fmla="*/ 693891 h 2017022"/>
                <a:gd name="connsiteX27" fmla="*/ 5612622 w 6378875"/>
                <a:gd name="connsiteY27" fmla="*/ 681466 h 2017022"/>
                <a:gd name="connsiteX28" fmla="*/ 5576190 w 6378875"/>
                <a:gd name="connsiteY28" fmla="*/ 667989 h 2017022"/>
                <a:gd name="connsiteX29" fmla="*/ 5589668 w 6378875"/>
                <a:gd name="connsiteY29" fmla="*/ 668410 h 2017022"/>
                <a:gd name="connsiteX30" fmla="*/ 5584824 w 6378875"/>
                <a:gd name="connsiteY30" fmla="*/ 660197 h 2017022"/>
                <a:gd name="connsiteX31" fmla="*/ 5535968 w 6378875"/>
                <a:gd name="connsiteY31" fmla="*/ 638506 h 2017022"/>
                <a:gd name="connsiteX32" fmla="*/ 5513013 w 6378875"/>
                <a:gd name="connsiteY32" fmla="*/ 631346 h 2017022"/>
                <a:gd name="connsiteX33" fmla="*/ 5486058 w 6378875"/>
                <a:gd name="connsiteY33" fmla="*/ 618290 h 2017022"/>
                <a:gd name="connsiteX34" fmla="*/ 5466894 w 6378875"/>
                <a:gd name="connsiteY34" fmla="*/ 613025 h 2017022"/>
                <a:gd name="connsiteX35" fmla="*/ 5436149 w 6378875"/>
                <a:gd name="connsiteY35" fmla="*/ 602495 h 2017022"/>
                <a:gd name="connsiteX36" fmla="*/ 5404560 w 6378875"/>
                <a:gd name="connsiteY36" fmla="*/ 593440 h 2017022"/>
                <a:gd name="connsiteX37" fmla="*/ 5367917 w 6378875"/>
                <a:gd name="connsiteY37" fmla="*/ 579962 h 2017022"/>
                <a:gd name="connsiteX38" fmla="*/ 5345806 w 6378875"/>
                <a:gd name="connsiteY38" fmla="*/ 577646 h 2017022"/>
                <a:gd name="connsiteX39" fmla="*/ 5329380 w 6378875"/>
                <a:gd name="connsiteY39" fmla="*/ 573224 h 2017022"/>
                <a:gd name="connsiteX40" fmla="*/ 5292948 w 6378875"/>
                <a:gd name="connsiteY40" fmla="*/ 554481 h 2017022"/>
                <a:gd name="connsiteX41" fmla="*/ 5264308 w 6378875"/>
                <a:gd name="connsiteY41" fmla="*/ 541635 h 2017022"/>
                <a:gd name="connsiteX42" fmla="*/ 5257569 w 6378875"/>
                <a:gd name="connsiteY42" fmla="*/ 534475 h 2017022"/>
                <a:gd name="connsiteX43" fmla="*/ 5243249 w 6378875"/>
                <a:gd name="connsiteY43" fmla="*/ 530263 h 2017022"/>
                <a:gd name="connsiteX44" fmla="*/ 5226823 w 6378875"/>
                <a:gd name="connsiteY44" fmla="*/ 525420 h 2017022"/>
                <a:gd name="connsiteX45" fmla="*/ 5211450 w 6378875"/>
                <a:gd name="connsiteY45" fmla="*/ 516364 h 2017022"/>
                <a:gd name="connsiteX46" fmla="*/ 5203658 w 6378875"/>
                <a:gd name="connsiteY46" fmla="*/ 516786 h 2017022"/>
                <a:gd name="connsiteX47" fmla="*/ 5177755 w 6378875"/>
                <a:gd name="connsiteY47" fmla="*/ 512574 h 2017022"/>
                <a:gd name="connsiteX48" fmla="*/ 5182599 w 6378875"/>
                <a:gd name="connsiteY48" fmla="*/ 506888 h 2017022"/>
                <a:gd name="connsiteX49" fmla="*/ 5153748 w 6378875"/>
                <a:gd name="connsiteY49" fmla="*/ 494884 h 2017022"/>
                <a:gd name="connsiteX50" fmla="*/ 5144061 w 6378875"/>
                <a:gd name="connsiteY50" fmla="*/ 494042 h 2017022"/>
                <a:gd name="connsiteX51" fmla="*/ 5125740 w 6378875"/>
                <a:gd name="connsiteY51" fmla="*/ 488356 h 2017022"/>
                <a:gd name="connsiteX52" fmla="*/ 5104681 w 6378875"/>
                <a:gd name="connsiteY52" fmla="*/ 485829 h 2017022"/>
                <a:gd name="connsiteX53" fmla="*/ 5076884 w 6378875"/>
                <a:gd name="connsiteY53" fmla="*/ 480143 h 2017022"/>
                <a:gd name="connsiteX54" fmla="*/ 5118159 w 6378875"/>
                <a:gd name="connsiteY54" fmla="*/ 499307 h 2017022"/>
                <a:gd name="connsiteX55" fmla="*/ 5062563 w 6378875"/>
                <a:gd name="connsiteY55" fmla="*/ 480986 h 2017022"/>
                <a:gd name="connsiteX56" fmla="*/ 5022130 w 6378875"/>
                <a:gd name="connsiteY56" fmla="*/ 468561 h 2017022"/>
                <a:gd name="connsiteX57" fmla="*/ 4968219 w 6378875"/>
                <a:gd name="connsiteY57" fmla="*/ 454241 h 2017022"/>
                <a:gd name="connsiteX58" fmla="*/ 4939368 w 6378875"/>
                <a:gd name="connsiteY58" fmla="*/ 443711 h 2017022"/>
                <a:gd name="connsiteX59" fmla="*/ 4925891 w 6378875"/>
                <a:gd name="connsiteY59" fmla="*/ 442658 h 2017022"/>
                <a:gd name="connsiteX60" fmla="*/ 4916204 w 6378875"/>
                <a:gd name="connsiteY60" fmla="*/ 443079 h 2017022"/>
                <a:gd name="connsiteX61" fmla="*/ 4903779 w 6378875"/>
                <a:gd name="connsiteY61" fmla="*/ 445396 h 2017022"/>
                <a:gd name="connsiteX62" fmla="*/ 4917257 w 6378875"/>
                <a:gd name="connsiteY62" fmla="*/ 451714 h 2017022"/>
                <a:gd name="connsiteX63" fmla="*/ 4918099 w 6378875"/>
                <a:gd name="connsiteY63" fmla="*/ 458874 h 2017022"/>
                <a:gd name="connsiteX64" fmla="*/ 4907570 w 6378875"/>
                <a:gd name="connsiteY64" fmla="*/ 455504 h 2017022"/>
                <a:gd name="connsiteX65" fmla="*/ 4899778 w 6378875"/>
                <a:gd name="connsiteY65" fmla="*/ 446870 h 2017022"/>
                <a:gd name="connsiteX66" fmla="*/ 4884405 w 6378875"/>
                <a:gd name="connsiteY66" fmla="*/ 440552 h 2017022"/>
                <a:gd name="connsiteX67" fmla="*/ 4836390 w 6378875"/>
                <a:gd name="connsiteY67" fmla="*/ 428549 h 2017022"/>
                <a:gd name="connsiteX68" fmla="*/ 4845025 w 6378875"/>
                <a:gd name="connsiteY68" fmla="*/ 436762 h 2017022"/>
                <a:gd name="connsiteX69" fmla="*/ 4830705 w 6378875"/>
                <a:gd name="connsiteY69" fmla="*/ 433814 h 2017022"/>
                <a:gd name="connsiteX70" fmla="*/ 4805855 w 6378875"/>
                <a:gd name="connsiteY70" fmla="*/ 422863 h 2017022"/>
                <a:gd name="connsiteX71" fmla="*/ 4772161 w 6378875"/>
                <a:gd name="connsiteY71" fmla="*/ 418019 h 2017022"/>
                <a:gd name="connsiteX72" fmla="*/ 4751944 w 6378875"/>
                <a:gd name="connsiteY72" fmla="*/ 414229 h 2017022"/>
                <a:gd name="connsiteX73" fmla="*/ 4743310 w 6378875"/>
                <a:gd name="connsiteY73" fmla="*/ 407069 h 2017022"/>
                <a:gd name="connsiteX74" fmla="*/ 4731728 w 6378875"/>
                <a:gd name="connsiteY74" fmla="*/ 406648 h 2017022"/>
                <a:gd name="connsiteX75" fmla="*/ 4711511 w 6378875"/>
                <a:gd name="connsiteY75" fmla="*/ 399488 h 2017022"/>
                <a:gd name="connsiteX76" fmla="*/ 4691294 w 6378875"/>
                <a:gd name="connsiteY76" fmla="*/ 404331 h 2017022"/>
                <a:gd name="connsiteX77" fmla="*/ 4678870 w 6378875"/>
                <a:gd name="connsiteY77" fmla="*/ 412544 h 2017022"/>
                <a:gd name="connsiteX78" fmla="*/ 4651072 w 6378875"/>
                <a:gd name="connsiteY78" fmla="*/ 402436 h 2017022"/>
                <a:gd name="connsiteX79" fmla="*/ 4622221 w 6378875"/>
                <a:gd name="connsiteY79" fmla="*/ 390011 h 2017022"/>
                <a:gd name="connsiteX80" fmla="*/ 4600109 w 6378875"/>
                <a:gd name="connsiteY80" fmla="*/ 378007 h 2017022"/>
                <a:gd name="connsiteX81" fmla="*/ 4630855 w 6378875"/>
                <a:gd name="connsiteY81" fmla="*/ 388537 h 2017022"/>
                <a:gd name="connsiteX82" fmla="*/ 4648124 w 6378875"/>
                <a:gd name="connsiteY82" fmla="*/ 390011 h 2017022"/>
                <a:gd name="connsiteX83" fmla="*/ 4644333 w 6378875"/>
                <a:gd name="connsiteY83" fmla="*/ 383693 h 2017022"/>
                <a:gd name="connsiteX84" fmla="*/ 4652125 w 6378875"/>
                <a:gd name="connsiteY84" fmla="*/ 381377 h 2017022"/>
                <a:gd name="connsiteX85" fmla="*/ 4665602 w 6378875"/>
                <a:gd name="connsiteY85" fmla="*/ 383272 h 2017022"/>
                <a:gd name="connsiteX86" fmla="*/ 4650230 w 6378875"/>
                <a:gd name="connsiteY86" fmla="*/ 368742 h 2017022"/>
                <a:gd name="connsiteX87" fmla="*/ 4623274 w 6378875"/>
                <a:gd name="connsiteY87" fmla="*/ 359686 h 2017022"/>
                <a:gd name="connsiteX88" fmla="*/ 4627065 w 6378875"/>
                <a:gd name="connsiteY88" fmla="*/ 355896 h 2017022"/>
                <a:gd name="connsiteX89" fmla="*/ 4603058 w 6378875"/>
                <a:gd name="connsiteY89" fmla="*/ 354000 h 2017022"/>
                <a:gd name="connsiteX90" fmla="*/ 4613587 w 6378875"/>
                <a:gd name="connsiteY90" fmla="*/ 350631 h 2017022"/>
                <a:gd name="connsiteX91" fmla="*/ 4596319 w 6378875"/>
                <a:gd name="connsiteY91" fmla="*/ 347683 h 2017022"/>
                <a:gd name="connsiteX92" fmla="*/ 4564520 w 6378875"/>
                <a:gd name="connsiteY92" fmla="*/ 337574 h 2017022"/>
                <a:gd name="connsiteX93" fmla="*/ 4534827 w 6378875"/>
                <a:gd name="connsiteY93" fmla="*/ 332731 h 2017022"/>
                <a:gd name="connsiteX94" fmla="*/ 4510820 w 6378875"/>
                <a:gd name="connsiteY94" fmla="*/ 327887 h 2017022"/>
                <a:gd name="connsiteX95" fmla="*/ 4468491 w 6378875"/>
                <a:gd name="connsiteY95" fmla="*/ 315462 h 2017022"/>
                <a:gd name="connsiteX96" fmla="*/ 4439641 w 6378875"/>
                <a:gd name="connsiteY96" fmla="*/ 307250 h 2017022"/>
                <a:gd name="connsiteX97" fmla="*/ 4412685 w 6378875"/>
                <a:gd name="connsiteY97" fmla="*/ 303880 h 2017022"/>
                <a:gd name="connsiteX98" fmla="*/ 4409947 w 6378875"/>
                <a:gd name="connsiteY98" fmla="*/ 309145 h 2017022"/>
                <a:gd name="connsiteX99" fmla="*/ 4421530 w 6378875"/>
                <a:gd name="connsiteY99" fmla="*/ 319674 h 2017022"/>
                <a:gd name="connsiteX100" fmla="*/ 4394574 w 6378875"/>
                <a:gd name="connsiteY100" fmla="*/ 311882 h 2017022"/>
                <a:gd name="connsiteX101" fmla="*/ 4370567 w 6378875"/>
                <a:gd name="connsiteY101" fmla="*/ 309145 h 2017022"/>
                <a:gd name="connsiteX102" fmla="*/ 4342769 w 6378875"/>
                <a:gd name="connsiteY102" fmla="*/ 303248 h 2017022"/>
                <a:gd name="connsiteX103" fmla="*/ 4312866 w 6378875"/>
                <a:gd name="connsiteY103" fmla="*/ 293561 h 2017022"/>
                <a:gd name="connsiteX104" fmla="*/ 4298335 w 6378875"/>
                <a:gd name="connsiteY104" fmla="*/ 283453 h 2017022"/>
                <a:gd name="connsiteX105" fmla="*/ 4263799 w 6378875"/>
                <a:gd name="connsiteY105" fmla="*/ 277767 h 2017022"/>
                <a:gd name="connsiteX106" fmla="*/ 4208203 w 6378875"/>
                <a:gd name="connsiteY106" fmla="*/ 262815 h 2017022"/>
                <a:gd name="connsiteX107" fmla="*/ 4156188 w 6378875"/>
                <a:gd name="connsiteY107" fmla="*/ 253128 h 2017022"/>
                <a:gd name="connsiteX108" fmla="*/ 4122703 w 6378875"/>
                <a:gd name="connsiteY108" fmla="*/ 246389 h 2017022"/>
                <a:gd name="connsiteX109" fmla="*/ 4104382 w 6378875"/>
                <a:gd name="connsiteY109" fmla="*/ 239229 h 2017022"/>
                <a:gd name="connsiteX110" fmla="*/ 4105436 w 6378875"/>
                <a:gd name="connsiteY110" fmla="*/ 234386 h 2017022"/>
                <a:gd name="connsiteX111" fmla="*/ 4112174 w 6378875"/>
                <a:gd name="connsiteY111" fmla="*/ 232912 h 2017022"/>
                <a:gd name="connsiteX112" fmla="*/ 4077638 w 6378875"/>
                <a:gd name="connsiteY112" fmla="*/ 224277 h 2017022"/>
                <a:gd name="connsiteX113" fmla="*/ 4063318 w 6378875"/>
                <a:gd name="connsiteY113" fmla="*/ 221329 h 2017022"/>
                <a:gd name="connsiteX114" fmla="*/ 4062264 w 6378875"/>
                <a:gd name="connsiteY114" fmla="*/ 227647 h 2017022"/>
                <a:gd name="connsiteX115" fmla="*/ 4087325 w 6378875"/>
                <a:gd name="connsiteY115" fmla="*/ 234807 h 2017022"/>
                <a:gd name="connsiteX116" fmla="*/ 4093011 w 6378875"/>
                <a:gd name="connsiteY116" fmla="*/ 240072 h 2017022"/>
                <a:gd name="connsiteX117" fmla="*/ 4062264 w 6378875"/>
                <a:gd name="connsiteY117" fmla="*/ 232912 h 2017022"/>
                <a:gd name="connsiteX118" fmla="*/ 4051735 w 6378875"/>
                <a:gd name="connsiteY118" fmla="*/ 226173 h 2017022"/>
                <a:gd name="connsiteX119" fmla="*/ 4028570 w 6378875"/>
                <a:gd name="connsiteY119" fmla="*/ 223856 h 2017022"/>
                <a:gd name="connsiteX120" fmla="*/ 3997824 w 6378875"/>
                <a:gd name="connsiteY120" fmla="*/ 217539 h 2017022"/>
                <a:gd name="connsiteX121" fmla="*/ 4003721 w 6378875"/>
                <a:gd name="connsiteY121" fmla="*/ 215643 h 2017022"/>
                <a:gd name="connsiteX122" fmla="*/ 4014250 w 6378875"/>
                <a:gd name="connsiteY122" fmla="*/ 214169 h 2017022"/>
                <a:gd name="connsiteX123" fmla="*/ 4036362 w 6378875"/>
                <a:gd name="connsiteY123" fmla="*/ 216486 h 2017022"/>
                <a:gd name="connsiteX124" fmla="*/ 4053630 w 6378875"/>
                <a:gd name="connsiteY124" fmla="*/ 218381 h 2017022"/>
                <a:gd name="connsiteX125" fmla="*/ 4070899 w 6378875"/>
                <a:gd name="connsiteY125" fmla="*/ 219855 h 2017022"/>
                <a:gd name="connsiteX126" fmla="*/ 4094906 w 6378875"/>
                <a:gd name="connsiteY126" fmla="*/ 221750 h 2017022"/>
                <a:gd name="connsiteX127" fmla="*/ 4118070 w 6378875"/>
                <a:gd name="connsiteY127" fmla="*/ 222803 h 2017022"/>
                <a:gd name="connsiteX128" fmla="*/ 4111121 w 6378875"/>
                <a:gd name="connsiteY128" fmla="*/ 216064 h 2017022"/>
                <a:gd name="connsiteX129" fmla="*/ 4115123 w 6378875"/>
                <a:gd name="connsiteY129" fmla="*/ 211221 h 2017022"/>
                <a:gd name="connsiteX130" fmla="*/ 4099749 w 6378875"/>
                <a:gd name="connsiteY130" fmla="*/ 206798 h 2017022"/>
                <a:gd name="connsiteX131" fmla="*/ 4088167 w 6378875"/>
                <a:gd name="connsiteY131" fmla="*/ 197743 h 2017022"/>
                <a:gd name="connsiteX132" fmla="*/ 4080375 w 6378875"/>
                <a:gd name="connsiteY132" fmla="*/ 198796 h 2017022"/>
                <a:gd name="connsiteX133" fmla="*/ 4070688 w 6378875"/>
                <a:gd name="connsiteY133" fmla="*/ 196480 h 2017022"/>
                <a:gd name="connsiteX134" fmla="*/ 4049629 w 6378875"/>
                <a:gd name="connsiteY134" fmla="*/ 187845 h 2017022"/>
                <a:gd name="connsiteX135" fmla="*/ 4027517 w 6378875"/>
                <a:gd name="connsiteY135" fmla="*/ 183423 h 2017022"/>
                <a:gd name="connsiteX136" fmla="*/ 3999509 w 6378875"/>
                <a:gd name="connsiteY136" fmla="*/ 176684 h 2017022"/>
                <a:gd name="connsiteX137" fmla="*/ 3960129 w 6378875"/>
                <a:gd name="connsiteY137" fmla="*/ 169945 h 2017022"/>
                <a:gd name="connsiteX138" fmla="*/ 3927488 w 6378875"/>
                <a:gd name="connsiteY138" fmla="*/ 164049 h 2017022"/>
                <a:gd name="connsiteX139" fmla="*/ 3918853 w 6378875"/>
                <a:gd name="connsiteY139" fmla="*/ 165944 h 2017022"/>
                <a:gd name="connsiteX140" fmla="*/ 3900532 w 6378875"/>
                <a:gd name="connsiteY140" fmla="*/ 162575 h 2017022"/>
                <a:gd name="connsiteX141" fmla="*/ 3890845 w 6378875"/>
                <a:gd name="connsiteY141" fmla="*/ 159205 h 2017022"/>
                <a:gd name="connsiteX142" fmla="*/ 3901585 w 6378875"/>
                <a:gd name="connsiteY142" fmla="*/ 157731 h 2017022"/>
                <a:gd name="connsiteX143" fmla="*/ 3896742 w 6378875"/>
                <a:gd name="connsiteY143" fmla="*/ 153941 h 2017022"/>
                <a:gd name="connsiteX144" fmla="*/ 3860099 w 6378875"/>
                <a:gd name="connsiteY144" fmla="*/ 146781 h 2017022"/>
                <a:gd name="connsiteX145" fmla="*/ 3821561 w 6378875"/>
                <a:gd name="connsiteY145" fmla="*/ 140463 h 2017022"/>
                <a:gd name="connsiteX146" fmla="*/ 3837776 w 6378875"/>
                <a:gd name="connsiteY146" fmla="*/ 140884 h 2017022"/>
                <a:gd name="connsiteX147" fmla="*/ 3860941 w 6378875"/>
                <a:gd name="connsiteY147" fmla="*/ 144254 h 2017022"/>
                <a:gd name="connsiteX148" fmla="*/ 3859889 w 6378875"/>
                <a:gd name="connsiteY148" fmla="*/ 141305 h 2017022"/>
                <a:gd name="connsiteX149" fmla="*/ 3835039 w 6378875"/>
                <a:gd name="connsiteY149" fmla="*/ 134145 h 2017022"/>
                <a:gd name="connsiteX150" fmla="*/ 3805135 w 6378875"/>
                <a:gd name="connsiteY150" fmla="*/ 127828 h 2017022"/>
                <a:gd name="connsiteX151" fmla="*/ 3768703 w 6378875"/>
                <a:gd name="connsiteY151" fmla="*/ 123405 h 2017022"/>
                <a:gd name="connsiteX152" fmla="*/ 3742801 w 6378875"/>
                <a:gd name="connsiteY152" fmla="*/ 121510 h 2017022"/>
                <a:gd name="connsiteX153" fmla="*/ 3707211 w 6378875"/>
                <a:gd name="connsiteY153" fmla="*/ 119615 h 2017022"/>
                <a:gd name="connsiteX154" fmla="*/ 3693733 w 6378875"/>
                <a:gd name="connsiteY154" fmla="*/ 120668 h 2017022"/>
                <a:gd name="connsiteX155" fmla="*/ 3670779 w 6378875"/>
                <a:gd name="connsiteY155" fmla="*/ 118772 h 2017022"/>
                <a:gd name="connsiteX156" fmla="*/ 3638980 w 6378875"/>
                <a:gd name="connsiteY156" fmla="*/ 112033 h 2017022"/>
                <a:gd name="connsiteX157" fmla="*/ 3614973 w 6378875"/>
                <a:gd name="connsiteY157" fmla="*/ 109717 h 2017022"/>
                <a:gd name="connsiteX158" fmla="*/ 3596862 w 6378875"/>
                <a:gd name="connsiteY158" fmla="*/ 113086 h 2017022"/>
                <a:gd name="connsiteX159" fmla="*/ 3625714 w 6378875"/>
                <a:gd name="connsiteY159" fmla="*/ 116877 h 2017022"/>
                <a:gd name="connsiteX160" fmla="*/ 3637296 w 6378875"/>
                <a:gd name="connsiteY160" fmla="*/ 120246 h 2017022"/>
                <a:gd name="connsiteX161" fmla="*/ 3610340 w 6378875"/>
                <a:gd name="connsiteY161" fmla="*/ 117930 h 2017022"/>
                <a:gd name="connsiteX162" fmla="*/ 3585491 w 6378875"/>
                <a:gd name="connsiteY162" fmla="*/ 112665 h 2017022"/>
                <a:gd name="connsiteX163" fmla="*/ 3586544 w 6378875"/>
                <a:gd name="connsiteY163" fmla="*/ 110349 h 2017022"/>
                <a:gd name="connsiteX164" fmla="*/ 3561484 w 6378875"/>
                <a:gd name="connsiteY164" fmla="*/ 105505 h 2017022"/>
                <a:gd name="connsiteX165" fmla="*/ 3529685 w 6378875"/>
                <a:gd name="connsiteY165" fmla="*/ 103189 h 2017022"/>
                <a:gd name="connsiteX166" fmla="*/ 3492200 w 6378875"/>
                <a:gd name="connsiteY166" fmla="*/ 98345 h 2017022"/>
                <a:gd name="connsiteX167" fmla="*/ 3458506 w 6378875"/>
                <a:gd name="connsiteY167" fmla="*/ 94555 h 2017022"/>
                <a:gd name="connsiteX168" fmla="*/ 3438289 w 6378875"/>
                <a:gd name="connsiteY168" fmla="*/ 96029 h 2017022"/>
                <a:gd name="connsiteX169" fmla="*/ 3393644 w 6378875"/>
                <a:gd name="connsiteY169" fmla="*/ 91185 h 2017022"/>
                <a:gd name="connsiteX170" fmla="*/ 3349842 w 6378875"/>
                <a:gd name="connsiteY170" fmla="*/ 87816 h 2017022"/>
                <a:gd name="connsiteX171" fmla="*/ 3304354 w 6378875"/>
                <a:gd name="connsiteY171" fmla="*/ 85499 h 2017022"/>
                <a:gd name="connsiteX172" fmla="*/ 3265395 w 6378875"/>
                <a:gd name="connsiteY172" fmla="*/ 80656 h 2017022"/>
                <a:gd name="connsiteX173" fmla="*/ 3237597 w 6378875"/>
                <a:gd name="connsiteY173" fmla="*/ 81077 h 2017022"/>
                <a:gd name="connsiteX174" fmla="*/ 3218434 w 6378875"/>
                <a:gd name="connsiteY174" fmla="*/ 82130 h 2017022"/>
                <a:gd name="connsiteX175" fmla="*/ 3234228 w 6378875"/>
                <a:gd name="connsiteY175" fmla="*/ 88237 h 2017022"/>
                <a:gd name="connsiteX176" fmla="*/ 3238019 w 6378875"/>
                <a:gd name="connsiteY176" fmla="*/ 96029 h 2017022"/>
                <a:gd name="connsiteX177" fmla="*/ 3210221 w 6378875"/>
                <a:gd name="connsiteY177" fmla="*/ 92659 h 2017022"/>
                <a:gd name="connsiteX178" fmla="*/ 3166419 w 6378875"/>
                <a:gd name="connsiteY178" fmla="*/ 91185 h 2017022"/>
                <a:gd name="connsiteX179" fmla="*/ 3117562 w 6378875"/>
                <a:gd name="connsiteY179" fmla="*/ 85499 h 2017022"/>
                <a:gd name="connsiteX180" fmla="*/ 3091238 w 6378875"/>
                <a:gd name="connsiteY180" fmla="*/ 82130 h 2017022"/>
                <a:gd name="connsiteX181" fmla="*/ 3074391 w 6378875"/>
                <a:gd name="connsiteY181" fmla="*/ 84025 h 2017022"/>
                <a:gd name="connsiteX182" fmla="*/ 3089764 w 6378875"/>
                <a:gd name="connsiteY182" fmla="*/ 93712 h 2017022"/>
                <a:gd name="connsiteX183" fmla="*/ 3096081 w 6378875"/>
                <a:gd name="connsiteY183" fmla="*/ 101925 h 2017022"/>
                <a:gd name="connsiteX184" fmla="*/ 3127670 w 6378875"/>
                <a:gd name="connsiteY184" fmla="*/ 106137 h 2017022"/>
                <a:gd name="connsiteX185" fmla="*/ 3149360 w 6378875"/>
                <a:gd name="connsiteY185" fmla="*/ 114350 h 2017022"/>
                <a:gd name="connsiteX186" fmla="*/ 3174842 w 6378875"/>
                <a:gd name="connsiteY186" fmla="*/ 121089 h 2017022"/>
                <a:gd name="connsiteX187" fmla="*/ 3185372 w 6378875"/>
                <a:gd name="connsiteY187" fmla="*/ 128249 h 2017022"/>
                <a:gd name="connsiteX188" fmla="*/ 3181581 w 6378875"/>
                <a:gd name="connsiteY188" fmla="*/ 134566 h 2017022"/>
                <a:gd name="connsiteX189" fmla="*/ 3196954 w 6378875"/>
                <a:gd name="connsiteY189" fmla="*/ 144043 h 2017022"/>
                <a:gd name="connsiteX190" fmla="*/ 3177369 w 6378875"/>
                <a:gd name="connsiteY190" fmla="*/ 146991 h 2017022"/>
                <a:gd name="connsiteX191" fmla="*/ 3198007 w 6378875"/>
                <a:gd name="connsiteY191" fmla="*/ 156047 h 2017022"/>
                <a:gd name="connsiteX192" fmla="*/ 3224331 w 6378875"/>
                <a:gd name="connsiteY192" fmla="*/ 163207 h 2017022"/>
                <a:gd name="connsiteX193" fmla="*/ 3219487 w 6378875"/>
                <a:gd name="connsiteY193" fmla="*/ 164259 h 2017022"/>
                <a:gd name="connsiteX194" fmla="*/ 3191689 w 6378875"/>
                <a:gd name="connsiteY194" fmla="*/ 156047 h 2017022"/>
                <a:gd name="connsiteX195" fmla="*/ 3173368 w 6378875"/>
                <a:gd name="connsiteY195" fmla="*/ 147834 h 2017022"/>
                <a:gd name="connsiteX196" fmla="*/ 3177158 w 6378875"/>
                <a:gd name="connsiteY196" fmla="*/ 144043 h 2017022"/>
                <a:gd name="connsiteX197" fmla="*/ 3189583 w 6378875"/>
                <a:gd name="connsiteY197" fmla="*/ 141726 h 2017022"/>
                <a:gd name="connsiteX198" fmla="*/ 3171262 w 6378875"/>
                <a:gd name="connsiteY198" fmla="*/ 132039 h 2017022"/>
                <a:gd name="connsiteX199" fmla="*/ 3174210 w 6378875"/>
                <a:gd name="connsiteY199" fmla="*/ 126775 h 2017022"/>
                <a:gd name="connsiteX200" fmla="*/ 3176737 w 6378875"/>
                <a:gd name="connsiteY200" fmla="*/ 122984 h 2017022"/>
                <a:gd name="connsiteX201" fmla="*/ 3152309 w 6378875"/>
                <a:gd name="connsiteY201" fmla="*/ 119193 h 2017022"/>
                <a:gd name="connsiteX202" fmla="*/ 3127249 w 6378875"/>
                <a:gd name="connsiteY202" fmla="*/ 115824 h 2017022"/>
                <a:gd name="connsiteX203" fmla="*/ 3115245 w 6378875"/>
                <a:gd name="connsiteY203" fmla="*/ 107611 h 2017022"/>
                <a:gd name="connsiteX204" fmla="*/ 3091659 w 6378875"/>
                <a:gd name="connsiteY204" fmla="*/ 106137 h 2017022"/>
                <a:gd name="connsiteX205" fmla="*/ 3071022 w 6378875"/>
                <a:gd name="connsiteY205" fmla="*/ 100872 h 2017022"/>
                <a:gd name="connsiteX206" fmla="*/ 3035432 w 6378875"/>
                <a:gd name="connsiteY206" fmla="*/ 93080 h 2017022"/>
                <a:gd name="connsiteX207" fmla="*/ 3009951 w 6378875"/>
                <a:gd name="connsiteY207" fmla="*/ 84867 h 2017022"/>
                <a:gd name="connsiteX208" fmla="*/ 3036906 w 6378875"/>
                <a:gd name="connsiteY208" fmla="*/ 89711 h 2017022"/>
                <a:gd name="connsiteX209" fmla="*/ 3057123 w 6378875"/>
                <a:gd name="connsiteY209" fmla="*/ 90764 h 2017022"/>
                <a:gd name="connsiteX210" fmla="*/ 3041750 w 6378875"/>
                <a:gd name="connsiteY210" fmla="*/ 80234 h 2017022"/>
                <a:gd name="connsiteX211" fmla="*/ 3017742 w 6378875"/>
                <a:gd name="connsiteY211" fmla="*/ 80234 h 2017022"/>
                <a:gd name="connsiteX212" fmla="*/ 2994788 w 6378875"/>
                <a:gd name="connsiteY212" fmla="*/ 74549 h 2017022"/>
                <a:gd name="connsiteX213" fmla="*/ 2967412 w 6378875"/>
                <a:gd name="connsiteY213" fmla="*/ 70337 h 2017022"/>
                <a:gd name="connsiteX214" fmla="*/ 2929927 w 6378875"/>
                <a:gd name="connsiteY214" fmla="*/ 62545 h 2017022"/>
                <a:gd name="connsiteX215" fmla="*/ 2909711 w 6378875"/>
                <a:gd name="connsiteY215" fmla="*/ 62966 h 2017022"/>
                <a:gd name="connsiteX216" fmla="*/ 2877490 w 6378875"/>
                <a:gd name="connsiteY216" fmla="*/ 62124 h 2017022"/>
                <a:gd name="connsiteX217" fmla="*/ 2865065 w 6378875"/>
                <a:gd name="connsiteY217" fmla="*/ 63598 h 2017022"/>
                <a:gd name="connsiteX218" fmla="*/ 2901497 w 6378875"/>
                <a:gd name="connsiteY218" fmla="*/ 76023 h 2017022"/>
                <a:gd name="connsiteX219" fmla="*/ 2895180 w 6378875"/>
                <a:gd name="connsiteY219" fmla="*/ 82762 h 2017022"/>
                <a:gd name="connsiteX220" fmla="*/ 2867803 w 6378875"/>
                <a:gd name="connsiteY220" fmla="*/ 82762 h 2017022"/>
                <a:gd name="connsiteX221" fmla="*/ 2851167 w 6378875"/>
                <a:gd name="connsiteY221" fmla="*/ 87184 h 2017022"/>
                <a:gd name="connsiteX222" fmla="*/ 2852640 w 6378875"/>
                <a:gd name="connsiteY222" fmla="*/ 92027 h 2017022"/>
                <a:gd name="connsiteX223" fmla="*/ 2876016 w 6378875"/>
                <a:gd name="connsiteY223" fmla="*/ 100662 h 2017022"/>
                <a:gd name="connsiteX224" fmla="*/ 2873699 w 6378875"/>
                <a:gd name="connsiteY224" fmla="*/ 104873 h 2017022"/>
                <a:gd name="connsiteX225" fmla="*/ 2864012 w 6378875"/>
                <a:gd name="connsiteY225" fmla="*/ 98135 h 2017022"/>
                <a:gd name="connsiteX226" fmla="*/ 2842953 w 6378875"/>
                <a:gd name="connsiteY226" fmla="*/ 91817 h 2017022"/>
                <a:gd name="connsiteX227" fmla="*/ 2822737 w 6378875"/>
                <a:gd name="connsiteY227" fmla="*/ 86973 h 2017022"/>
                <a:gd name="connsiteX228" fmla="*/ 2822737 w 6378875"/>
                <a:gd name="connsiteY228" fmla="*/ 81287 h 2017022"/>
                <a:gd name="connsiteX229" fmla="*/ 2844006 w 6378875"/>
                <a:gd name="connsiteY229" fmla="*/ 75601 h 2017022"/>
                <a:gd name="connsiteX230" fmla="*/ 2865908 w 6378875"/>
                <a:gd name="connsiteY230" fmla="*/ 77918 h 2017022"/>
                <a:gd name="connsiteX231" fmla="*/ 2862117 w 6378875"/>
                <a:gd name="connsiteY231" fmla="*/ 69705 h 2017022"/>
                <a:gd name="connsiteX232" fmla="*/ 2837689 w 6378875"/>
                <a:gd name="connsiteY232" fmla="*/ 65914 h 2017022"/>
                <a:gd name="connsiteX233" fmla="*/ 2802521 w 6378875"/>
                <a:gd name="connsiteY233" fmla="*/ 58333 h 2017022"/>
                <a:gd name="connsiteX234" fmla="*/ 2787568 w 6378875"/>
                <a:gd name="connsiteY234" fmla="*/ 49699 h 2017022"/>
                <a:gd name="connsiteX235" fmla="*/ 2742924 w 6378875"/>
                <a:gd name="connsiteY235" fmla="*/ 42960 h 2017022"/>
                <a:gd name="connsiteX236" fmla="*/ 2731341 w 6378875"/>
                <a:gd name="connsiteY236" fmla="*/ 48646 h 2017022"/>
                <a:gd name="connsiteX237" fmla="*/ 2712178 w 6378875"/>
                <a:gd name="connsiteY237" fmla="*/ 53911 h 2017022"/>
                <a:gd name="connsiteX238" fmla="*/ 2698279 w 6378875"/>
                <a:gd name="connsiteY238" fmla="*/ 58754 h 2017022"/>
                <a:gd name="connsiteX239" fmla="*/ 2689224 w 6378875"/>
                <a:gd name="connsiteY239" fmla="*/ 68441 h 2017022"/>
                <a:gd name="connsiteX240" fmla="*/ 2645000 w 6378875"/>
                <a:gd name="connsiteY240" fmla="*/ 70337 h 2017022"/>
                <a:gd name="connsiteX241" fmla="*/ 2632575 w 6378875"/>
                <a:gd name="connsiteY241" fmla="*/ 79392 h 2017022"/>
                <a:gd name="connsiteX242" fmla="*/ 2653634 w 6378875"/>
                <a:gd name="connsiteY242" fmla="*/ 89079 h 2017022"/>
                <a:gd name="connsiteX243" fmla="*/ 2649844 w 6378875"/>
                <a:gd name="connsiteY243" fmla="*/ 100662 h 2017022"/>
                <a:gd name="connsiteX244" fmla="*/ 2674271 w 6378875"/>
                <a:gd name="connsiteY244" fmla="*/ 104452 h 2017022"/>
                <a:gd name="connsiteX245" fmla="*/ 2690697 w 6378875"/>
                <a:gd name="connsiteY245" fmla="*/ 107822 h 2017022"/>
                <a:gd name="connsiteX246" fmla="*/ 2711335 w 6378875"/>
                <a:gd name="connsiteY246" fmla="*/ 116877 h 2017022"/>
                <a:gd name="connsiteX247" fmla="*/ 2716179 w 6378875"/>
                <a:gd name="connsiteY247" fmla="*/ 123195 h 2017022"/>
                <a:gd name="connsiteX248" fmla="*/ 2685433 w 6378875"/>
                <a:gd name="connsiteY248" fmla="*/ 121721 h 2017022"/>
                <a:gd name="connsiteX249" fmla="*/ 2635523 w 6378875"/>
                <a:gd name="connsiteY249" fmla="*/ 107400 h 2017022"/>
                <a:gd name="connsiteX250" fmla="*/ 2578875 w 6378875"/>
                <a:gd name="connsiteY250" fmla="*/ 95397 h 2017022"/>
                <a:gd name="connsiteX251" fmla="*/ 2534651 w 6378875"/>
                <a:gd name="connsiteY251" fmla="*/ 87184 h 2017022"/>
                <a:gd name="connsiteX252" fmla="*/ 2483268 w 6378875"/>
                <a:gd name="connsiteY252" fmla="*/ 80445 h 2017022"/>
                <a:gd name="connsiteX253" fmla="*/ 2453995 w 6378875"/>
                <a:gd name="connsiteY253" fmla="*/ 77497 h 2017022"/>
                <a:gd name="connsiteX254" fmla="*/ 2443466 w 6378875"/>
                <a:gd name="connsiteY254" fmla="*/ 78971 h 2017022"/>
                <a:gd name="connsiteX255" fmla="*/ 2438622 w 6378875"/>
                <a:gd name="connsiteY255" fmla="*/ 74127 h 2017022"/>
                <a:gd name="connsiteX256" fmla="*/ 2412298 w 6378875"/>
                <a:gd name="connsiteY256" fmla="*/ 66967 h 2017022"/>
                <a:gd name="connsiteX257" fmla="*/ 2380078 w 6378875"/>
                <a:gd name="connsiteY257" fmla="*/ 61703 h 2017022"/>
                <a:gd name="connsiteX258" fmla="*/ 2370813 w 6378875"/>
                <a:gd name="connsiteY258" fmla="*/ 65493 h 2017022"/>
                <a:gd name="connsiteX259" fmla="*/ 2394399 w 6378875"/>
                <a:gd name="connsiteY259" fmla="*/ 72653 h 2017022"/>
                <a:gd name="connsiteX260" fmla="*/ 2411667 w 6378875"/>
                <a:gd name="connsiteY260" fmla="*/ 74970 h 2017022"/>
                <a:gd name="connsiteX261" fmla="*/ 2425566 w 6378875"/>
                <a:gd name="connsiteY261" fmla="*/ 77707 h 2017022"/>
                <a:gd name="connsiteX262" fmla="*/ 2438412 w 6378875"/>
                <a:gd name="connsiteY262" fmla="*/ 85499 h 2017022"/>
                <a:gd name="connsiteX263" fmla="*/ 2452943 w 6378875"/>
                <a:gd name="connsiteY263" fmla="*/ 91606 h 2017022"/>
                <a:gd name="connsiteX264" fmla="*/ 2436095 w 6378875"/>
                <a:gd name="connsiteY264" fmla="*/ 94555 h 2017022"/>
                <a:gd name="connsiteX265" fmla="*/ 2422618 w 6378875"/>
                <a:gd name="connsiteY265" fmla="*/ 88869 h 2017022"/>
                <a:gd name="connsiteX266" fmla="*/ 2419037 w 6378875"/>
                <a:gd name="connsiteY266" fmla="*/ 97082 h 2017022"/>
                <a:gd name="connsiteX267" fmla="*/ 2404718 w 6378875"/>
                <a:gd name="connsiteY267" fmla="*/ 96029 h 2017022"/>
                <a:gd name="connsiteX268" fmla="*/ 2410825 w 6378875"/>
                <a:gd name="connsiteY268" fmla="*/ 90764 h 2017022"/>
                <a:gd name="connsiteX269" fmla="*/ 2399874 w 6378875"/>
                <a:gd name="connsiteY269" fmla="*/ 85078 h 2017022"/>
                <a:gd name="connsiteX270" fmla="*/ 2385975 w 6378875"/>
                <a:gd name="connsiteY270" fmla="*/ 79813 h 2017022"/>
                <a:gd name="connsiteX271" fmla="*/ 2392714 w 6378875"/>
                <a:gd name="connsiteY271" fmla="*/ 86973 h 2017022"/>
                <a:gd name="connsiteX272" fmla="*/ 2360073 w 6378875"/>
                <a:gd name="connsiteY272" fmla="*/ 85920 h 2017022"/>
                <a:gd name="connsiteX273" fmla="*/ 2330169 w 6378875"/>
                <a:gd name="connsiteY273" fmla="*/ 85499 h 2017022"/>
                <a:gd name="connsiteX274" fmla="*/ 2304898 w 6378875"/>
                <a:gd name="connsiteY274" fmla="*/ 79181 h 2017022"/>
                <a:gd name="connsiteX275" fmla="*/ 2258779 w 6378875"/>
                <a:gd name="connsiteY275" fmla="*/ 74970 h 2017022"/>
                <a:gd name="connsiteX276" fmla="*/ 2229086 w 6378875"/>
                <a:gd name="connsiteY276" fmla="*/ 73917 h 2017022"/>
                <a:gd name="connsiteX277" fmla="*/ 2195392 w 6378875"/>
                <a:gd name="connsiteY277" fmla="*/ 75391 h 2017022"/>
                <a:gd name="connsiteX278" fmla="*/ 2149694 w 6378875"/>
                <a:gd name="connsiteY278" fmla="*/ 77286 h 2017022"/>
                <a:gd name="connsiteX279" fmla="*/ 2114105 w 6378875"/>
                <a:gd name="connsiteY279" fmla="*/ 78760 h 2017022"/>
                <a:gd name="connsiteX280" fmla="*/ 2072829 w 6378875"/>
                <a:gd name="connsiteY280" fmla="*/ 80234 h 2017022"/>
                <a:gd name="connsiteX281" fmla="*/ 2048822 w 6378875"/>
                <a:gd name="connsiteY281" fmla="*/ 84025 h 2017022"/>
                <a:gd name="connsiteX282" fmla="*/ 2022919 w 6378875"/>
                <a:gd name="connsiteY282" fmla="*/ 85920 h 2017022"/>
                <a:gd name="connsiteX283" fmla="*/ 2009863 w 6378875"/>
                <a:gd name="connsiteY283" fmla="*/ 91606 h 2017022"/>
                <a:gd name="connsiteX284" fmla="*/ 1974273 w 6378875"/>
                <a:gd name="connsiteY284" fmla="*/ 94976 h 2017022"/>
                <a:gd name="connsiteX285" fmla="*/ 1937631 w 6378875"/>
                <a:gd name="connsiteY285" fmla="*/ 86342 h 2017022"/>
                <a:gd name="connsiteX286" fmla="*/ 1938684 w 6378875"/>
                <a:gd name="connsiteY286" fmla="*/ 82130 h 2017022"/>
                <a:gd name="connsiteX287" fmla="*/ 1947739 w 6378875"/>
                <a:gd name="connsiteY287" fmla="*/ 79181 h 2017022"/>
                <a:gd name="connsiteX288" fmla="*/ 1974062 w 6378875"/>
                <a:gd name="connsiteY288" fmla="*/ 81077 h 2017022"/>
                <a:gd name="connsiteX289" fmla="*/ 1983750 w 6378875"/>
                <a:gd name="connsiteY289" fmla="*/ 74338 h 2017022"/>
                <a:gd name="connsiteX290" fmla="*/ 1952583 w 6378875"/>
                <a:gd name="connsiteY290" fmla="*/ 66125 h 2017022"/>
                <a:gd name="connsiteX291" fmla="*/ 1903094 w 6378875"/>
                <a:gd name="connsiteY291" fmla="*/ 62334 h 2017022"/>
                <a:gd name="connsiteX292" fmla="*/ 1873191 w 6378875"/>
                <a:gd name="connsiteY292" fmla="*/ 58544 h 2017022"/>
                <a:gd name="connsiteX293" fmla="*/ 1873822 w 6378875"/>
                <a:gd name="connsiteY293" fmla="*/ 62966 h 2017022"/>
                <a:gd name="connsiteX294" fmla="*/ 1893407 w 6378875"/>
                <a:gd name="connsiteY294" fmla="*/ 69073 h 2017022"/>
                <a:gd name="connsiteX295" fmla="*/ 1885615 w 6378875"/>
                <a:gd name="connsiteY295" fmla="*/ 81498 h 2017022"/>
                <a:gd name="connsiteX296" fmla="*/ 1866873 w 6378875"/>
                <a:gd name="connsiteY296" fmla="*/ 82340 h 2017022"/>
                <a:gd name="connsiteX297" fmla="*/ 1894250 w 6378875"/>
                <a:gd name="connsiteY297" fmla="*/ 87184 h 2017022"/>
                <a:gd name="connsiteX298" fmla="*/ 1899514 w 6378875"/>
                <a:gd name="connsiteY298" fmla="*/ 96239 h 2017022"/>
                <a:gd name="connsiteX299" fmla="*/ 1862871 w 6378875"/>
                <a:gd name="connsiteY299" fmla="*/ 98135 h 2017022"/>
                <a:gd name="connsiteX300" fmla="*/ 1819280 w 6378875"/>
                <a:gd name="connsiteY300" fmla="*/ 95818 h 2017022"/>
                <a:gd name="connsiteX301" fmla="*/ 1785586 w 6378875"/>
                <a:gd name="connsiteY301" fmla="*/ 103399 h 2017022"/>
                <a:gd name="connsiteX302" fmla="*/ 1756735 w 6378875"/>
                <a:gd name="connsiteY302" fmla="*/ 107822 h 2017022"/>
                <a:gd name="connsiteX303" fmla="*/ 1764105 w 6378875"/>
                <a:gd name="connsiteY303" fmla="*/ 118351 h 2017022"/>
                <a:gd name="connsiteX304" fmla="*/ 1741993 w 6378875"/>
                <a:gd name="connsiteY304" fmla="*/ 124669 h 2017022"/>
                <a:gd name="connsiteX305" fmla="*/ 1695032 w 6378875"/>
                <a:gd name="connsiteY305" fmla="*/ 118772 h 2017022"/>
                <a:gd name="connsiteX306" fmla="*/ 1659021 w 6378875"/>
                <a:gd name="connsiteY306" fmla="*/ 112665 h 2017022"/>
                <a:gd name="connsiteX307" fmla="*/ 1648071 w 6378875"/>
                <a:gd name="connsiteY307" fmla="*/ 117509 h 2017022"/>
                <a:gd name="connsiteX308" fmla="*/ 1653757 w 6378875"/>
                <a:gd name="connsiteY308" fmla="*/ 124248 h 2017022"/>
                <a:gd name="connsiteX309" fmla="*/ 1685556 w 6378875"/>
                <a:gd name="connsiteY309" fmla="*/ 130565 h 2017022"/>
                <a:gd name="connsiteX310" fmla="*/ 1680712 w 6378875"/>
                <a:gd name="connsiteY310" fmla="*/ 136251 h 2017022"/>
                <a:gd name="connsiteX311" fmla="*/ 1636067 w 6378875"/>
                <a:gd name="connsiteY311" fmla="*/ 129933 h 2017022"/>
                <a:gd name="connsiteX312" fmla="*/ 1608269 w 6378875"/>
                <a:gd name="connsiteY312" fmla="*/ 125090 h 2017022"/>
                <a:gd name="connsiteX313" fmla="*/ 1589106 w 6378875"/>
                <a:gd name="connsiteY313" fmla="*/ 119404 h 2017022"/>
                <a:gd name="connsiteX314" fmla="*/ 1575628 w 6378875"/>
                <a:gd name="connsiteY314" fmla="*/ 107400 h 2017022"/>
                <a:gd name="connsiteX315" fmla="*/ 1584683 w 6378875"/>
                <a:gd name="connsiteY315" fmla="*/ 103189 h 2017022"/>
                <a:gd name="connsiteX316" fmla="*/ 1587421 w 6378875"/>
                <a:gd name="connsiteY316" fmla="*/ 97503 h 2017022"/>
                <a:gd name="connsiteX317" fmla="*/ 1536458 w 6378875"/>
                <a:gd name="connsiteY317" fmla="*/ 84446 h 2017022"/>
                <a:gd name="connsiteX318" fmla="*/ 1503185 w 6378875"/>
                <a:gd name="connsiteY318" fmla="*/ 73285 h 2017022"/>
                <a:gd name="connsiteX319" fmla="*/ 1536037 w 6378875"/>
                <a:gd name="connsiteY319" fmla="*/ 78971 h 2017022"/>
                <a:gd name="connsiteX320" fmla="*/ 1569100 w 6378875"/>
                <a:gd name="connsiteY320" fmla="*/ 83814 h 2017022"/>
                <a:gd name="connsiteX321" fmla="*/ 1584052 w 6378875"/>
                <a:gd name="connsiteY321" fmla="*/ 86763 h 2017022"/>
                <a:gd name="connsiteX322" fmla="*/ 1613324 w 6378875"/>
                <a:gd name="connsiteY322" fmla="*/ 90132 h 2017022"/>
                <a:gd name="connsiteX323" fmla="*/ 1650177 w 6378875"/>
                <a:gd name="connsiteY323" fmla="*/ 92870 h 2017022"/>
                <a:gd name="connsiteX324" fmla="*/ 1680923 w 6378875"/>
                <a:gd name="connsiteY324" fmla="*/ 96660 h 2017022"/>
                <a:gd name="connsiteX325" fmla="*/ 1725147 w 6378875"/>
                <a:gd name="connsiteY325" fmla="*/ 99609 h 2017022"/>
                <a:gd name="connsiteX326" fmla="*/ 1764105 w 6378875"/>
                <a:gd name="connsiteY326" fmla="*/ 95186 h 2017022"/>
                <a:gd name="connsiteX327" fmla="*/ 1792325 w 6378875"/>
                <a:gd name="connsiteY327" fmla="*/ 88447 h 2017022"/>
                <a:gd name="connsiteX328" fmla="*/ 1807697 w 6378875"/>
                <a:gd name="connsiteY328" fmla="*/ 82762 h 2017022"/>
                <a:gd name="connsiteX329" fmla="*/ 1789587 w 6378875"/>
                <a:gd name="connsiteY329" fmla="*/ 73074 h 2017022"/>
                <a:gd name="connsiteX330" fmla="*/ 1760736 w 6378875"/>
                <a:gd name="connsiteY330" fmla="*/ 65283 h 2017022"/>
                <a:gd name="connsiteX331" fmla="*/ 1708931 w 6378875"/>
                <a:gd name="connsiteY331" fmla="*/ 56227 h 2017022"/>
                <a:gd name="connsiteX332" fmla="*/ 1619009 w 6378875"/>
                <a:gd name="connsiteY332" fmla="*/ 40012 h 2017022"/>
                <a:gd name="connsiteX333" fmla="*/ 1568047 w 6378875"/>
                <a:gd name="connsiteY333" fmla="*/ 37695 h 2017022"/>
                <a:gd name="connsiteX334" fmla="*/ 1534563 w 6378875"/>
                <a:gd name="connsiteY334" fmla="*/ 33905 h 2017022"/>
                <a:gd name="connsiteX335" fmla="*/ 1499816 w 6378875"/>
                <a:gd name="connsiteY335" fmla="*/ 30114 h 2017022"/>
                <a:gd name="connsiteX336" fmla="*/ 1524244 w 6378875"/>
                <a:gd name="connsiteY336" fmla="*/ 30114 h 2017022"/>
                <a:gd name="connsiteX337" fmla="*/ 1488655 w 6378875"/>
                <a:gd name="connsiteY337" fmla="*/ 24007 h 2017022"/>
                <a:gd name="connsiteX338" fmla="*/ 1464647 w 6378875"/>
                <a:gd name="connsiteY338" fmla="*/ 27377 h 2017022"/>
                <a:gd name="connsiteX339" fmla="*/ 1420845 w 6378875"/>
                <a:gd name="connsiteY339" fmla="*/ 22954 h 2017022"/>
                <a:gd name="connsiteX340" fmla="*/ 1383992 w 6378875"/>
                <a:gd name="connsiteY340" fmla="*/ 19164 h 2017022"/>
                <a:gd name="connsiteX341" fmla="*/ 1417055 w 6378875"/>
                <a:gd name="connsiteY341" fmla="*/ 18742 h 2017022"/>
                <a:gd name="connsiteX342" fmla="*/ 1437692 w 6378875"/>
                <a:gd name="connsiteY342" fmla="*/ 16426 h 2017022"/>
                <a:gd name="connsiteX343" fmla="*/ 1457277 w 6378875"/>
                <a:gd name="connsiteY343" fmla="*/ 16847 h 2017022"/>
                <a:gd name="connsiteX344" fmla="*/ 1416423 w 6378875"/>
                <a:gd name="connsiteY344" fmla="*/ 10529 h 2017022"/>
                <a:gd name="connsiteX345" fmla="*/ 1371356 w 6378875"/>
                <a:gd name="connsiteY345" fmla="*/ 5686 h 2017022"/>
                <a:gd name="connsiteX346" fmla="*/ 1351140 w 6378875"/>
                <a:gd name="connsiteY346" fmla="*/ 7581 h 2017022"/>
                <a:gd name="connsiteX347" fmla="*/ 1360195 w 6378875"/>
                <a:gd name="connsiteY347" fmla="*/ 1895 h 2017022"/>
                <a:gd name="connsiteX348" fmla="*/ 1320815 w 6378875"/>
                <a:gd name="connsiteY348" fmla="*/ 0 h 2017022"/>
                <a:gd name="connsiteX349" fmla="*/ 1321868 w 6378875"/>
                <a:gd name="connsiteY349" fmla="*/ 6739 h 2017022"/>
                <a:gd name="connsiteX350" fmla="*/ 1298282 w 6378875"/>
                <a:gd name="connsiteY350" fmla="*/ 11582 h 2017022"/>
                <a:gd name="connsiteX351" fmla="*/ 1302705 w 6378875"/>
                <a:gd name="connsiteY351" fmla="*/ 1895 h 2017022"/>
                <a:gd name="connsiteX352" fmla="*/ 1275328 w 6378875"/>
                <a:gd name="connsiteY352" fmla="*/ 8213 h 2017022"/>
                <a:gd name="connsiteX353" fmla="*/ 1252374 w 6378875"/>
                <a:gd name="connsiteY353" fmla="*/ 17900 h 2017022"/>
                <a:gd name="connsiteX354" fmla="*/ 1258059 w 6378875"/>
                <a:gd name="connsiteY354" fmla="*/ 8845 h 2017022"/>
                <a:gd name="connsiteX355" fmla="*/ 1282067 w 6378875"/>
                <a:gd name="connsiteY355" fmla="*/ 2106 h 2017022"/>
                <a:gd name="connsiteX356" fmla="*/ 1252795 w 6378875"/>
                <a:gd name="connsiteY356" fmla="*/ 632 h 2017022"/>
                <a:gd name="connsiteX357" fmla="*/ 1236369 w 6378875"/>
                <a:gd name="connsiteY357" fmla="*/ 632 h 2017022"/>
                <a:gd name="connsiteX358" fmla="*/ 1219101 w 6378875"/>
                <a:gd name="connsiteY358" fmla="*/ 5475 h 2017022"/>
                <a:gd name="connsiteX359" fmla="*/ 1200358 w 6378875"/>
                <a:gd name="connsiteY359" fmla="*/ 5475 h 2017022"/>
                <a:gd name="connsiteX360" fmla="*/ 1179299 w 6378875"/>
                <a:gd name="connsiteY360" fmla="*/ 7792 h 2017022"/>
                <a:gd name="connsiteX361" fmla="*/ 1187513 w 6378875"/>
                <a:gd name="connsiteY361" fmla="*/ 14531 h 2017022"/>
                <a:gd name="connsiteX362" fmla="*/ 1181194 w 6378875"/>
                <a:gd name="connsiteY362" fmla="*/ 17479 h 2017022"/>
                <a:gd name="connsiteX363" fmla="*/ 1162873 w 6378875"/>
                <a:gd name="connsiteY363" fmla="*/ 11161 h 2017022"/>
                <a:gd name="connsiteX364" fmla="*/ 1142657 w 6378875"/>
                <a:gd name="connsiteY364" fmla="*/ 13057 h 2017022"/>
                <a:gd name="connsiteX365" fmla="*/ 1124968 w 6378875"/>
                <a:gd name="connsiteY365" fmla="*/ 13899 h 2017022"/>
                <a:gd name="connsiteX366" fmla="*/ 1134023 w 6378875"/>
                <a:gd name="connsiteY366" fmla="*/ 18742 h 2017022"/>
                <a:gd name="connsiteX367" fmla="*/ 1109594 w 6378875"/>
                <a:gd name="connsiteY367" fmla="*/ 13478 h 2017022"/>
                <a:gd name="connsiteX368" fmla="*/ 1093379 w 6378875"/>
                <a:gd name="connsiteY368" fmla="*/ 16215 h 2017022"/>
                <a:gd name="connsiteX369" fmla="*/ 1091484 w 6378875"/>
                <a:gd name="connsiteY369" fmla="*/ 26745 h 2017022"/>
                <a:gd name="connsiteX370" fmla="*/ 1086640 w 6378875"/>
                <a:gd name="connsiteY370" fmla="*/ 19585 h 2017022"/>
                <a:gd name="connsiteX371" fmla="*/ 1070214 w 6378875"/>
                <a:gd name="connsiteY371" fmla="*/ 14741 h 2017022"/>
                <a:gd name="connsiteX372" fmla="*/ 1048734 w 6378875"/>
                <a:gd name="connsiteY372" fmla="*/ 14741 h 2017022"/>
                <a:gd name="connsiteX373" fmla="*/ 1028517 w 6378875"/>
                <a:gd name="connsiteY373" fmla="*/ 21901 h 2017022"/>
                <a:gd name="connsiteX374" fmla="*/ 998192 w 6378875"/>
                <a:gd name="connsiteY374" fmla="*/ 25692 h 2017022"/>
                <a:gd name="connsiteX375" fmla="*/ 973764 w 6378875"/>
                <a:gd name="connsiteY375" fmla="*/ 30535 h 2017022"/>
                <a:gd name="connsiteX376" fmla="*/ 994402 w 6378875"/>
                <a:gd name="connsiteY376" fmla="*/ 34326 h 2017022"/>
                <a:gd name="connsiteX377" fmla="*/ 973764 w 6378875"/>
                <a:gd name="connsiteY377" fmla="*/ 38117 h 2017022"/>
                <a:gd name="connsiteX378" fmla="*/ 961339 w 6378875"/>
                <a:gd name="connsiteY378" fmla="*/ 41065 h 2017022"/>
                <a:gd name="connsiteX379" fmla="*/ 957970 w 6378875"/>
                <a:gd name="connsiteY379" fmla="*/ 34747 h 2017022"/>
                <a:gd name="connsiteX380" fmla="*/ 941544 w 6378875"/>
                <a:gd name="connsiteY380" fmla="*/ 38117 h 2017022"/>
                <a:gd name="connsiteX381" fmla="*/ 950178 w 6378875"/>
                <a:gd name="connsiteY381" fmla="*/ 30535 h 2017022"/>
                <a:gd name="connsiteX382" fmla="*/ 924697 w 6378875"/>
                <a:gd name="connsiteY382" fmla="*/ 34747 h 2017022"/>
                <a:gd name="connsiteX383" fmla="*/ 919853 w 6378875"/>
                <a:gd name="connsiteY383" fmla="*/ 42539 h 2017022"/>
                <a:gd name="connsiteX384" fmla="*/ 908903 w 6378875"/>
                <a:gd name="connsiteY384" fmla="*/ 37695 h 2017022"/>
                <a:gd name="connsiteX385" fmla="*/ 888265 w 6378875"/>
                <a:gd name="connsiteY385" fmla="*/ 43381 h 2017022"/>
                <a:gd name="connsiteX386" fmla="*/ 883000 w 6378875"/>
                <a:gd name="connsiteY386" fmla="*/ 48225 h 2017022"/>
                <a:gd name="connsiteX387" fmla="*/ 844673 w 6378875"/>
                <a:gd name="connsiteY387" fmla="*/ 52437 h 2017022"/>
                <a:gd name="connsiteX388" fmla="*/ 858572 w 6378875"/>
                <a:gd name="connsiteY388" fmla="*/ 53490 h 2017022"/>
                <a:gd name="connsiteX389" fmla="*/ 889318 w 6378875"/>
                <a:gd name="connsiteY389" fmla="*/ 52016 h 2017022"/>
                <a:gd name="connsiteX390" fmla="*/ 923013 w 6378875"/>
                <a:gd name="connsiteY390" fmla="*/ 48225 h 2017022"/>
                <a:gd name="connsiteX391" fmla="*/ 948494 w 6378875"/>
                <a:gd name="connsiteY391" fmla="*/ 47172 h 2017022"/>
                <a:gd name="connsiteX392" fmla="*/ 923434 w 6378875"/>
                <a:gd name="connsiteY392" fmla="*/ 51384 h 2017022"/>
                <a:gd name="connsiteX393" fmla="*/ 899426 w 6378875"/>
                <a:gd name="connsiteY393" fmla="*/ 57701 h 2017022"/>
                <a:gd name="connsiteX394" fmla="*/ 910377 w 6378875"/>
                <a:gd name="connsiteY394" fmla="*/ 59597 h 2017022"/>
                <a:gd name="connsiteX395" fmla="*/ 874366 w 6378875"/>
                <a:gd name="connsiteY395" fmla="*/ 67389 h 2017022"/>
                <a:gd name="connsiteX396" fmla="*/ 840672 w 6378875"/>
                <a:gd name="connsiteY396" fmla="*/ 78971 h 2017022"/>
                <a:gd name="connsiteX397" fmla="*/ 824878 w 6378875"/>
                <a:gd name="connsiteY397" fmla="*/ 90132 h 2017022"/>
                <a:gd name="connsiteX398" fmla="*/ 806556 w 6378875"/>
                <a:gd name="connsiteY398" fmla="*/ 103610 h 2017022"/>
                <a:gd name="connsiteX399" fmla="*/ 780233 w 6378875"/>
                <a:gd name="connsiteY399" fmla="*/ 109928 h 2017022"/>
                <a:gd name="connsiteX400" fmla="*/ 755805 w 6378875"/>
                <a:gd name="connsiteY400" fmla="*/ 109928 h 2017022"/>
                <a:gd name="connsiteX401" fmla="*/ 776021 w 6378875"/>
                <a:gd name="connsiteY401" fmla="*/ 113718 h 2017022"/>
                <a:gd name="connsiteX402" fmla="*/ 759174 w 6378875"/>
                <a:gd name="connsiteY402" fmla="*/ 120457 h 2017022"/>
                <a:gd name="connsiteX403" fmla="*/ 729481 w 6378875"/>
                <a:gd name="connsiteY403" fmla="*/ 130565 h 2017022"/>
                <a:gd name="connsiteX404" fmla="*/ 710738 w 6378875"/>
                <a:gd name="connsiteY404" fmla="*/ 135409 h 2017022"/>
                <a:gd name="connsiteX405" fmla="*/ 679571 w 6378875"/>
                <a:gd name="connsiteY405" fmla="*/ 133513 h 2017022"/>
                <a:gd name="connsiteX406" fmla="*/ 673254 w 6378875"/>
                <a:gd name="connsiteY406" fmla="*/ 142779 h 2017022"/>
                <a:gd name="connsiteX407" fmla="*/ 643982 w 6378875"/>
                <a:gd name="connsiteY407" fmla="*/ 146570 h 2017022"/>
                <a:gd name="connsiteX408" fmla="*/ 622291 w 6378875"/>
                <a:gd name="connsiteY408" fmla="*/ 154362 h 2017022"/>
                <a:gd name="connsiteX409" fmla="*/ 597863 w 6378875"/>
                <a:gd name="connsiteY409" fmla="*/ 159627 h 2017022"/>
                <a:gd name="connsiteX410" fmla="*/ 574698 w 6378875"/>
                <a:gd name="connsiteY410" fmla="*/ 167840 h 2017022"/>
                <a:gd name="connsiteX411" fmla="*/ 556587 w 6378875"/>
                <a:gd name="connsiteY411" fmla="*/ 172262 h 2017022"/>
                <a:gd name="connsiteX412" fmla="*/ 560799 w 6378875"/>
                <a:gd name="connsiteY412" fmla="*/ 181949 h 2017022"/>
                <a:gd name="connsiteX413" fmla="*/ 553639 w 6378875"/>
                <a:gd name="connsiteY413" fmla="*/ 189109 h 2017022"/>
                <a:gd name="connsiteX414" fmla="*/ 549427 w 6378875"/>
                <a:gd name="connsiteY414" fmla="*/ 196269 h 2017022"/>
                <a:gd name="connsiteX415" fmla="*/ 561010 w 6378875"/>
                <a:gd name="connsiteY415" fmla="*/ 209326 h 2017022"/>
                <a:gd name="connsiteX416" fmla="*/ 565221 w 6378875"/>
                <a:gd name="connsiteY416" fmla="*/ 219855 h 2017022"/>
                <a:gd name="connsiteX417" fmla="*/ 564379 w 6378875"/>
                <a:gd name="connsiteY417" fmla="*/ 227015 h 2017022"/>
                <a:gd name="connsiteX418" fmla="*/ 576804 w 6378875"/>
                <a:gd name="connsiteY418" fmla="*/ 224067 h 2017022"/>
                <a:gd name="connsiteX419" fmla="*/ 573855 w 6378875"/>
                <a:gd name="connsiteY419" fmla="*/ 234175 h 2017022"/>
                <a:gd name="connsiteX420" fmla="*/ 596389 w 6378875"/>
                <a:gd name="connsiteY420" fmla="*/ 239440 h 2017022"/>
                <a:gd name="connsiteX421" fmla="*/ 612604 w 6378875"/>
                <a:gd name="connsiteY421" fmla="*/ 244705 h 2017022"/>
                <a:gd name="connsiteX422" fmla="*/ 656407 w 6378875"/>
                <a:gd name="connsiteY422" fmla="*/ 245126 h 2017022"/>
                <a:gd name="connsiteX423" fmla="*/ 696208 w 6378875"/>
                <a:gd name="connsiteY423" fmla="*/ 234175 h 2017022"/>
                <a:gd name="connsiteX424" fmla="*/ 721268 w 6378875"/>
                <a:gd name="connsiteY424" fmla="*/ 224488 h 2017022"/>
                <a:gd name="connsiteX425" fmla="*/ 743801 w 6378875"/>
                <a:gd name="connsiteY425" fmla="*/ 222171 h 2017022"/>
                <a:gd name="connsiteX426" fmla="*/ 750961 w 6378875"/>
                <a:gd name="connsiteY426" fmla="*/ 209747 h 2017022"/>
                <a:gd name="connsiteX427" fmla="*/ 757700 w 6378875"/>
                <a:gd name="connsiteY427" fmla="*/ 216486 h 2017022"/>
                <a:gd name="connsiteX428" fmla="*/ 769282 w 6378875"/>
                <a:gd name="connsiteY428" fmla="*/ 226594 h 2017022"/>
                <a:gd name="connsiteX429" fmla="*/ 789499 w 6378875"/>
                <a:gd name="connsiteY429" fmla="*/ 250601 h 2017022"/>
                <a:gd name="connsiteX430" fmla="*/ 815401 w 6378875"/>
                <a:gd name="connsiteY430" fmla="*/ 265974 h 2017022"/>
                <a:gd name="connsiteX431" fmla="*/ 831827 w 6378875"/>
                <a:gd name="connsiteY431" fmla="*/ 271239 h 2017022"/>
                <a:gd name="connsiteX432" fmla="*/ 819402 w 6378875"/>
                <a:gd name="connsiteY432" fmla="*/ 277556 h 2017022"/>
                <a:gd name="connsiteX433" fmla="*/ 829089 w 6378875"/>
                <a:gd name="connsiteY433" fmla="*/ 286191 h 2017022"/>
                <a:gd name="connsiteX434" fmla="*/ 829089 w 6378875"/>
                <a:gd name="connsiteY434" fmla="*/ 295878 h 2017022"/>
                <a:gd name="connsiteX435" fmla="*/ 869523 w 6378875"/>
                <a:gd name="connsiteY435" fmla="*/ 296299 h 2017022"/>
                <a:gd name="connsiteX436" fmla="*/ 879210 w 6378875"/>
                <a:gd name="connsiteY436" fmla="*/ 288718 h 2017022"/>
                <a:gd name="connsiteX437" fmla="*/ 892688 w 6378875"/>
                <a:gd name="connsiteY437" fmla="*/ 280505 h 2017022"/>
                <a:gd name="connsiteX438" fmla="*/ 923434 w 6378875"/>
                <a:gd name="connsiteY438" fmla="*/ 281558 h 2017022"/>
                <a:gd name="connsiteX439" fmla="*/ 939649 w 6378875"/>
                <a:gd name="connsiteY439" fmla="*/ 275872 h 2017022"/>
                <a:gd name="connsiteX440" fmla="*/ 959866 w 6378875"/>
                <a:gd name="connsiteY440" fmla="*/ 258182 h 2017022"/>
                <a:gd name="connsiteX441" fmla="*/ 968499 w 6378875"/>
                <a:gd name="connsiteY441" fmla="*/ 241967 h 2017022"/>
                <a:gd name="connsiteX442" fmla="*/ 974607 w 6378875"/>
                <a:gd name="connsiteY442" fmla="*/ 227436 h 2017022"/>
                <a:gd name="connsiteX443" fmla="*/ 1003879 w 6378875"/>
                <a:gd name="connsiteY443" fmla="*/ 223014 h 2017022"/>
                <a:gd name="connsiteX444" fmla="*/ 1030834 w 6378875"/>
                <a:gd name="connsiteY444" fmla="*/ 218802 h 2017022"/>
                <a:gd name="connsiteX445" fmla="*/ 1045154 w 6378875"/>
                <a:gd name="connsiteY445" fmla="*/ 212063 h 2017022"/>
                <a:gd name="connsiteX446" fmla="*/ 1046628 w 6378875"/>
                <a:gd name="connsiteY446" fmla="*/ 205324 h 2017022"/>
                <a:gd name="connsiteX447" fmla="*/ 1038415 w 6378875"/>
                <a:gd name="connsiteY447" fmla="*/ 197111 h 2017022"/>
                <a:gd name="connsiteX448" fmla="*/ 1019673 w 6378875"/>
                <a:gd name="connsiteY448" fmla="*/ 190373 h 2017022"/>
                <a:gd name="connsiteX449" fmla="*/ 1000930 w 6378875"/>
                <a:gd name="connsiteY449" fmla="*/ 188898 h 2017022"/>
                <a:gd name="connsiteX450" fmla="*/ 982820 w 6378875"/>
                <a:gd name="connsiteY450" fmla="*/ 182160 h 2017022"/>
                <a:gd name="connsiteX451" fmla="*/ 987663 w 6378875"/>
                <a:gd name="connsiteY451" fmla="*/ 164470 h 2017022"/>
                <a:gd name="connsiteX452" fmla="*/ 1001984 w 6378875"/>
                <a:gd name="connsiteY452" fmla="*/ 154362 h 2017022"/>
                <a:gd name="connsiteX453" fmla="*/ 1024516 w 6378875"/>
                <a:gd name="connsiteY453" fmla="*/ 147623 h 2017022"/>
                <a:gd name="connsiteX454" fmla="*/ 1035677 w 6378875"/>
                <a:gd name="connsiteY454" fmla="*/ 141305 h 2017022"/>
                <a:gd name="connsiteX455" fmla="*/ 1051893 w 6378875"/>
                <a:gd name="connsiteY455" fmla="*/ 138357 h 2017022"/>
                <a:gd name="connsiteX456" fmla="*/ 1062423 w 6378875"/>
                <a:gd name="connsiteY456" fmla="*/ 134988 h 2017022"/>
                <a:gd name="connsiteX457" fmla="*/ 1084534 w 6378875"/>
                <a:gd name="connsiteY457" fmla="*/ 130565 h 2017022"/>
                <a:gd name="connsiteX458" fmla="*/ 1117597 w 6378875"/>
                <a:gd name="connsiteY458" fmla="*/ 123405 h 2017022"/>
                <a:gd name="connsiteX459" fmla="*/ 1130021 w 6378875"/>
                <a:gd name="connsiteY459" fmla="*/ 117719 h 2017022"/>
                <a:gd name="connsiteX460" fmla="*/ 1126652 w 6378875"/>
                <a:gd name="connsiteY460" fmla="*/ 113508 h 2017022"/>
                <a:gd name="connsiteX461" fmla="*/ 1128126 w 6378875"/>
                <a:gd name="connsiteY461" fmla="*/ 106347 h 2017022"/>
                <a:gd name="connsiteX462" fmla="*/ 1140130 w 6378875"/>
                <a:gd name="connsiteY462" fmla="*/ 100030 h 2017022"/>
                <a:gd name="connsiteX463" fmla="*/ 1155503 w 6378875"/>
                <a:gd name="connsiteY463" fmla="*/ 99609 h 2017022"/>
                <a:gd name="connsiteX464" fmla="*/ 1169822 w 6378875"/>
                <a:gd name="connsiteY464" fmla="*/ 92027 h 2017022"/>
                <a:gd name="connsiteX465" fmla="*/ 1208782 w 6378875"/>
                <a:gd name="connsiteY465" fmla="*/ 93502 h 2017022"/>
                <a:gd name="connsiteX466" fmla="*/ 1243319 w 6378875"/>
                <a:gd name="connsiteY466" fmla="*/ 97292 h 2017022"/>
                <a:gd name="connsiteX467" fmla="*/ 1260587 w 6378875"/>
                <a:gd name="connsiteY467" fmla="*/ 103610 h 2017022"/>
                <a:gd name="connsiteX468" fmla="*/ 1250058 w 6378875"/>
                <a:gd name="connsiteY468" fmla="*/ 108032 h 2017022"/>
                <a:gd name="connsiteX469" fmla="*/ 1230894 w 6378875"/>
                <a:gd name="connsiteY469" fmla="*/ 110770 h 2017022"/>
                <a:gd name="connsiteX470" fmla="*/ 1207940 w 6378875"/>
                <a:gd name="connsiteY470" fmla="*/ 121931 h 2017022"/>
                <a:gd name="connsiteX471" fmla="*/ 1177193 w 6378875"/>
                <a:gd name="connsiteY471" fmla="*/ 128670 h 2017022"/>
                <a:gd name="connsiteX472" fmla="*/ 1158872 w 6378875"/>
                <a:gd name="connsiteY472" fmla="*/ 135409 h 2017022"/>
                <a:gd name="connsiteX473" fmla="*/ 1139287 w 6378875"/>
                <a:gd name="connsiteY473" fmla="*/ 140252 h 2017022"/>
                <a:gd name="connsiteX474" fmla="*/ 1119492 w 6378875"/>
                <a:gd name="connsiteY474" fmla="*/ 140674 h 2017022"/>
                <a:gd name="connsiteX475" fmla="*/ 1117597 w 6378875"/>
                <a:gd name="connsiteY475" fmla="*/ 152677 h 2017022"/>
                <a:gd name="connsiteX476" fmla="*/ 1129179 w 6378875"/>
                <a:gd name="connsiteY476" fmla="*/ 172262 h 2017022"/>
                <a:gd name="connsiteX477" fmla="*/ 1119071 w 6378875"/>
                <a:gd name="connsiteY477" fmla="*/ 187635 h 2017022"/>
                <a:gd name="connsiteX478" fmla="*/ 1101381 w 6378875"/>
                <a:gd name="connsiteY478" fmla="*/ 196690 h 2017022"/>
                <a:gd name="connsiteX479" fmla="*/ 1129811 w 6378875"/>
                <a:gd name="connsiteY479" fmla="*/ 194374 h 2017022"/>
                <a:gd name="connsiteX480" fmla="*/ 1147500 w 6378875"/>
                <a:gd name="connsiteY480" fmla="*/ 196690 h 2017022"/>
                <a:gd name="connsiteX481" fmla="*/ 1159925 w 6378875"/>
                <a:gd name="connsiteY481" fmla="*/ 200481 h 2017022"/>
                <a:gd name="connsiteX482" fmla="*/ 1168138 w 6378875"/>
                <a:gd name="connsiteY482" fmla="*/ 202376 h 2017022"/>
                <a:gd name="connsiteX483" fmla="*/ 1188354 w 6378875"/>
                <a:gd name="connsiteY483" fmla="*/ 202376 h 2017022"/>
                <a:gd name="connsiteX484" fmla="*/ 1220575 w 6378875"/>
                <a:gd name="connsiteY484" fmla="*/ 200060 h 2017022"/>
                <a:gd name="connsiteX485" fmla="*/ 1273012 w 6378875"/>
                <a:gd name="connsiteY485" fmla="*/ 196690 h 2017022"/>
                <a:gd name="connsiteX486" fmla="*/ 1306705 w 6378875"/>
                <a:gd name="connsiteY486" fmla="*/ 195216 h 2017022"/>
                <a:gd name="connsiteX487" fmla="*/ 1324816 w 6378875"/>
                <a:gd name="connsiteY487" fmla="*/ 192268 h 2017022"/>
                <a:gd name="connsiteX488" fmla="*/ 1340190 w 6378875"/>
                <a:gd name="connsiteY488" fmla="*/ 193742 h 2017022"/>
                <a:gd name="connsiteX489" fmla="*/ 1361249 w 6378875"/>
                <a:gd name="connsiteY489" fmla="*/ 193321 h 2017022"/>
                <a:gd name="connsiteX490" fmla="*/ 1373252 w 6378875"/>
                <a:gd name="connsiteY490" fmla="*/ 192268 h 2017022"/>
                <a:gd name="connsiteX491" fmla="*/ 1373252 w 6378875"/>
                <a:gd name="connsiteY491" fmla="*/ 197111 h 2017022"/>
                <a:gd name="connsiteX492" fmla="*/ 1387151 w 6378875"/>
                <a:gd name="connsiteY492" fmla="*/ 198164 h 2017022"/>
                <a:gd name="connsiteX493" fmla="*/ 1397680 w 6378875"/>
                <a:gd name="connsiteY493" fmla="*/ 201955 h 2017022"/>
                <a:gd name="connsiteX494" fmla="*/ 1421688 w 6378875"/>
                <a:gd name="connsiteY494" fmla="*/ 202376 h 2017022"/>
                <a:gd name="connsiteX495" fmla="*/ 1426952 w 6378875"/>
                <a:gd name="connsiteY495" fmla="*/ 206588 h 2017022"/>
                <a:gd name="connsiteX496" fmla="*/ 1405472 w 6378875"/>
                <a:gd name="connsiteY496" fmla="*/ 204271 h 2017022"/>
                <a:gd name="connsiteX497" fmla="*/ 1389046 w 6378875"/>
                <a:gd name="connsiteY497" fmla="*/ 206167 h 2017022"/>
                <a:gd name="connsiteX498" fmla="*/ 1377885 w 6378875"/>
                <a:gd name="connsiteY498" fmla="*/ 207641 h 2017022"/>
                <a:gd name="connsiteX499" fmla="*/ 1358300 w 6378875"/>
                <a:gd name="connsiteY499" fmla="*/ 207220 h 2017022"/>
                <a:gd name="connsiteX500" fmla="*/ 1353456 w 6378875"/>
                <a:gd name="connsiteY500" fmla="*/ 216275 h 2017022"/>
                <a:gd name="connsiteX501" fmla="*/ 1327975 w 6378875"/>
                <a:gd name="connsiteY501" fmla="*/ 213327 h 2017022"/>
                <a:gd name="connsiteX502" fmla="*/ 1275117 w 6378875"/>
                <a:gd name="connsiteY502" fmla="*/ 210379 h 2017022"/>
                <a:gd name="connsiteX503" fmla="*/ 1237632 w 6378875"/>
                <a:gd name="connsiteY503" fmla="*/ 211853 h 2017022"/>
                <a:gd name="connsiteX504" fmla="*/ 1205412 w 6378875"/>
                <a:gd name="connsiteY504" fmla="*/ 216064 h 2017022"/>
                <a:gd name="connsiteX505" fmla="*/ 1188144 w 6378875"/>
                <a:gd name="connsiteY505" fmla="*/ 220908 h 2017022"/>
                <a:gd name="connsiteX506" fmla="*/ 1197831 w 6378875"/>
                <a:gd name="connsiteY506" fmla="*/ 225120 h 2017022"/>
                <a:gd name="connsiteX507" fmla="*/ 1184985 w 6378875"/>
                <a:gd name="connsiteY507" fmla="*/ 228489 h 2017022"/>
                <a:gd name="connsiteX508" fmla="*/ 1157188 w 6378875"/>
                <a:gd name="connsiteY508" fmla="*/ 230384 h 2017022"/>
                <a:gd name="connsiteX509" fmla="*/ 1142235 w 6378875"/>
                <a:gd name="connsiteY509" fmla="*/ 233333 h 2017022"/>
                <a:gd name="connsiteX510" fmla="*/ 1151923 w 6378875"/>
                <a:gd name="connsiteY510" fmla="*/ 240072 h 2017022"/>
                <a:gd name="connsiteX511" fmla="*/ 1156766 w 6378875"/>
                <a:gd name="connsiteY511" fmla="*/ 241967 h 2017022"/>
                <a:gd name="connsiteX512" fmla="*/ 1167927 w 6378875"/>
                <a:gd name="connsiteY512" fmla="*/ 236281 h 2017022"/>
                <a:gd name="connsiteX513" fmla="*/ 1194883 w 6378875"/>
                <a:gd name="connsiteY513" fmla="*/ 231016 h 2017022"/>
                <a:gd name="connsiteX514" fmla="*/ 1208782 w 6378875"/>
                <a:gd name="connsiteY514" fmla="*/ 231437 h 2017022"/>
                <a:gd name="connsiteX515" fmla="*/ 1224155 w 6378875"/>
                <a:gd name="connsiteY515" fmla="*/ 236281 h 2017022"/>
                <a:gd name="connsiteX516" fmla="*/ 1230472 w 6378875"/>
                <a:gd name="connsiteY516" fmla="*/ 243862 h 2017022"/>
                <a:gd name="connsiteX517" fmla="*/ 1230894 w 6378875"/>
                <a:gd name="connsiteY517" fmla="*/ 254392 h 2017022"/>
                <a:gd name="connsiteX518" fmla="*/ 1216363 w 6378875"/>
                <a:gd name="connsiteY518" fmla="*/ 259656 h 2017022"/>
                <a:gd name="connsiteX519" fmla="*/ 1199516 w 6378875"/>
                <a:gd name="connsiteY519" fmla="*/ 259235 h 2017022"/>
                <a:gd name="connsiteX520" fmla="*/ 1177825 w 6378875"/>
                <a:gd name="connsiteY520" fmla="*/ 250601 h 2017022"/>
                <a:gd name="connsiteX521" fmla="*/ 1169191 w 6378875"/>
                <a:gd name="connsiteY521" fmla="*/ 245757 h 2017022"/>
                <a:gd name="connsiteX522" fmla="*/ 1153397 w 6378875"/>
                <a:gd name="connsiteY522" fmla="*/ 245757 h 2017022"/>
                <a:gd name="connsiteX523" fmla="*/ 1135075 w 6378875"/>
                <a:gd name="connsiteY523" fmla="*/ 250601 h 2017022"/>
                <a:gd name="connsiteX524" fmla="*/ 1125388 w 6378875"/>
                <a:gd name="connsiteY524" fmla="*/ 259235 h 2017022"/>
                <a:gd name="connsiteX525" fmla="*/ 1114438 w 6378875"/>
                <a:gd name="connsiteY525" fmla="*/ 267448 h 2017022"/>
                <a:gd name="connsiteX526" fmla="*/ 1114859 w 6378875"/>
                <a:gd name="connsiteY526" fmla="*/ 286612 h 2017022"/>
                <a:gd name="connsiteX527" fmla="*/ 1103909 w 6378875"/>
                <a:gd name="connsiteY527" fmla="*/ 298615 h 2017022"/>
                <a:gd name="connsiteX528" fmla="*/ 1079901 w 6378875"/>
                <a:gd name="connsiteY528" fmla="*/ 302406 h 2017022"/>
                <a:gd name="connsiteX529" fmla="*/ 1066424 w 6378875"/>
                <a:gd name="connsiteY529" fmla="*/ 310198 h 2017022"/>
                <a:gd name="connsiteX530" fmla="*/ 1035256 w 6378875"/>
                <a:gd name="connsiteY530" fmla="*/ 313988 h 2017022"/>
                <a:gd name="connsiteX531" fmla="*/ 1016514 w 6378875"/>
                <a:gd name="connsiteY531" fmla="*/ 305354 h 2017022"/>
                <a:gd name="connsiteX532" fmla="*/ 974607 w 6378875"/>
                <a:gd name="connsiteY532" fmla="*/ 307250 h 2017022"/>
                <a:gd name="connsiteX533" fmla="*/ 941965 w 6378875"/>
                <a:gd name="connsiteY533" fmla="*/ 315884 h 2017022"/>
                <a:gd name="connsiteX534" fmla="*/ 901743 w 6378875"/>
                <a:gd name="connsiteY534" fmla="*/ 320727 h 2017022"/>
                <a:gd name="connsiteX535" fmla="*/ 872471 w 6378875"/>
                <a:gd name="connsiteY535" fmla="*/ 323044 h 2017022"/>
                <a:gd name="connsiteX536" fmla="*/ 855624 w 6378875"/>
                <a:gd name="connsiteY536" fmla="*/ 319253 h 2017022"/>
                <a:gd name="connsiteX537" fmla="*/ 845515 w 6378875"/>
                <a:gd name="connsiteY537" fmla="*/ 316305 h 2017022"/>
                <a:gd name="connsiteX538" fmla="*/ 855624 w 6378875"/>
                <a:gd name="connsiteY538" fmla="*/ 312514 h 2017022"/>
                <a:gd name="connsiteX539" fmla="*/ 840672 w 6378875"/>
                <a:gd name="connsiteY539" fmla="*/ 310198 h 2017022"/>
                <a:gd name="connsiteX540" fmla="*/ 825299 w 6378875"/>
                <a:gd name="connsiteY540" fmla="*/ 314410 h 2017022"/>
                <a:gd name="connsiteX541" fmla="*/ 803187 w 6378875"/>
                <a:gd name="connsiteY541" fmla="*/ 317358 h 2017022"/>
                <a:gd name="connsiteX542" fmla="*/ 779180 w 6378875"/>
                <a:gd name="connsiteY542" fmla="*/ 322623 h 2017022"/>
                <a:gd name="connsiteX543" fmla="*/ 761911 w 6378875"/>
                <a:gd name="connsiteY543" fmla="*/ 322623 h 2017022"/>
                <a:gd name="connsiteX544" fmla="*/ 770546 w 6378875"/>
                <a:gd name="connsiteY544" fmla="*/ 315041 h 2017022"/>
                <a:gd name="connsiteX545" fmla="*/ 748012 w 6378875"/>
                <a:gd name="connsiteY545" fmla="*/ 318411 h 2017022"/>
                <a:gd name="connsiteX546" fmla="*/ 730323 w 6378875"/>
                <a:gd name="connsiteY546" fmla="*/ 312093 h 2017022"/>
                <a:gd name="connsiteX547" fmla="*/ 724216 w 6378875"/>
                <a:gd name="connsiteY547" fmla="*/ 304512 h 2017022"/>
                <a:gd name="connsiteX548" fmla="*/ 717056 w 6378875"/>
                <a:gd name="connsiteY548" fmla="*/ 299247 h 2017022"/>
                <a:gd name="connsiteX549" fmla="*/ 740642 w 6378875"/>
                <a:gd name="connsiteY549" fmla="*/ 304933 h 2017022"/>
                <a:gd name="connsiteX550" fmla="*/ 754120 w 6378875"/>
                <a:gd name="connsiteY550" fmla="*/ 308302 h 2017022"/>
                <a:gd name="connsiteX551" fmla="*/ 758963 w 6378875"/>
                <a:gd name="connsiteY551" fmla="*/ 294825 h 2017022"/>
                <a:gd name="connsiteX552" fmla="*/ 734956 w 6378875"/>
                <a:gd name="connsiteY552" fmla="*/ 292929 h 2017022"/>
                <a:gd name="connsiteX553" fmla="*/ 735378 w 6378875"/>
                <a:gd name="connsiteY553" fmla="*/ 287244 h 2017022"/>
                <a:gd name="connsiteX554" fmla="*/ 741274 w 6378875"/>
                <a:gd name="connsiteY554" fmla="*/ 278609 h 2017022"/>
                <a:gd name="connsiteX555" fmla="*/ 757700 w 6378875"/>
                <a:gd name="connsiteY555" fmla="*/ 279662 h 2017022"/>
                <a:gd name="connsiteX556" fmla="*/ 758542 w 6378875"/>
                <a:gd name="connsiteY556" fmla="*/ 273976 h 2017022"/>
                <a:gd name="connsiteX557" fmla="*/ 740221 w 6378875"/>
                <a:gd name="connsiteY557" fmla="*/ 270607 h 2017022"/>
                <a:gd name="connsiteX558" fmla="*/ 746960 w 6378875"/>
                <a:gd name="connsiteY558" fmla="*/ 256708 h 2017022"/>
                <a:gd name="connsiteX559" fmla="*/ 742538 w 6378875"/>
                <a:gd name="connsiteY559" fmla="*/ 249969 h 2017022"/>
                <a:gd name="connsiteX560" fmla="*/ 724848 w 6378875"/>
                <a:gd name="connsiteY560" fmla="*/ 256076 h 2017022"/>
                <a:gd name="connsiteX561" fmla="*/ 701894 w 6378875"/>
                <a:gd name="connsiteY561" fmla="*/ 262394 h 2017022"/>
                <a:gd name="connsiteX562" fmla="*/ 673043 w 6378875"/>
                <a:gd name="connsiteY562" fmla="*/ 265342 h 2017022"/>
                <a:gd name="connsiteX563" fmla="*/ 662935 w 6378875"/>
                <a:gd name="connsiteY563" fmla="*/ 280294 h 2017022"/>
                <a:gd name="connsiteX564" fmla="*/ 666304 w 6378875"/>
                <a:gd name="connsiteY564" fmla="*/ 299037 h 2017022"/>
                <a:gd name="connsiteX565" fmla="*/ 670095 w 6378875"/>
                <a:gd name="connsiteY565" fmla="*/ 307671 h 2017022"/>
                <a:gd name="connsiteX566" fmla="*/ 671990 w 6378875"/>
                <a:gd name="connsiteY566" fmla="*/ 320095 h 2017022"/>
                <a:gd name="connsiteX567" fmla="*/ 666725 w 6378875"/>
                <a:gd name="connsiteY567" fmla="*/ 327255 h 2017022"/>
                <a:gd name="connsiteX568" fmla="*/ 634084 w 6378875"/>
                <a:gd name="connsiteY568" fmla="*/ 333363 h 2017022"/>
                <a:gd name="connsiteX569" fmla="*/ 600390 w 6378875"/>
                <a:gd name="connsiteY569" fmla="*/ 336311 h 2017022"/>
                <a:gd name="connsiteX570" fmla="*/ 573013 w 6378875"/>
                <a:gd name="connsiteY570" fmla="*/ 341576 h 2017022"/>
                <a:gd name="connsiteX571" fmla="*/ 539529 w 6378875"/>
                <a:gd name="connsiteY571" fmla="*/ 347261 h 2017022"/>
                <a:gd name="connsiteX572" fmla="*/ 528368 w 6378875"/>
                <a:gd name="connsiteY572" fmla="*/ 363687 h 2017022"/>
                <a:gd name="connsiteX573" fmla="*/ 494674 w 6378875"/>
                <a:gd name="connsiteY573" fmla="*/ 381377 h 2017022"/>
                <a:gd name="connsiteX574" fmla="*/ 460137 w 6378875"/>
                <a:gd name="connsiteY574" fmla="*/ 393380 h 2017022"/>
                <a:gd name="connsiteX575" fmla="*/ 426654 w 6378875"/>
                <a:gd name="connsiteY575" fmla="*/ 399066 h 2017022"/>
                <a:gd name="connsiteX576" fmla="*/ 416124 w 6378875"/>
                <a:gd name="connsiteY576" fmla="*/ 416756 h 2017022"/>
                <a:gd name="connsiteX577" fmla="*/ 387695 w 6378875"/>
                <a:gd name="connsiteY577" fmla="*/ 424337 h 2017022"/>
                <a:gd name="connsiteX578" fmla="*/ 364109 w 6378875"/>
                <a:gd name="connsiteY578" fmla="*/ 435498 h 2017022"/>
                <a:gd name="connsiteX579" fmla="*/ 336732 w 6378875"/>
                <a:gd name="connsiteY579" fmla="*/ 438868 h 2017022"/>
                <a:gd name="connsiteX580" fmla="*/ 314199 w 6378875"/>
                <a:gd name="connsiteY580" fmla="*/ 431708 h 2017022"/>
                <a:gd name="connsiteX581" fmla="*/ 298405 w 6378875"/>
                <a:gd name="connsiteY581" fmla="*/ 435077 h 2017022"/>
                <a:gd name="connsiteX582" fmla="*/ 308513 w 6378875"/>
                <a:gd name="connsiteY582" fmla="*/ 445607 h 2017022"/>
                <a:gd name="connsiteX583" fmla="*/ 300300 w 6378875"/>
                <a:gd name="connsiteY583" fmla="*/ 454241 h 2017022"/>
                <a:gd name="connsiteX584" fmla="*/ 271028 w 6378875"/>
                <a:gd name="connsiteY584" fmla="*/ 456557 h 2017022"/>
                <a:gd name="connsiteX585" fmla="*/ 257129 w 6378875"/>
                <a:gd name="connsiteY585" fmla="*/ 451714 h 2017022"/>
                <a:gd name="connsiteX586" fmla="*/ 231227 w 6378875"/>
                <a:gd name="connsiteY586" fmla="*/ 455504 h 2017022"/>
                <a:gd name="connsiteX587" fmla="*/ 198586 w 6378875"/>
                <a:gd name="connsiteY587" fmla="*/ 460769 h 2017022"/>
                <a:gd name="connsiteX588" fmla="*/ 198164 w 6378875"/>
                <a:gd name="connsiteY588" fmla="*/ 468350 h 2017022"/>
                <a:gd name="connsiteX589" fmla="*/ 201955 w 6378875"/>
                <a:gd name="connsiteY589" fmla="*/ 475089 h 2017022"/>
                <a:gd name="connsiteX590" fmla="*/ 212906 w 6378875"/>
                <a:gd name="connsiteY590" fmla="*/ 478037 h 2017022"/>
                <a:gd name="connsiteX591" fmla="*/ 232491 w 6378875"/>
                <a:gd name="connsiteY591" fmla="*/ 477616 h 2017022"/>
                <a:gd name="connsiteX592" fmla="*/ 261762 w 6378875"/>
                <a:gd name="connsiteY592" fmla="*/ 483513 h 2017022"/>
                <a:gd name="connsiteX593" fmla="*/ 279031 w 6378875"/>
                <a:gd name="connsiteY593" fmla="*/ 491094 h 2017022"/>
                <a:gd name="connsiteX594" fmla="*/ 300090 w 6378875"/>
                <a:gd name="connsiteY594" fmla="*/ 504150 h 2017022"/>
                <a:gd name="connsiteX595" fmla="*/ 313988 w 6378875"/>
                <a:gd name="connsiteY595" fmla="*/ 511942 h 2017022"/>
                <a:gd name="connsiteX596" fmla="*/ 313568 w 6378875"/>
                <a:gd name="connsiteY596" fmla="*/ 534054 h 2017022"/>
                <a:gd name="connsiteX597" fmla="*/ 300510 w 6378875"/>
                <a:gd name="connsiteY597" fmla="*/ 568591 h 2017022"/>
                <a:gd name="connsiteX598" fmla="*/ 278820 w 6378875"/>
                <a:gd name="connsiteY598" fmla="*/ 577646 h 2017022"/>
                <a:gd name="connsiteX599" fmla="*/ 251865 w 6378875"/>
                <a:gd name="connsiteY599" fmla="*/ 575329 h 2017022"/>
                <a:gd name="connsiteX600" fmla="*/ 185950 w 6378875"/>
                <a:gd name="connsiteY600" fmla="*/ 577646 h 2017022"/>
                <a:gd name="connsiteX601" fmla="*/ 135619 w 6378875"/>
                <a:gd name="connsiteY601" fmla="*/ 576593 h 2017022"/>
                <a:gd name="connsiteX602" fmla="*/ 98135 w 6378875"/>
                <a:gd name="connsiteY602" fmla="*/ 578909 h 2017022"/>
                <a:gd name="connsiteX603" fmla="*/ 77497 w 6378875"/>
                <a:gd name="connsiteY603" fmla="*/ 578067 h 2017022"/>
                <a:gd name="connsiteX604" fmla="*/ 51594 w 6378875"/>
                <a:gd name="connsiteY604" fmla="*/ 585648 h 2017022"/>
                <a:gd name="connsiteX605" fmla="*/ 26534 w 6378875"/>
                <a:gd name="connsiteY605" fmla="*/ 591334 h 2017022"/>
                <a:gd name="connsiteX606" fmla="*/ 22112 w 6378875"/>
                <a:gd name="connsiteY606" fmla="*/ 599547 h 2017022"/>
                <a:gd name="connsiteX607" fmla="*/ 30746 w 6378875"/>
                <a:gd name="connsiteY607" fmla="*/ 617868 h 2017022"/>
                <a:gd name="connsiteX608" fmla="*/ 33063 w 6378875"/>
                <a:gd name="connsiteY608" fmla="*/ 635558 h 2017022"/>
                <a:gd name="connsiteX609" fmla="*/ 28851 w 6378875"/>
                <a:gd name="connsiteY609" fmla="*/ 652826 h 2017022"/>
                <a:gd name="connsiteX610" fmla="*/ 15794 w 6378875"/>
                <a:gd name="connsiteY610" fmla="*/ 675359 h 2017022"/>
                <a:gd name="connsiteX611" fmla="*/ 0 w 6378875"/>
                <a:gd name="connsiteY611" fmla="*/ 696418 h 2017022"/>
                <a:gd name="connsiteX612" fmla="*/ 16847 w 6378875"/>
                <a:gd name="connsiteY612" fmla="*/ 706526 h 2017022"/>
                <a:gd name="connsiteX613" fmla="*/ 20217 w 6378875"/>
                <a:gd name="connsiteY613" fmla="*/ 727164 h 2017022"/>
                <a:gd name="connsiteX614" fmla="*/ 36432 w 6378875"/>
                <a:gd name="connsiteY614" fmla="*/ 740642 h 2017022"/>
                <a:gd name="connsiteX615" fmla="*/ 52226 w 6378875"/>
                <a:gd name="connsiteY615" fmla="*/ 743590 h 2017022"/>
                <a:gd name="connsiteX616" fmla="*/ 77707 w 6378875"/>
                <a:gd name="connsiteY616" fmla="*/ 733482 h 2017022"/>
                <a:gd name="connsiteX617" fmla="*/ 99819 w 6378875"/>
                <a:gd name="connsiteY617" fmla="*/ 740221 h 2017022"/>
                <a:gd name="connsiteX618" fmla="*/ 120878 w 6378875"/>
                <a:gd name="connsiteY618" fmla="*/ 760437 h 2017022"/>
                <a:gd name="connsiteX619" fmla="*/ 141937 w 6378875"/>
                <a:gd name="connsiteY619" fmla="*/ 758963 h 2017022"/>
                <a:gd name="connsiteX620" fmla="*/ 165102 w 6378875"/>
                <a:gd name="connsiteY620" fmla="*/ 747802 h 2017022"/>
                <a:gd name="connsiteX621" fmla="*/ 190583 w 6378875"/>
                <a:gd name="connsiteY621" fmla="*/ 742958 h 2017022"/>
                <a:gd name="connsiteX622" fmla="*/ 226594 w 6378875"/>
                <a:gd name="connsiteY622" fmla="*/ 739589 h 2017022"/>
                <a:gd name="connsiteX623" fmla="*/ 249127 w 6378875"/>
                <a:gd name="connsiteY623" fmla="*/ 739168 h 2017022"/>
                <a:gd name="connsiteX624" fmla="*/ 260078 w 6378875"/>
                <a:gd name="connsiteY624" fmla="*/ 737272 h 2017022"/>
                <a:gd name="connsiteX625" fmla="*/ 273977 w 6378875"/>
                <a:gd name="connsiteY625" fmla="*/ 730534 h 2017022"/>
                <a:gd name="connsiteX626" fmla="*/ 297563 w 6378875"/>
                <a:gd name="connsiteY626" fmla="*/ 716214 h 2017022"/>
                <a:gd name="connsiteX627" fmla="*/ 325992 w 6378875"/>
                <a:gd name="connsiteY627" fmla="*/ 697471 h 2017022"/>
                <a:gd name="connsiteX628" fmla="*/ 348104 w 6378875"/>
                <a:gd name="connsiteY628" fmla="*/ 689258 h 2017022"/>
                <a:gd name="connsiteX629" fmla="*/ 338417 w 6378875"/>
                <a:gd name="connsiteY629" fmla="*/ 675359 h 2017022"/>
                <a:gd name="connsiteX630" fmla="*/ 347472 w 6378875"/>
                <a:gd name="connsiteY630" fmla="*/ 655564 h 2017022"/>
                <a:gd name="connsiteX631" fmla="*/ 369163 w 6378875"/>
                <a:gd name="connsiteY631" fmla="*/ 636821 h 2017022"/>
                <a:gd name="connsiteX632" fmla="*/ 395486 w 6378875"/>
                <a:gd name="connsiteY632" fmla="*/ 626292 h 2017022"/>
                <a:gd name="connsiteX633" fmla="*/ 427707 w 6378875"/>
                <a:gd name="connsiteY633" fmla="*/ 620606 h 2017022"/>
                <a:gd name="connsiteX634" fmla="*/ 461822 w 6378875"/>
                <a:gd name="connsiteY634" fmla="*/ 604391 h 2017022"/>
                <a:gd name="connsiteX635" fmla="*/ 466245 w 6378875"/>
                <a:gd name="connsiteY635" fmla="*/ 587965 h 2017022"/>
                <a:gd name="connsiteX636" fmla="*/ 480143 w 6378875"/>
                <a:gd name="connsiteY636" fmla="*/ 569854 h 2017022"/>
                <a:gd name="connsiteX637" fmla="*/ 529211 w 6378875"/>
                <a:gd name="connsiteY637" fmla="*/ 566485 h 2017022"/>
                <a:gd name="connsiteX638" fmla="*/ 556587 w 6378875"/>
                <a:gd name="connsiteY638" fmla="*/ 570907 h 2017022"/>
                <a:gd name="connsiteX639" fmla="*/ 588175 w 6378875"/>
                <a:gd name="connsiteY639" fmla="*/ 572381 h 2017022"/>
                <a:gd name="connsiteX640" fmla="*/ 613657 w 6378875"/>
                <a:gd name="connsiteY640" fmla="*/ 559325 h 2017022"/>
                <a:gd name="connsiteX641" fmla="*/ 641454 w 6378875"/>
                <a:gd name="connsiteY641" fmla="*/ 553428 h 2017022"/>
                <a:gd name="connsiteX642" fmla="*/ 668831 w 6378875"/>
                <a:gd name="connsiteY642" fmla="*/ 539529 h 2017022"/>
                <a:gd name="connsiteX643" fmla="*/ 696208 w 6378875"/>
                <a:gd name="connsiteY643" fmla="*/ 542478 h 2017022"/>
                <a:gd name="connsiteX644" fmla="*/ 721268 w 6378875"/>
                <a:gd name="connsiteY644" fmla="*/ 546268 h 2017022"/>
                <a:gd name="connsiteX645" fmla="*/ 735167 w 6378875"/>
                <a:gd name="connsiteY645" fmla="*/ 570275 h 2017022"/>
                <a:gd name="connsiteX646" fmla="*/ 770756 w 6378875"/>
                <a:gd name="connsiteY646" fmla="*/ 585648 h 2017022"/>
                <a:gd name="connsiteX647" fmla="*/ 804451 w 6378875"/>
                <a:gd name="connsiteY647" fmla="*/ 602917 h 2017022"/>
                <a:gd name="connsiteX648" fmla="*/ 830353 w 6378875"/>
                <a:gd name="connsiteY648" fmla="*/ 610498 h 2017022"/>
                <a:gd name="connsiteX649" fmla="*/ 858151 w 6378875"/>
                <a:gd name="connsiteY649" fmla="*/ 613446 h 2017022"/>
                <a:gd name="connsiteX650" fmla="*/ 877946 w 6378875"/>
                <a:gd name="connsiteY650" fmla="*/ 623554 h 2017022"/>
                <a:gd name="connsiteX651" fmla="*/ 893319 w 6378875"/>
                <a:gd name="connsiteY651" fmla="*/ 628398 h 2017022"/>
                <a:gd name="connsiteX652" fmla="*/ 915852 w 6378875"/>
                <a:gd name="connsiteY652" fmla="*/ 639980 h 2017022"/>
                <a:gd name="connsiteX653" fmla="*/ 926803 w 6378875"/>
                <a:gd name="connsiteY653" fmla="*/ 646719 h 2017022"/>
                <a:gd name="connsiteX654" fmla="*/ 936911 w 6378875"/>
                <a:gd name="connsiteY654" fmla="*/ 661671 h 2017022"/>
                <a:gd name="connsiteX655" fmla="*/ 924908 w 6378875"/>
                <a:gd name="connsiteY655" fmla="*/ 673253 h 2017022"/>
                <a:gd name="connsiteX656" fmla="*/ 919221 w 6378875"/>
                <a:gd name="connsiteY656" fmla="*/ 681466 h 2017022"/>
                <a:gd name="connsiteX657" fmla="*/ 901532 w 6378875"/>
                <a:gd name="connsiteY657" fmla="*/ 685257 h 2017022"/>
                <a:gd name="connsiteX658" fmla="*/ 874156 w 6378875"/>
                <a:gd name="connsiteY658" fmla="*/ 687995 h 2017022"/>
                <a:gd name="connsiteX659" fmla="*/ 843831 w 6378875"/>
                <a:gd name="connsiteY659" fmla="*/ 687573 h 2017022"/>
                <a:gd name="connsiteX660" fmla="*/ 824035 w 6378875"/>
                <a:gd name="connsiteY660" fmla="*/ 684836 h 2017022"/>
                <a:gd name="connsiteX661" fmla="*/ 801502 w 6378875"/>
                <a:gd name="connsiteY661" fmla="*/ 688626 h 2017022"/>
                <a:gd name="connsiteX662" fmla="*/ 802345 w 6378875"/>
                <a:gd name="connsiteY662" fmla="*/ 699577 h 2017022"/>
                <a:gd name="connsiteX663" fmla="*/ 827405 w 6378875"/>
                <a:gd name="connsiteY663" fmla="*/ 703368 h 2017022"/>
                <a:gd name="connsiteX664" fmla="*/ 849517 w 6378875"/>
                <a:gd name="connsiteY664" fmla="*/ 712423 h 2017022"/>
                <a:gd name="connsiteX665" fmla="*/ 864890 w 6378875"/>
                <a:gd name="connsiteY665" fmla="*/ 712423 h 2017022"/>
                <a:gd name="connsiteX666" fmla="*/ 884053 w 6378875"/>
                <a:gd name="connsiteY666" fmla="*/ 721689 h 2017022"/>
                <a:gd name="connsiteX667" fmla="*/ 907008 w 6378875"/>
                <a:gd name="connsiteY667" fmla="*/ 713897 h 2017022"/>
                <a:gd name="connsiteX668" fmla="*/ 903217 w 6378875"/>
                <a:gd name="connsiteY668" fmla="*/ 697050 h 2017022"/>
                <a:gd name="connsiteX669" fmla="*/ 914168 w 6378875"/>
                <a:gd name="connsiteY669" fmla="*/ 686942 h 2017022"/>
                <a:gd name="connsiteX670" fmla="*/ 930383 w 6378875"/>
                <a:gd name="connsiteY670" fmla="*/ 692628 h 2017022"/>
                <a:gd name="connsiteX671" fmla="*/ 940912 w 6378875"/>
                <a:gd name="connsiteY671" fmla="*/ 682519 h 2017022"/>
                <a:gd name="connsiteX672" fmla="*/ 954811 w 6378875"/>
                <a:gd name="connsiteY672" fmla="*/ 676412 h 2017022"/>
                <a:gd name="connsiteX673" fmla="*/ 960076 w 6378875"/>
                <a:gd name="connsiteY673" fmla="*/ 666304 h 2017022"/>
                <a:gd name="connsiteX674" fmla="*/ 975870 w 6378875"/>
                <a:gd name="connsiteY674" fmla="*/ 662513 h 2017022"/>
                <a:gd name="connsiteX675" fmla="*/ 956706 w 6378875"/>
                <a:gd name="connsiteY675" fmla="*/ 649457 h 2017022"/>
                <a:gd name="connsiteX676" fmla="*/ 951021 w 6378875"/>
                <a:gd name="connsiteY676" fmla="*/ 637453 h 2017022"/>
                <a:gd name="connsiteX677" fmla="*/ 968289 w 6378875"/>
                <a:gd name="connsiteY677" fmla="*/ 627977 h 2017022"/>
                <a:gd name="connsiteX678" fmla="*/ 987031 w 6378875"/>
                <a:gd name="connsiteY678" fmla="*/ 631767 h 2017022"/>
                <a:gd name="connsiteX679" fmla="*/ 1001984 w 6378875"/>
                <a:gd name="connsiteY679" fmla="*/ 635558 h 2017022"/>
                <a:gd name="connsiteX680" fmla="*/ 1015040 w 6378875"/>
                <a:gd name="connsiteY680" fmla="*/ 643350 h 2017022"/>
                <a:gd name="connsiteX681" fmla="*/ 1019251 w 6378875"/>
                <a:gd name="connsiteY681" fmla="*/ 630925 h 2017022"/>
                <a:gd name="connsiteX682" fmla="*/ 974607 w 6378875"/>
                <a:gd name="connsiteY682" fmla="*/ 613657 h 2017022"/>
                <a:gd name="connsiteX683" fmla="*/ 939649 w 6378875"/>
                <a:gd name="connsiteY683" fmla="*/ 606918 h 2017022"/>
                <a:gd name="connsiteX684" fmla="*/ 928487 w 6378875"/>
                <a:gd name="connsiteY684" fmla="*/ 600179 h 2017022"/>
                <a:gd name="connsiteX685" fmla="*/ 941965 w 6378875"/>
                <a:gd name="connsiteY685" fmla="*/ 593861 h 2017022"/>
                <a:gd name="connsiteX686" fmla="*/ 919432 w 6378875"/>
                <a:gd name="connsiteY686" fmla="*/ 592387 h 2017022"/>
                <a:gd name="connsiteX687" fmla="*/ 882368 w 6378875"/>
                <a:gd name="connsiteY687" fmla="*/ 587122 h 2017022"/>
                <a:gd name="connsiteX688" fmla="*/ 862152 w 6378875"/>
                <a:gd name="connsiteY688" fmla="*/ 574698 h 2017022"/>
                <a:gd name="connsiteX689" fmla="*/ 845726 w 6378875"/>
                <a:gd name="connsiteY689" fmla="*/ 554902 h 2017022"/>
                <a:gd name="connsiteX690" fmla="*/ 814980 w 6378875"/>
                <a:gd name="connsiteY690" fmla="*/ 544794 h 2017022"/>
                <a:gd name="connsiteX691" fmla="*/ 799186 w 6378875"/>
                <a:gd name="connsiteY691" fmla="*/ 534265 h 2017022"/>
                <a:gd name="connsiteX692" fmla="*/ 806346 w 6378875"/>
                <a:gd name="connsiteY692" fmla="*/ 524999 h 2017022"/>
                <a:gd name="connsiteX693" fmla="*/ 801081 w 6378875"/>
                <a:gd name="connsiteY693" fmla="*/ 518260 h 2017022"/>
                <a:gd name="connsiteX694" fmla="*/ 806346 w 6378875"/>
                <a:gd name="connsiteY694" fmla="*/ 511521 h 2017022"/>
                <a:gd name="connsiteX695" fmla="*/ 832248 w 6378875"/>
                <a:gd name="connsiteY695" fmla="*/ 505203 h 2017022"/>
                <a:gd name="connsiteX696" fmla="*/ 843831 w 6378875"/>
                <a:gd name="connsiteY696" fmla="*/ 503729 h 2017022"/>
                <a:gd name="connsiteX697" fmla="*/ 848674 w 6378875"/>
                <a:gd name="connsiteY697" fmla="*/ 508994 h 2017022"/>
                <a:gd name="connsiteX698" fmla="*/ 847200 w 6378875"/>
                <a:gd name="connsiteY698" fmla="*/ 519944 h 2017022"/>
                <a:gd name="connsiteX699" fmla="*/ 855835 w 6378875"/>
                <a:gd name="connsiteY699" fmla="*/ 526683 h 2017022"/>
                <a:gd name="connsiteX700" fmla="*/ 869733 w 6378875"/>
                <a:gd name="connsiteY700" fmla="*/ 518049 h 2017022"/>
                <a:gd name="connsiteX701" fmla="*/ 883211 w 6378875"/>
                <a:gd name="connsiteY701" fmla="*/ 521419 h 2017022"/>
                <a:gd name="connsiteX702" fmla="*/ 890792 w 6378875"/>
                <a:gd name="connsiteY702" fmla="*/ 535949 h 2017022"/>
                <a:gd name="connsiteX703" fmla="*/ 917115 w 6378875"/>
                <a:gd name="connsiteY703" fmla="*/ 549427 h 2017022"/>
                <a:gd name="connsiteX704" fmla="*/ 943018 w 6378875"/>
                <a:gd name="connsiteY704" fmla="*/ 556587 h 2017022"/>
                <a:gd name="connsiteX705" fmla="*/ 971869 w 6378875"/>
                <a:gd name="connsiteY705" fmla="*/ 562273 h 2017022"/>
                <a:gd name="connsiteX706" fmla="*/ 995876 w 6378875"/>
                <a:gd name="connsiteY706" fmla="*/ 570907 h 2017022"/>
                <a:gd name="connsiteX707" fmla="*/ 1027043 w 6378875"/>
                <a:gd name="connsiteY707" fmla="*/ 582068 h 2017022"/>
                <a:gd name="connsiteX708" fmla="*/ 1046838 w 6378875"/>
                <a:gd name="connsiteY708" fmla="*/ 589860 h 2017022"/>
                <a:gd name="connsiteX709" fmla="*/ 1057368 w 6378875"/>
                <a:gd name="connsiteY709" fmla="*/ 598494 h 2017022"/>
                <a:gd name="connsiteX710" fmla="*/ 1053157 w 6378875"/>
                <a:gd name="connsiteY710" fmla="*/ 625450 h 2017022"/>
                <a:gd name="connsiteX711" fmla="*/ 1073373 w 6378875"/>
                <a:gd name="connsiteY711" fmla="*/ 640401 h 2017022"/>
                <a:gd name="connsiteX712" fmla="*/ 1092537 w 6378875"/>
                <a:gd name="connsiteY712" fmla="*/ 659144 h 2017022"/>
                <a:gd name="connsiteX713" fmla="*/ 1106014 w 6378875"/>
                <a:gd name="connsiteY713" fmla="*/ 667778 h 2017022"/>
                <a:gd name="connsiteX714" fmla="*/ 1095485 w 6378875"/>
                <a:gd name="connsiteY714" fmla="*/ 680835 h 2017022"/>
                <a:gd name="connsiteX715" fmla="*/ 1105593 w 6378875"/>
                <a:gd name="connsiteY715" fmla="*/ 686099 h 2017022"/>
                <a:gd name="connsiteX716" fmla="*/ 1114227 w 6378875"/>
                <a:gd name="connsiteY716" fmla="*/ 673043 h 2017022"/>
                <a:gd name="connsiteX717" fmla="*/ 1124336 w 6378875"/>
                <a:gd name="connsiteY717" fmla="*/ 681256 h 2017022"/>
                <a:gd name="connsiteX718" fmla="*/ 1136760 w 6378875"/>
                <a:gd name="connsiteY718" fmla="*/ 683572 h 2017022"/>
                <a:gd name="connsiteX719" fmla="*/ 1121387 w 6378875"/>
                <a:gd name="connsiteY719" fmla="*/ 691785 h 2017022"/>
                <a:gd name="connsiteX720" fmla="*/ 1134865 w 6378875"/>
                <a:gd name="connsiteY720" fmla="*/ 700841 h 2017022"/>
                <a:gd name="connsiteX721" fmla="*/ 1138656 w 6378875"/>
                <a:gd name="connsiteY721" fmla="*/ 713265 h 2017022"/>
                <a:gd name="connsiteX722" fmla="*/ 1159293 w 6378875"/>
                <a:gd name="connsiteY722" fmla="*/ 717056 h 2017022"/>
                <a:gd name="connsiteX723" fmla="*/ 1161610 w 6378875"/>
                <a:gd name="connsiteY723" fmla="*/ 725690 h 2017022"/>
                <a:gd name="connsiteX724" fmla="*/ 1175930 w 6378875"/>
                <a:gd name="connsiteY724" fmla="*/ 724637 h 2017022"/>
                <a:gd name="connsiteX725" fmla="*/ 1183090 w 6378875"/>
                <a:gd name="connsiteY725" fmla="*/ 723163 h 2017022"/>
                <a:gd name="connsiteX726" fmla="*/ 1192777 w 6378875"/>
                <a:gd name="connsiteY726" fmla="*/ 736641 h 2017022"/>
                <a:gd name="connsiteX727" fmla="*/ 1194672 w 6378875"/>
                <a:gd name="connsiteY727" fmla="*/ 716845 h 2017022"/>
                <a:gd name="connsiteX728" fmla="*/ 1178457 w 6378875"/>
                <a:gd name="connsiteY728" fmla="*/ 699577 h 2017022"/>
                <a:gd name="connsiteX729" fmla="*/ 1196778 w 6378875"/>
                <a:gd name="connsiteY729" fmla="*/ 704842 h 2017022"/>
                <a:gd name="connsiteX730" fmla="*/ 1196778 w 6378875"/>
                <a:gd name="connsiteY730" fmla="*/ 696629 h 2017022"/>
                <a:gd name="connsiteX731" fmla="*/ 1185196 w 6378875"/>
                <a:gd name="connsiteY731" fmla="*/ 686520 h 2017022"/>
                <a:gd name="connsiteX732" fmla="*/ 1155503 w 6378875"/>
                <a:gd name="connsiteY732" fmla="*/ 678729 h 2017022"/>
                <a:gd name="connsiteX733" fmla="*/ 1193409 w 6378875"/>
                <a:gd name="connsiteY733" fmla="*/ 683572 h 2017022"/>
                <a:gd name="connsiteX734" fmla="*/ 1211098 w 6378875"/>
                <a:gd name="connsiteY734" fmla="*/ 691364 h 2017022"/>
                <a:gd name="connsiteX735" fmla="*/ 1230262 w 6378875"/>
                <a:gd name="connsiteY735" fmla="*/ 697682 h 2017022"/>
                <a:gd name="connsiteX736" fmla="*/ 1222049 w 6378875"/>
                <a:gd name="connsiteY736" fmla="*/ 683783 h 2017022"/>
                <a:gd name="connsiteX737" fmla="*/ 1235105 w 6378875"/>
                <a:gd name="connsiteY737" fmla="*/ 681888 h 2017022"/>
                <a:gd name="connsiteX738" fmla="*/ 1221206 w 6378875"/>
                <a:gd name="connsiteY738" fmla="*/ 669463 h 2017022"/>
                <a:gd name="connsiteX739" fmla="*/ 1198674 w 6378875"/>
                <a:gd name="connsiteY739" fmla="*/ 667567 h 2017022"/>
                <a:gd name="connsiteX740" fmla="*/ 1185827 w 6378875"/>
                <a:gd name="connsiteY740" fmla="*/ 659776 h 2017022"/>
                <a:gd name="connsiteX741" fmla="*/ 1189618 w 6378875"/>
                <a:gd name="connsiteY741" fmla="*/ 647772 h 2017022"/>
                <a:gd name="connsiteX742" fmla="*/ 1172350 w 6378875"/>
                <a:gd name="connsiteY742" fmla="*/ 637664 h 2017022"/>
                <a:gd name="connsiteX743" fmla="*/ 1179510 w 6378875"/>
                <a:gd name="connsiteY743" fmla="*/ 627134 h 2017022"/>
                <a:gd name="connsiteX744" fmla="*/ 1198674 w 6378875"/>
                <a:gd name="connsiteY744" fmla="*/ 632820 h 2017022"/>
                <a:gd name="connsiteX745" fmla="*/ 1218890 w 6378875"/>
                <a:gd name="connsiteY745" fmla="*/ 636611 h 2017022"/>
                <a:gd name="connsiteX746" fmla="*/ 1220785 w 6378875"/>
                <a:gd name="connsiteY746" fmla="*/ 630925 h 2017022"/>
                <a:gd name="connsiteX747" fmla="*/ 1218890 w 6378875"/>
                <a:gd name="connsiteY747" fmla="*/ 621238 h 2017022"/>
                <a:gd name="connsiteX748" fmla="*/ 1239949 w 6378875"/>
                <a:gd name="connsiteY748" fmla="*/ 617868 h 2017022"/>
                <a:gd name="connsiteX749" fmla="*/ 1261640 w 6378875"/>
                <a:gd name="connsiteY749" fmla="*/ 616394 h 2017022"/>
                <a:gd name="connsiteX750" fmla="*/ 1283751 w 6378875"/>
                <a:gd name="connsiteY750" fmla="*/ 617868 h 2017022"/>
                <a:gd name="connsiteX751" fmla="*/ 1300177 w 6378875"/>
                <a:gd name="connsiteY751" fmla="*/ 622291 h 2017022"/>
                <a:gd name="connsiteX752" fmla="*/ 1307759 w 6378875"/>
                <a:gd name="connsiteY752" fmla="*/ 625239 h 2017022"/>
                <a:gd name="connsiteX753" fmla="*/ 1332819 w 6378875"/>
                <a:gd name="connsiteY753" fmla="*/ 626292 h 2017022"/>
                <a:gd name="connsiteX754" fmla="*/ 1356826 w 6378875"/>
                <a:gd name="connsiteY754" fmla="*/ 616184 h 2017022"/>
                <a:gd name="connsiteX755" fmla="*/ 1380412 w 6378875"/>
                <a:gd name="connsiteY755" fmla="*/ 616184 h 2017022"/>
                <a:gd name="connsiteX756" fmla="*/ 1412632 w 6378875"/>
                <a:gd name="connsiteY756" fmla="*/ 619974 h 2017022"/>
                <a:gd name="connsiteX757" fmla="*/ 1407789 w 6378875"/>
                <a:gd name="connsiteY757" fmla="*/ 628608 h 2017022"/>
                <a:gd name="connsiteX758" fmla="*/ 1373673 w 6378875"/>
                <a:gd name="connsiteY758" fmla="*/ 630504 h 2017022"/>
                <a:gd name="connsiteX759" fmla="*/ 1348823 w 6378875"/>
                <a:gd name="connsiteY759" fmla="*/ 632820 h 2017022"/>
                <a:gd name="connsiteX760" fmla="*/ 1327554 w 6378875"/>
                <a:gd name="connsiteY760" fmla="*/ 630925 h 2017022"/>
                <a:gd name="connsiteX761" fmla="*/ 1304600 w 6378875"/>
                <a:gd name="connsiteY761" fmla="*/ 633663 h 2017022"/>
                <a:gd name="connsiteX762" fmla="*/ 1298914 w 6378875"/>
                <a:gd name="connsiteY762" fmla="*/ 650089 h 2017022"/>
                <a:gd name="connsiteX763" fmla="*/ 1325869 w 6378875"/>
                <a:gd name="connsiteY763" fmla="*/ 648614 h 2017022"/>
                <a:gd name="connsiteX764" fmla="*/ 1329660 w 6378875"/>
                <a:gd name="connsiteY764" fmla="*/ 656196 h 2017022"/>
                <a:gd name="connsiteX765" fmla="*/ 1330502 w 6378875"/>
                <a:gd name="connsiteY765" fmla="*/ 669673 h 2017022"/>
                <a:gd name="connsiteX766" fmla="*/ 1324185 w 6378875"/>
                <a:gd name="connsiteY766" fmla="*/ 676412 h 2017022"/>
                <a:gd name="connsiteX767" fmla="*/ 1329449 w 6378875"/>
                <a:gd name="connsiteY767" fmla="*/ 686520 h 2017022"/>
                <a:gd name="connsiteX768" fmla="*/ 1343980 w 6378875"/>
                <a:gd name="connsiteY768" fmla="*/ 694733 h 2017022"/>
                <a:gd name="connsiteX769" fmla="*/ 1347771 w 6378875"/>
                <a:gd name="connsiteY769" fmla="*/ 706737 h 2017022"/>
                <a:gd name="connsiteX770" fmla="*/ 1368409 w 6378875"/>
                <a:gd name="connsiteY770" fmla="*/ 714950 h 2017022"/>
                <a:gd name="connsiteX771" fmla="*/ 1372831 w 6378875"/>
                <a:gd name="connsiteY771" fmla="*/ 722531 h 2017022"/>
                <a:gd name="connsiteX772" fmla="*/ 1394521 w 6378875"/>
                <a:gd name="connsiteY772" fmla="*/ 719162 h 2017022"/>
                <a:gd name="connsiteX773" fmla="*/ 1416633 w 6378875"/>
                <a:gd name="connsiteY773" fmla="*/ 731165 h 2017022"/>
                <a:gd name="connsiteX774" fmla="*/ 1444431 w 6378875"/>
                <a:gd name="connsiteY774" fmla="*/ 734956 h 2017022"/>
                <a:gd name="connsiteX775" fmla="*/ 1468859 w 6378875"/>
                <a:gd name="connsiteY775" fmla="*/ 727164 h 2017022"/>
                <a:gd name="connsiteX776" fmla="*/ 1488023 w 6378875"/>
                <a:gd name="connsiteY776" fmla="*/ 720425 h 2017022"/>
                <a:gd name="connsiteX777" fmla="*/ 1533089 w 6378875"/>
                <a:gd name="connsiteY777" fmla="*/ 736219 h 2017022"/>
                <a:gd name="connsiteX778" fmla="*/ 1562361 w 6378875"/>
                <a:gd name="connsiteY778" fmla="*/ 741905 h 2017022"/>
                <a:gd name="connsiteX779" fmla="*/ 1598371 w 6378875"/>
                <a:gd name="connsiteY779" fmla="*/ 734114 h 2017022"/>
                <a:gd name="connsiteX780" fmla="*/ 1621326 w 6378875"/>
                <a:gd name="connsiteY780" fmla="*/ 724637 h 2017022"/>
                <a:gd name="connsiteX781" fmla="*/ 1649124 w 6378875"/>
                <a:gd name="connsiteY781" fmla="*/ 730744 h 2017022"/>
                <a:gd name="connsiteX782" fmla="*/ 1670604 w 6378875"/>
                <a:gd name="connsiteY782" fmla="*/ 723163 h 2017022"/>
                <a:gd name="connsiteX783" fmla="*/ 1663023 w 6378875"/>
                <a:gd name="connsiteY783" fmla="*/ 737694 h 2017022"/>
                <a:gd name="connsiteX784" fmla="*/ 1664497 w 6378875"/>
                <a:gd name="connsiteY784" fmla="*/ 758331 h 2017022"/>
                <a:gd name="connsiteX785" fmla="*/ 1667866 w 6378875"/>
                <a:gd name="connsiteY785" fmla="*/ 781496 h 2017022"/>
                <a:gd name="connsiteX786" fmla="*/ 1655863 w 6378875"/>
                <a:gd name="connsiteY786" fmla="*/ 796448 h 2017022"/>
                <a:gd name="connsiteX787" fmla="*/ 1637541 w 6378875"/>
                <a:gd name="connsiteY787" fmla="*/ 826773 h 2017022"/>
                <a:gd name="connsiteX788" fmla="*/ 1600478 w 6378875"/>
                <a:gd name="connsiteY788" fmla="*/ 869101 h 2017022"/>
                <a:gd name="connsiteX789" fmla="*/ 1545724 w 6378875"/>
                <a:gd name="connsiteY789" fmla="*/ 869522 h 2017022"/>
                <a:gd name="connsiteX790" fmla="*/ 1534563 w 6378875"/>
                <a:gd name="connsiteY790" fmla="*/ 865732 h 2017022"/>
                <a:gd name="connsiteX791" fmla="*/ 1535195 w 6378875"/>
                <a:gd name="connsiteY791" fmla="*/ 878788 h 2017022"/>
                <a:gd name="connsiteX792" fmla="*/ 1544882 w 6378875"/>
                <a:gd name="connsiteY792" fmla="*/ 894161 h 2017022"/>
                <a:gd name="connsiteX793" fmla="*/ 1546778 w 6378875"/>
                <a:gd name="connsiteY793" fmla="*/ 903217 h 2017022"/>
                <a:gd name="connsiteX794" fmla="*/ 1559202 w 6378875"/>
                <a:gd name="connsiteY794" fmla="*/ 918590 h 2017022"/>
                <a:gd name="connsiteX795" fmla="*/ 1572259 w 6378875"/>
                <a:gd name="connsiteY795" fmla="*/ 932489 h 2017022"/>
                <a:gd name="connsiteX796" fmla="*/ 1578998 w 6378875"/>
                <a:gd name="connsiteY796" fmla="*/ 942597 h 2017022"/>
                <a:gd name="connsiteX797" fmla="*/ 1605742 w 6378875"/>
                <a:gd name="connsiteY797" fmla="*/ 961760 h 2017022"/>
                <a:gd name="connsiteX798" fmla="*/ 1619641 w 6378875"/>
                <a:gd name="connsiteY798" fmla="*/ 959865 h 2017022"/>
                <a:gd name="connsiteX799" fmla="*/ 1625959 w 6378875"/>
                <a:gd name="connsiteY799" fmla="*/ 939227 h 2017022"/>
                <a:gd name="connsiteX800" fmla="*/ 1631645 w 6378875"/>
                <a:gd name="connsiteY800" fmla="*/ 921538 h 2017022"/>
                <a:gd name="connsiteX801" fmla="*/ 1640700 w 6378875"/>
                <a:gd name="connsiteY801" fmla="*/ 915852 h 2017022"/>
                <a:gd name="connsiteX802" fmla="*/ 1634804 w 6378875"/>
                <a:gd name="connsiteY802" fmla="*/ 932699 h 2017022"/>
                <a:gd name="connsiteX803" fmla="*/ 1629539 w 6378875"/>
                <a:gd name="connsiteY803" fmla="*/ 947019 h 2017022"/>
                <a:gd name="connsiteX804" fmla="*/ 1628065 w 6378875"/>
                <a:gd name="connsiteY804" fmla="*/ 957127 h 2017022"/>
                <a:gd name="connsiteX805" fmla="*/ 1650598 w 6378875"/>
                <a:gd name="connsiteY805" fmla="*/ 959444 h 2017022"/>
                <a:gd name="connsiteX806" fmla="*/ 1676501 w 6378875"/>
                <a:gd name="connsiteY806" fmla="*/ 985346 h 2017022"/>
                <a:gd name="connsiteX807" fmla="*/ 1706825 w 6378875"/>
                <a:gd name="connsiteY807" fmla="*/ 1012723 h 2017022"/>
                <a:gd name="connsiteX808" fmla="*/ 1713564 w 6378875"/>
                <a:gd name="connsiteY808" fmla="*/ 1028096 h 2017022"/>
                <a:gd name="connsiteX809" fmla="*/ 1727042 w 6378875"/>
                <a:gd name="connsiteY809" fmla="*/ 1036730 h 2017022"/>
                <a:gd name="connsiteX810" fmla="*/ 1730411 w 6378875"/>
                <a:gd name="connsiteY810" fmla="*/ 1051682 h 2017022"/>
                <a:gd name="connsiteX811" fmla="*/ 1745784 w 6378875"/>
                <a:gd name="connsiteY811" fmla="*/ 1065581 h 2017022"/>
                <a:gd name="connsiteX812" fmla="*/ 1771687 w 6378875"/>
                <a:gd name="connsiteY812" fmla="*/ 1078637 h 2017022"/>
                <a:gd name="connsiteX813" fmla="*/ 1799695 w 6378875"/>
                <a:gd name="connsiteY813" fmla="*/ 1112753 h 2017022"/>
                <a:gd name="connsiteX814" fmla="*/ 1803907 w 6378875"/>
                <a:gd name="connsiteY814" fmla="*/ 1129600 h 2017022"/>
                <a:gd name="connsiteX815" fmla="*/ 1805381 w 6378875"/>
                <a:gd name="connsiteY815" fmla="*/ 1142656 h 2017022"/>
                <a:gd name="connsiteX816" fmla="*/ 1809171 w 6378875"/>
                <a:gd name="connsiteY816" fmla="*/ 1156977 h 2017022"/>
                <a:gd name="connsiteX817" fmla="*/ 1831283 w 6378875"/>
                <a:gd name="connsiteY817" fmla="*/ 1180141 h 2017022"/>
                <a:gd name="connsiteX818" fmla="*/ 1861187 w 6378875"/>
                <a:gd name="connsiteY818" fmla="*/ 1192566 h 2017022"/>
                <a:gd name="connsiteX819" fmla="*/ 1904989 w 6378875"/>
                <a:gd name="connsiteY819" fmla="*/ 1248793 h 2017022"/>
                <a:gd name="connsiteX820" fmla="*/ 1932366 w 6378875"/>
                <a:gd name="connsiteY820" fmla="*/ 1270484 h 2017022"/>
                <a:gd name="connsiteX821" fmla="*/ 1942474 w 6378875"/>
                <a:gd name="connsiteY821" fmla="*/ 1285857 h 2017022"/>
                <a:gd name="connsiteX822" fmla="*/ 1956373 w 6378875"/>
                <a:gd name="connsiteY822" fmla="*/ 1302704 h 2017022"/>
                <a:gd name="connsiteX823" fmla="*/ 1958479 w 6378875"/>
                <a:gd name="connsiteY823" fmla="*/ 1326711 h 2017022"/>
                <a:gd name="connsiteX824" fmla="*/ 1960796 w 6378875"/>
                <a:gd name="connsiteY824" fmla="*/ 1342506 h 2017022"/>
                <a:gd name="connsiteX825" fmla="*/ 1970483 w 6378875"/>
                <a:gd name="connsiteY825" fmla="*/ 1363143 h 2017022"/>
                <a:gd name="connsiteX826" fmla="*/ 1981644 w 6378875"/>
                <a:gd name="connsiteY826" fmla="*/ 1387572 h 2017022"/>
                <a:gd name="connsiteX827" fmla="*/ 1983960 w 6378875"/>
                <a:gd name="connsiteY827" fmla="*/ 1407156 h 2017022"/>
                <a:gd name="connsiteX828" fmla="*/ 2006072 w 6378875"/>
                <a:gd name="connsiteY828" fmla="*/ 1425899 h 2017022"/>
                <a:gd name="connsiteX829" fmla="*/ 2041662 w 6378875"/>
                <a:gd name="connsiteY829" fmla="*/ 1425899 h 2017022"/>
                <a:gd name="connsiteX830" fmla="*/ 2062299 w 6378875"/>
                <a:gd name="connsiteY830" fmla="*/ 1419581 h 2017022"/>
                <a:gd name="connsiteX831" fmla="*/ 2089255 w 6378875"/>
                <a:gd name="connsiteY831" fmla="*/ 1404208 h 2017022"/>
                <a:gd name="connsiteX832" fmla="*/ 2129688 w 6378875"/>
                <a:gd name="connsiteY832" fmla="*/ 1406525 h 2017022"/>
                <a:gd name="connsiteX833" fmla="*/ 2150115 w 6378875"/>
                <a:gd name="connsiteY833" fmla="*/ 1399365 h 2017022"/>
                <a:gd name="connsiteX834" fmla="*/ 2165067 w 6378875"/>
                <a:gd name="connsiteY834" fmla="*/ 1389256 h 2017022"/>
                <a:gd name="connsiteX835" fmla="*/ 2197287 w 6378875"/>
                <a:gd name="connsiteY835" fmla="*/ 1390309 h 2017022"/>
                <a:gd name="connsiteX836" fmla="*/ 2241511 w 6378875"/>
                <a:gd name="connsiteY836" fmla="*/ 1367144 h 2017022"/>
                <a:gd name="connsiteX837" fmla="*/ 2274784 w 6378875"/>
                <a:gd name="connsiteY837" fmla="*/ 1361880 h 2017022"/>
                <a:gd name="connsiteX838" fmla="*/ 2301950 w 6378875"/>
                <a:gd name="connsiteY838" fmla="*/ 1356615 h 2017022"/>
                <a:gd name="connsiteX839" fmla="*/ 2323220 w 6378875"/>
                <a:gd name="connsiteY839" fmla="*/ 1346086 h 2017022"/>
                <a:gd name="connsiteX840" fmla="*/ 2336276 w 6378875"/>
                <a:gd name="connsiteY840" fmla="*/ 1323974 h 2017022"/>
                <a:gd name="connsiteX841" fmla="*/ 2377130 w 6378875"/>
                <a:gd name="connsiteY841" fmla="*/ 1313865 h 2017022"/>
                <a:gd name="connsiteX842" fmla="*/ 2416931 w 6378875"/>
                <a:gd name="connsiteY842" fmla="*/ 1311549 h 2017022"/>
                <a:gd name="connsiteX843" fmla="*/ 2439465 w 6378875"/>
                <a:gd name="connsiteY843" fmla="*/ 1303336 h 2017022"/>
                <a:gd name="connsiteX844" fmla="*/ 2446204 w 6378875"/>
                <a:gd name="connsiteY844" fmla="*/ 1286489 h 2017022"/>
                <a:gd name="connsiteX845" fmla="*/ 2476318 w 6378875"/>
                <a:gd name="connsiteY845" fmla="*/ 1286489 h 2017022"/>
                <a:gd name="connsiteX846" fmla="*/ 2493586 w 6378875"/>
                <a:gd name="connsiteY846" fmla="*/ 1263956 h 2017022"/>
                <a:gd name="connsiteX847" fmla="*/ 2524754 w 6378875"/>
                <a:gd name="connsiteY847" fmla="*/ 1260586 h 2017022"/>
                <a:gd name="connsiteX848" fmla="*/ 2525385 w 6378875"/>
                <a:gd name="connsiteY848" fmla="*/ 1245213 h 2017022"/>
                <a:gd name="connsiteX849" fmla="*/ 2529808 w 6378875"/>
                <a:gd name="connsiteY849" fmla="*/ 1222049 h 2017022"/>
                <a:gd name="connsiteX850" fmla="*/ 2540337 w 6378875"/>
                <a:gd name="connsiteY850" fmla="*/ 1216363 h 2017022"/>
                <a:gd name="connsiteX851" fmla="*/ 2558026 w 6378875"/>
                <a:gd name="connsiteY851" fmla="*/ 1213625 h 2017022"/>
                <a:gd name="connsiteX852" fmla="*/ 2572978 w 6378875"/>
                <a:gd name="connsiteY852" fmla="*/ 1194461 h 2017022"/>
                <a:gd name="connsiteX853" fmla="*/ 2592142 w 6378875"/>
                <a:gd name="connsiteY853" fmla="*/ 1174666 h 2017022"/>
                <a:gd name="connsiteX854" fmla="*/ 2589194 w 6378875"/>
                <a:gd name="connsiteY854" fmla="*/ 1158451 h 2017022"/>
                <a:gd name="connsiteX855" fmla="*/ 2570451 w 6378875"/>
                <a:gd name="connsiteY855" fmla="*/ 1147500 h 2017022"/>
                <a:gd name="connsiteX856" fmla="*/ 2547286 w 6378875"/>
                <a:gd name="connsiteY856" fmla="*/ 1126231 h 2017022"/>
                <a:gd name="connsiteX857" fmla="*/ 2502220 w 6378875"/>
                <a:gd name="connsiteY857" fmla="*/ 1115701 h 2017022"/>
                <a:gd name="connsiteX858" fmla="*/ 2459892 w 6378875"/>
                <a:gd name="connsiteY858" fmla="*/ 1088325 h 2017022"/>
                <a:gd name="connsiteX859" fmla="*/ 2450205 w 6378875"/>
                <a:gd name="connsiteY859" fmla="*/ 1053788 h 2017022"/>
                <a:gd name="connsiteX860" fmla="*/ 2449784 w 6378875"/>
                <a:gd name="connsiteY860" fmla="*/ 1041784 h 2017022"/>
                <a:gd name="connsiteX861" fmla="*/ 2431673 w 6378875"/>
                <a:gd name="connsiteY861" fmla="*/ 1058210 h 2017022"/>
                <a:gd name="connsiteX862" fmla="*/ 2412088 w 6378875"/>
                <a:gd name="connsiteY862" fmla="*/ 1068740 h 2017022"/>
                <a:gd name="connsiteX863" fmla="*/ 2392925 w 6378875"/>
                <a:gd name="connsiteY863" fmla="*/ 1080322 h 2017022"/>
                <a:gd name="connsiteX864" fmla="*/ 2376078 w 6378875"/>
                <a:gd name="connsiteY864" fmla="*/ 1091904 h 2017022"/>
                <a:gd name="connsiteX865" fmla="*/ 2348280 w 6378875"/>
                <a:gd name="connsiteY865" fmla="*/ 1097590 h 2017022"/>
                <a:gd name="connsiteX866" fmla="*/ 2313111 w 6378875"/>
                <a:gd name="connsiteY866" fmla="*/ 1093168 h 2017022"/>
                <a:gd name="connsiteX867" fmla="*/ 2296264 w 6378875"/>
                <a:gd name="connsiteY867" fmla="*/ 1096959 h 2017022"/>
                <a:gd name="connsiteX868" fmla="*/ 2278996 w 6378875"/>
                <a:gd name="connsiteY868" fmla="*/ 1087903 h 2017022"/>
                <a:gd name="connsiteX869" fmla="*/ 2267835 w 6378875"/>
                <a:gd name="connsiteY869" fmla="*/ 1081586 h 2017022"/>
                <a:gd name="connsiteX870" fmla="*/ 2276469 w 6378875"/>
                <a:gd name="connsiteY870" fmla="*/ 1064738 h 2017022"/>
                <a:gd name="connsiteX871" fmla="*/ 2273099 w 6378875"/>
                <a:gd name="connsiteY871" fmla="*/ 1051682 h 2017022"/>
                <a:gd name="connsiteX872" fmla="*/ 2265939 w 6378875"/>
                <a:gd name="connsiteY872" fmla="*/ 1038625 h 2017022"/>
                <a:gd name="connsiteX873" fmla="*/ 2248250 w 6378875"/>
                <a:gd name="connsiteY873" fmla="*/ 1035677 h 2017022"/>
                <a:gd name="connsiteX874" fmla="*/ 2240037 w 6378875"/>
                <a:gd name="connsiteY874" fmla="*/ 1055894 h 2017022"/>
                <a:gd name="connsiteX875" fmla="*/ 2240037 w 6378875"/>
                <a:gd name="connsiteY875" fmla="*/ 1069371 h 2017022"/>
                <a:gd name="connsiteX876" fmla="*/ 2229929 w 6378875"/>
                <a:gd name="connsiteY876" fmla="*/ 1049155 h 2017022"/>
                <a:gd name="connsiteX877" fmla="*/ 2214556 w 6378875"/>
                <a:gd name="connsiteY877" fmla="*/ 1036730 h 2017022"/>
                <a:gd name="connsiteX878" fmla="*/ 2218978 w 6378875"/>
                <a:gd name="connsiteY878" fmla="*/ 1021357 h 2017022"/>
                <a:gd name="connsiteX879" fmla="*/ 2192654 w 6378875"/>
                <a:gd name="connsiteY879" fmla="*/ 1004089 h 2017022"/>
                <a:gd name="connsiteX880" fmla="*/ 2181493 w 6378875"/>
                <a:gd name="connsiteY880" fmla="*/ 995455 h 2017022"/>
                <a:gd name="connsiteX881" fmla="*/ 2158960 w 6378875"/>
                <a:gd name="connsiteY881" fmla="*/ 982398 h 2017022"/>
                <a:gd name="connsiteX882" fmla="*/ 2145482 w 6378875"/>
                <a:gd name="connsiteY882" fmla="*/ 964709 h 2017022"/>
                <a:gd name="connsiteX883" fmla="*/ 2128214 w 6378875"/>
                <a:gd name="connsiteY883" fmla="*/ 941754 h 2017022"/>
                <a:gd name="connsiteX884" fmla="*/ 2141270 w 6378875"/>
                <a:gd name="connsiteY884" fmla="*/ 933541 h 2017022"/>
                <a:gd name="connsiteX885" fmla="*/ 2160013 w 6378875"/>
                <a:gd name="connsiteY885" fmla="*/ 924907 h 2017022"/>
                <a:gd name="connsiteX886" fmla="*/ 2182125 w 6378875"/>
                <a:gd name="connsiteY886" fmla="*/ 927224 h 2017022"/>
                <a:gd name="connsiteX887" fmla="*/ 2197919 w 6378875"/>
                <a:gd name="connsiteY887" fmla="*/ 921538 h 2017022"/>
                <a:gd name="connsiteX888" fmla="*/ 2217503 w 6378875"/>
                <a:gd name="connsiteY888" fmla="*/ 937332 h 2017022"/>
                <a:gd name="connsiteX889" fmla="*/ 2230561 w 6378875"/>
                <a:gd name="connsiteY889" fmla="*/ 956074 h 2017022"/>
                <a:gd name="connsiteX890" fmla="*/ 2246986 w 6378875"/>
                <a:gd name="connsiteY890" fmla="*/ 975238 h 2017022"/>
                <a:gd name="connsiteX891" fmla="*/ 2264676 w 6378875"/>
                <a:gd name="connsiteY891" fmla="*/ 989558 h 2017022"/>
                <a:gd name="connsiteX892" fmla="*/ 2297949 w 6378875"/>
                <a:gd name="connsiteY892" fmla="*/ 998192 h 2017022"/>
                <a:gd name="connsiteX893" fmla="*/ 2325326 w 6378875"/>
                <a:gd name="connsiteY893" fmla="*/ 1015461 h 2017022"/>
                <a:gd name="connsiteX894" fmla="*/ 2356492 w 6378875"/>
                <a:gd name="connsiteY894" fmla="*/ 1027464 h 2017022"/>
                <a:gd name="connsiteX895" fmla="*/ 2377130 w 6378875"/>
                <a:gd name="connsiteY895" fmla="*/ 1029360 h 2017022"/>
                <a:gd name="connsiteX896" fmla="*/ 2401559 w 6378875"/>
                <a:gd name="connsiteY896" fmla="*/ 1029360 h 2017022"/>
                <a:gd name="connsiteX897" fmla="*/ 2420301 w 6378875"/>
                <a:gd name="connsiteY897" fmla="*/ 1029781 h 2017022"/>
                <a:gd name="connsiteX898" fmla="*/ 2442202 w 6378875"/>
                <a:gd name="connsiteY898" fmla="*/ 1022200 h 2017022"/>
                <a:gd name="connsiteX899" fmla="*/ 2465367 w 6378875"/>
                <a:gd name="connsiteY899" fmla="*/ 1022200 h 2017022"/>
                <a:gd name="connsiteX900" fmla="*/ 2484531 w 6378875"/>
                <a:gd name="connsiteY900" fmla="*/ 1053367 h 2017022"/>
                <a:gd name="connsiteX901" fmla="*/ 2519067 w 6378875"/>
                <a:gd name="connsiteY901" fmla="*/ 1068319 h 2017022"/>
                <a:gd name="connsiteX902" fmla="*/ 2573400 w 6378875"/>
                <a:gd name="connsiteY902" fmla="*/ 1075900 h 2017022"/>
                <a:gd name="connsiteX903" fmla="*/ 2619519 w 6378875"/>
                <a:gd name="connsiteY903" fmla="*/ 1086008 h 2017022"/>
                <a:gd name="connsiteX904" fmla="*/ 2651739 w 6378875"/>
                <a:gd name="connsiteY904" fmla="*/ 1092326 h 2017022"/>
                <a:gd name="connsiteX905" fmla="*/ 2682906 w 6378875"/>
                <a:gd name="connsiteY905" fmla="*/ 1088956 h 2017022"/>
                <a:gd name="connsiteX906" fmla="*/ 2723760 w 6378875"/>
                <a:gd name="connsiteY906" fmla="*/ 1092326 h 2017022"/>
                <a:gd name="connsiteX907" fmla="*/ 2747136 w 6378875"/>
                <a:gd name="connsiteY907" fmla="*/ 1093800 h 2017022"/>
                <a:gd name="connsiteX908" fmla="*/ 2785673 w 6378875"/>
                <a:gd name="connsiteY908" fmla="*/ 1095274 h 2017022"/>
                <a:gd name="connsiteX909" fmla="*/ 2820842 w 6378875"/>
                <a:gd name="connsiteY909" fmla="*/ 1096327 h 2017022"/>
                <a:gd name="connsiteX910" fmla="*/ 2841479 w 6378875"/>
                <a:gd name="connsiteY910" fmla="*/ 1113595 h 2017022"/>
                <a:gd name="connsiteX911" fmla="*/ 2856852 w 6378875"/>
                <a:gd name="connsiteY911" fmla="*/ 1119913 h 2017022"/>
                <a:gd name="connsiteX912" fmla="*/ 2876016 w 6378875"/>
                <a:gd name="connsiteY912" fmla="*/ 1142025 h 2017022"/>
                <a:gd name="connsiteX913" fmla="*/ 2909711 w 6378875"/>
                <a:gd name="connsiteY913" fmla="*/ 1166032 h 2017022"/>
                <a:gd name="connsiteX914" fmla="*/ 2931190 w 6378875"/>
                <a:gd name="connsiteY914" fmla="*/ 1193408 h 2017022"/>
                <a:gd name="connsiteX915" fmla="*/ 2956251 w 6378875"/>
                <a:gd name="connsiteY915" fmla="*/ 1215520 h 2017022"/>
                <a:gd name="connsiteX916" fmla="*/ 2995631 w 6378875"/>
                <a:gd name="connsiteY916" fmla="*/ 1241423 h 2017022"/>
                <a:gd name="connsiteX917" fmla="*/ 3023007 w 6378875"/>
                <a:gd name="connsiteY917" fmla="*/ 1251952 h 2017022"/>
                <a:gd name="connsiteX918" fmla="*/ 3055649 w 6378875"/>
                <a:gd name="connsiteY918" fmla="*/ 1266904 h 2017022"/>
                <a:gd name="connsiteX919" fmla="*/ 3076708 w 6378875"/>
                <a:gd name="connsiteY919" fmla="*/ 1264588 h 2017022"/>
                <a:gd name="connsiteX920" fmla="*/ 3079655 w 6378875"/>
                <a:gd name="connsiteY920" fmla="*/ 1295755 h 2017022"/>
                <a:gd name="connsiteX921" fmla="*/ 3097977 w 6378875"/>
                <a:gd name="connsiteY921" fmla="*/ 1314076 h 2017022"/>
                <a:gd name="connsiteX922" fmla="*/ 3115245 w 6378875"/>
                <a:gd name="connsiteY922" fmla="*/ 1341031 h 2017022"/>
                <a:gd name="connsiteX923" fmla="*/ 3122405 w 6378875"/>
                <a:gd name="connsiteY923" fmla="*/ 1371356 h 2017022"/>
                <a:gd name="connsiteX924" fmla="*/ 3143464 w 6378875"/>
                <a:gd name="connsiteY924" fmla="*/ 1407788 h 2017022"/>
                <a:gd name="connsiteX925" fmla="*/ 3173579 w 6378875"/>
                <a:gd name="connsiteY925" fmla="*/ 1452854 h 2017022"/>
                <a:gd name="connsiteX926" fmla="*/ 3196111 w 6378875"/>
                <a:gd name="connsiteY926" fmla="*/ 1489918 h 2017022"/>
                <a:gd name="connsiteX927" fmla="*/ 3214433 w 6378875"/>
                <a:gd name="connsiteY927" fmla="*/ 1522980 h 2017022"/>
                <a:gd name="connsiteX928" fmla="*/ 3238440 w 6378875"/>
                <a:gd name="connsiteY928" fmla="*/ 1548462 h 2017022"/>
                <a:gd name="connsiteX929" fmla="*/ 3256761 w 6378875"/>
                <a:gd name="connsiteY929" fmla="*/ 1576891 h 2017022"/>
                <a:gd name="connsiteX930" fmla="*/ 3272977 w 6378875"/>
                <a:gd name="connsiteY930" fmla="*/ 1607216 h 2017022"/>
                <a:gd name="connsiteX931" fmla="*/ 3291298 w 6378875"/>
                <a:gd name="connsiteY931" fmla="*/ 1641753 h 2017022"/>
                <a:gd name="connsiteX932" fmla="*/ 3331099 w 6378875"/>
                <a:gd name="connsiteY932" fmla="*/ 1667655 h 2017022"/>
                <a:gd name="connsiteX933" fmla="*/ 3350263 w 6378875"/>
                <a:gd name="connsiteY933" fmla="*/ 1655230 h 2017022"/>
                <a:gd name="connsiteX934" fmla="*/ 3359318 w 6378875"/>
                <a:gd name="connsiteY934" fmla="*/ 1638383 h 2017022"/>
                <a:gd name="connsiteX935" fmla="*/ 3387116 w 6378875"/>
                <a:gd name="connsiteY935" fmla="*/ 1633961 h 2017022"/>
                <a:gd name="connsiteX936" fmla="*/ 3377640 w 6378875"/>
                <a:gd name="connsiteY936" fmla="*/ 1625748 h 2017022"/>
                <a:gd name="connsiteX937" fmla="*/ 3379535 w 6378875"/>
                <a:gd name="connsiteY937" fmla="*/ 1611428 h 2017022"/>
                <a:gd name="connsiteX938" fmla="*/ 3393855 w 6378875"/>
                <a:gd name="connsiteY938" fmla="*/ 1605110 h 2017022"/>
                <a:gd name="connsiteX939" fmla="*/ 3407332 w 6378875"/>
                <a:gd name="connsiteY939" fmla="*/ 1600688 h 2017022"/>
                <a:gd name="connsiteX940" fmla="*/ 3397224 w 6378875"/>
                <a:gd name="connsiteY940" fmla="*/ 1561308 h 2017022"/>
                <a:gd name="connsiteX941" fmla="*/ 3410281 w 6378875"/>
                <a:gd name="connsiteY941" fmla="*/ 1526139 h 2017022"/>
                <a:gd name="connsiteX942" fmla="*/ 3400594 w 6378875"/>
                <a:gd name="connsiteY942" fmla="*/ 1491181 h 2017022"/>
                <a:gd name="connsiteX943" fmla="*/ 3388169 w 6378875"/>
                <a:gd name="connsiteY943" fmla="*/ 1455592 h 2017022"/>
                <a:gd name="connsiteX944" fmla="*/ 3393855 w 6378875"/>
                <a:gd name="connsiteY944" fmla="*/ 1430953 h 2017022"/>
                <a:gd name="connsiteX945" fmla="*/ 3414914 w 6378875"/>
                <a:gd name="connsiteY945" fmla="*/ 1430953 h 2017022"/>
                <a:gd name="connsiteX946" fmla="*/ 3431129 w 6378875"/>
                <a:gd name="connsiteY946" fmla="*/ 1418528 h 2017022"/>
                <a:gd name="connsiteX947" fmla="*/ 3461033 w 6378875"/>
                <a:gd name="connsiteY947" fmla="*/ 1417054 h 2017022"/>
                <a:gd name="connsiteX948" fmla="*/ 3467772 w 6378875"/>
                <a:gd name="connsiteY948" fmla="*/ 1395363 h 2017022"/>
                <a:gd name="connsiteX949" fmla="*/ 3492621 w 6378875"/>
                <a:gd name="connsiteY949" fmla="*/ 1385676 h 2017022"/>
                <a:gd name="connsiteX950" fmla="*/ 3532212 w 6378875"/>
                <a:gd name="connsiteY950" fmla="*/ 1359353 h 2017022"/>
                <a:gd name="connsiteX951" fmla="*/ 3558957 w 6378875"/>
                <a:gd name="connsiteY951" fmla="*/ 1338083 h 2017022"/>
                <a:gd name="connsiteX952" fmla="*/ 3585069 w 6378875"/>
                <a:gd name="connsiteY952" fmla="*/ 1331344 h 2017022"/>
                <a:gd name="connsiteX953" fmla="*/ 3606128 w 6378875"/>
                <a:gd name="connsiteY953" fmla="*/ 1318919 h 2017022"/>
                <a:gd name="connsiteX954" fmla="*/ 3616658 w 6378875"/>
                <a:gd name="connsiteY954" fmla="*/ 1312181 h 2017022"/>
                <a:gd name="connsiteX955" fmla="*/ 3606128 w 6378875"/>
                <a:gd name="connsiteY955" fmla="*/ 1295965 h 2017022"/>
                <a:gd name="connsiteX956" fmla="*/ 3621502 w 6378875"/>
                <a:gd name="connsiteY956" fmla="*/ 1288384 h 2017022"/>
                <a:gd name="connsiteX957" fmla="*/ 3644456 w 6378875"/>
                <a:gd name="connsiteY957" fmla="*/ 1299966 h 2017022"/>
                <a:gd name="connsiteX958" fmla="*/ 3664672 w 6378875"/>
                <a:gd name="connsiteY958" fmla="*/ 1301441 h 2017022"/>
                <a:gd name="connsiteX959" fmla="*/ 3692470 w 6378875"/>
                <a:gd name="connsiteY959" fmla="*/ 1307758 h 2017022"/>
                <a:gd name="connsiteX960" fmla="*/ 3725112 w 6378875"/>
                <a:gd name="connsiteY960" fmla="*/ 1304810 h 2017022"/>
                <a:gd name="connsiteX961" fmla="*/ 3757964 w 6378875"/>
                <a:gd name="connsiteY961" fmla="*/ 1310496 h 2017022"/>
                <a:gd name="connsiteX962" fmla="*/ 3784708 w 6378875"/>
                <a:gd name="connsiteY962" fmla="*/ 1312812 h 2017022"/>
                <a:gd name="connsiteX963" fmla="*/ 3814612 w 6378875"/>
                <a:gd name="connsiteY963" fmla="*/ 1344401 h 2017022"/>
                <a:gd name="connsiteX964" fmla="*/ 3841357 w 6378875"/>
                <a:gd name="connsiteY964" fmla="*/ 1362090 h 2017022"/>
                <a:gd name="connsiteX965" fmla="*/ 3857783 w 6378875"/>
                <a:gd name="connsiteY965" fmla="*/ 1375147 h 2017022"/>
                <a:gd name="connsiteX966" fmla="*/ 3863468 w 6378875"/>
                <a:gd name="connsiteY966" fmla="*/ 1397680 h 2017022"/>
                <a:gd name="connsiteX967" fmla="*/ 3881579 w 6378875"/>
                <a:gd name="connsiteY967" fmla="*/ 1403366 h 2017022"/>
                <a:gd name="connsiteX968" fmla="*/ 3902638 w 6378875"/>
                <a:gd name="connsiteY968" fmla="*/ 1434112 h 2017022"/>
                <a:gd name="connsiteX969" fmla="*/ 3905586 w 6378875"/>
                <a:gd name="connsiteY969" fmla="*/ 1469280 h 2017022"/>
                <a:gd name="connsiteX970" fmla="*/ 3913378 w 6378875"/>
                <a:gd name="connsiteY970" fmla="*/ 1492866 h 2017022"/>
                <a:gd name="connsiteX971" fmla="*/ 3941176 w 6378875"/>
                <a:gd name="connsiteY971" fmla="*/ 1507186 h 2017022"/>
                <a:gd name="connsiteX972" fmla="*/ 3966236 w 6378875"/>
                <a:gd name="connsiteY972" fmla="*/ 1503396 h 2017022"/>
                <a:gd name="connsiteX973" fmla="*/ 3989190 w 6378875"/>
                <a:gd name="connsiteY973" fmla="*/ 1500026 h 2017022"/>
                <a:gd name="connsiteX974" fmla="*/ 4008354 w 6378875"/>
                <a:gd name="connsiteY974" fmla="*/ 1501921 h 2017022"/>
                <a:gd name="connsiteX975" fmla="*/ 4027517 w 6378875"/>
                <a:gd name="connsiteY975" fmla="*/ 1513083 h 2017022"/>
                <a:gd name="connsiteX976" fmla="*/ 4048576 w 6378875"/>
                <a:gd name="connsiteY976" fmla="*/ 1550567 h 2017022"/>
                <a:gd name="connsiteX977" fmla="*/ 4063107 w 6378875"/>
                <a:gd name="connsiteY977" fmla="*/ 1576049 h 2017022"/>
                <a:gd name="connsiteX978" fmla="*/ 4074479 w 6378875"/>
                <a:gd name="connsiteY978" fmla="*/ 1584683 h 2017022"/>
                <a:gd name="connsiteX979" fmla="*/ 4083113 w 6378875"/>
                <a:gd name="connsiteY979" fmla="*/ 1603425 h 2017022"/>
                <a:gd name="connsiteX980" fmla="*/ 4084166 w 6378875"/>
                <a:gd name="connsiteY980" fmla="*/ 1616271 h 2017022"/>
                <a:gd name="connsiteX981" fmla="*/ 4069846 w 6378875"/>
                <a:gd name="connsiteY981" fmla="*/ 1619641 h 2017022"/>
                <a:gd name="connsiteX982" fmla="*/ 4080375 w 6378875"/>
                <a:gd name="connsiteY982" fmla="*/ 1629328 h 2017022"/>
                <a:gd name="connsiteX983" fmla="*/ 4086061 w 6378875"/>
                <a:gd name="connsiteY983" fmla="*/ 1640278 h 2017022"/>
                <a:gd name="connsiteX984" fmla="*/ 4091958 w 6378875"/>
                <a:gd name="connsiteY984" fmla="*/ 1648913 h 2017022"/>
                <a:gd name="connsiteX985" fmla="*/ 4098697 w 6378875"/>
                <a:gd name="connsiteY985" fmla="*/ 1651861 h 2017022"/>
                <a:gd name="connsiteX986" fmla="*/ 4099539 w 6378875"/>
                <a:gd name="connsiteY986" fmla="*/ 1669550 h 2017022"/>
                <a:gd name="connsiteX987" fmla="*/ 4099539 w 6378875"/>
                <a:gd name="connsiteY987" fmla="*/ 1685345 h 2017022"/>
                <a:gd name="connsiteX988" fmla="*/ 4104382 w 6378875"/>
                <a:gd name="connsiteY988" fmla="*/ 1718407 h 2017022"/>
                <a:gd name="connsiteX989" fmla="*/ 4105225 w 6378875"/>
                <a:gd name="connsiteY989" fmla="*/ 1747258 h 2017022"/>
                <a:gd name="connsiteX990" fmla="*/ 4113017 w 6378875"/>
                <a:gd name="connsiteY990" fmla="*/ 1769791 h 2017022"/>
                <a:gd name="connsiteX991" fmla="*/ 4121651 w 6378875"/>
                <a:gd name="connsiteY991" fmla="*/ 1755892 h 2017022"/>
                <a:gd name="connsiteX992" fmla="*/ 4147553 w 6378875"/>
                <a:gd name="connsiteY992" fmla="*/ 1779899 h 2017022"/>
                <a:gd name="connsiteX993" fmla="*/ 4176404 w 6378875"/>
                <a:gd name="connsiteY993" fmla="*/ 1814014 h 2017022"/>
                <a:gd name="connsiteX994" fmla="*/ 4199358 w 6378875"/>
                <a:gd name="connsiteY994" fmla="*/ 1846235 h 2017022"/>
                <a:gd name="connsiteX995" fmla="*/ 4203149 w 6378875"/>
                <a:gd name="connsiteY995" fmla="*/ 1868347 h 2017022"/>
                <a:gd name="connsiteX996" fmla="*/ 4217679 w 6378875"/>
                <a:gd name="connsiteY996" fmla="*/ 1890037 h 2017022"/>
                <a:gd name="connsiteX997" fmla="*/ 4228209 w 6378875"/>
                <a:gd name="connsiteY997" fmla="*/ 1909201 h 2017022"/>
                <a:gd name="connsiteX998" fmla="*/ 4250321 w 6378875"/>
                <a:gd name="connsiteY998" fmla="*/ 1934261 h 2017022"/>
                <a:gd name="connsiteX999" fmla="*/ 4261903 w 6378875"/>
                <a:gd name="connsiteY999" fmla="*/ 1951529 h 2017022"/>
                <a:gd name="connsiteX1000" fmla="*/ 4309918 w 6378875"/>
                <a:gd name="connsiteY1000" fmla="*/ 1987119 h 2017022"/>
                <a:gd name="connsiteX1001" fmla="*/ 4340663 w 6378875"/>
                <a:gd name="connsiteY1001" fmla="*/ 2006914 h 2017022"/>
                <a:gd name="connsiteX1002" fmla="*/ 4360880 w 6378875"/>
                <a:gd name="connsiteY1002" fmla="*/ 2017022 h 2017022"/>
                <a:gd name="connsiteX1003" fmla="*/ 4374358 w 6378875"/>
                <a:gd name="connsiteY1003" fmla="*/ 2012811 h 2017022"/>
                <a:gd name="connsiteX1004" fmla="*/ 4354141 w 6378875"/>
                <a:gd name="connsiteY1004" fmla="*/ 1978274 h 2017022"/>
                <a:gd name="connsiteX1005" fmla="*/ 4332029 w 6378875"/>
                <a:gd name="connsiteY1005" fmla="*/ 1952372 h 2017022"/>
                <a:gd name="connsiteX1006" fmla="*/ 4327396 w 6378875"/>
                <a:gd name="connsiteY1006" fmla="*/ 1921626 h 2017022"/>
                <a:gd name="connsiteX1007" fmla="*/ 4310970 w 6378875"/>
                <a:gd name="connsiteY1007" fmla="*/ 1880771 h 2017022"/>
                <a:gd name="connsiteX1008" fmla="*/ 4261061 w 6378875"/>
                <a:gd name="connsiteY1008" fmla="*/ 1840970 h 2017022"/>
                <a:gd name="connsiteX1009" fmla="*/ 4232421 w 6378875"/>
                <a:gd name="connsiteY1009" fmla="*/ 1817805 h 2017022"/>
                <a:gd name="connsiteX1010" fmla="*/ 4212204 w 6378875"/>
                <a:gd name="connsiteY1010" fmla="*/ 1811066 h 2017022"/>
                <a:gd name="connsiteX1011" fmla="*/ 4190092 w 6378875"/>
                <a:gd name="connsiteY1011" fmla="*/ 1777372 h 2017022"/>
                <a:gd name="connsiteX1012" fmla="*/ 4170929 w 6378875"/>
                <a:gd name="connsiteY1012" fmla="*/ 1744731 h 2017022"/>
                <a:gd name="connsiteX1013" fmla="*/ 4160399 w 6378875"/>
                <a:gd name="connsiteY1013" fmla="*/ 1727462 h 2017022"/>
                <a:gd name="connsiteX1014" fmla="*/ 4164190 w 6378875"/>
                <a:gd name="connsiteY1014" fmla="*/ 1709141 h 2017022"/>
                <a:gd name="connsiteX1015" fmla="*/ 4142289 w 6378875"/>
                <a:gd name="connsiteY1015" fmla="*/ 1722619 h 2017022"/>
                <a:gd name="connsiteX1016" fmla="*/ 4129864 w 6378875"/>
                <a:gd name="connsiteY1016" fmla="*/ 1699665 h 2017022"/>
                <a:gd name="connsiteX1017" fmla="*/ 4136602 w 6378875"/>
                <a:gd name="connsiteY1017" fmla="*/ 1657336 h 2017022"/>
                <a:gd name="connsiteX1018" fmla="*/ 4142499 w 6378875"/>
                <a:gd name="connsiteY1018" fmla="*/ 1630381 h 2017022"/>
                <a:gd name="connsiteX1019" fmla="*/ 4135760 w 6378875"/>
                <a:gd name="connsiteY1019" fmla="*/ 1599635 h 2017022"/>
                <a:gd name="connsiteX1020" fmla="*/ 4164611 w 6378875"/>
                <a:gd name="connsiteY1020" fmla="*/ 1600056 h 2017022"/>
                <a:gd name="connsiteX1021" fmla="*/ 4166717 w 6378875"/>
                <a:gd name="connsiteY1021" fmla="*/ 1621536 h 2017022"/>
                <a:gd name="connsiteX1022" fmla="*/ 4196410 w 6378875"/>
                <a:gd name="connsiteY1022" fmla="*/ 1625327 h 2017022"/>
                <a:gd name="connsiteX1023" fmla="*/ 4217469 w 6378875"/>
                <a:gd name="connsiteY1023" fmla="*/ 1640700 h 2017022"/>
                <a:gd name="connsiteX1024" fmla="*/ 4241476 w 6378875"/>
                <a:gd name="connsiteY1024" fmla="*/ 1653756 h 2017022"/>
                <a:gd name="connsiteX1025" fmla="*/ 4262535 w 6378875"/>
                <a:gd name="connsiteY1025" fmla="*/ 1687872 h 2017022"/>
                <a:gd name="connsiteX1026" fmla="*/ 4280856 w 6378875"/>
                <a:gd name="connsiteY1026" fmla="*/ 1697980 h 2017022"/>
                <a:gd name="connsiteX1027" fmla="*/ 4291386 w 6378875"/>
                <a:gd name="connsiteY1027" fmla="*/ 1708509 h 2017022"/>
                <a:gd name="connsiteX1028" fmla="*/ 4304864 w 6378875"/>
                <a:gd name="connsiteY1028" fmla="*/ 1716722 h 2017022"/>
                <a:gd name="connsiteX1029" fmla="*/ 4325080 w 6378875"/>
                <a:gd name="connsiteY1029" fmla="*/ 1720513 h 2017022"/>
                <a:gd name="connsiteX1030" fmla="*/ 4341506 w 6378875"/>
                <a:gd name="connsiteY1030" fmla="*/ 1753154 h 2017022"/>
                <a:gd name="connsiteX1031" fmla="*/ 4337716 w 6378875"/>
                <a:gd name="connsiteY1031" fmla="*/ 1772739 h 2017022"/>
                <a:gd name="connsiteX1032" fmla="*/ 4340453 w 6378875"/>
                <a:gd name="connsiteY1032" fmla="*/ 1784743 h 2017022"/>
                <a:gd name="connsiteX1033" fmla="*/ 4358774 w 6378875"/>
                <a:gd name="connsiteY1033" fmla="*/ 1778004 h 2017022"/>
                <a:gd name="connsiteX1034" fmla="*/ 4380675 w 6378875"/>
                <a:gd name="connsiteY1034" fmla="*/ 1766421 h 2017022"/>
                <a:gd name="connsiteX1035" fmla="*/ 4412474 w 6378875"/>
                <a:gd name="connsiteY1035" fmla="*/ 1755892 h 2017022"/>
                <a:gd name="connsiteX1036" fmla="*/ 4415423 w 6378875"/>
                <a:gd name="connsiteY1036" fmla="*/ 1733359 h 2017022"/>
                <a:gd name="connsiteX1037" fmla="*/ 4447011 w 6378875"/>
                <a:gd name="connsiteY1037" fmla="*/ 1725146 h 2017022"/>
                <a:gd name="connsiteX1038" fmla="*/ 4477757 w 6378875"/>
                <a:gd name="connsiteY1038" fmla="*/ 1701560 h 2017022"/>
                <a:gd name="connsiteX1039" fmla="*/ 4472913 w 6378875"/>
                <a:gd name="connsiteY1039" fmla="*/ 1660706 h 2017022"/>
                <a:gd name="connsiteX1040" fmla="*/ 4451854 w 6378875"/>
                <a:gd name="connsiteY1040" fmla="*/ 1606374 h 2017022"/>
                <a:gd name="connsiteX1041" fmla="*/ 4420266 w 6378875"/>
                <a:gd name="connsiteY1041" fmla="*/ 1568889 h 2017022"/>
                <a:gd name="connsiteX1042" fmla="*/ 4399207 w 6378875"/>
                <a:gd name="connsiteY1042" fmla="*/ 1547198 h 2017022"/>
                <a:gd name="connsiteX1043" fmla="*/ 4373305 w 6378875"/>
                <a:gd name="connsiteY1043" fmla="*/ 1530983 h 2017022"/>
                <a:gd name="connsiteX1044" fmla="*/ 4343401 w 6378875"/>
                <a:gd name="connsiteY1044" fmla="*/ 1506344 h 2017022"/>
                <a:gd name="connsiteX1045" fmla="*/ 4326133 w 6378875"/>
                <a:gd name="connsiteY1045" fmla="*/ 1481916 h 2017022"/>
                <a:gd name="connsiteX1046" fmla="*/ 4303179 w 6378875"/>
                <a:gd name="connsiteY1046" fmla="*/ 1463173 h 2017022"/>
                <a:gd name="connsiteX1047" fmla="*/ 4306127 w 6378875"/>
                <a:gd name="connsiteY1047" fmla="*/ 1430953 h 2017022"/>
                <a:gd name="connsiteX1048" fmla="*/ 4324238 w 6378875"/>
                <a:gd name="connsiteY1048" fmla="*/ 1427162 h 2017022"/>
                <a:gd name="connsiteX1049" fmla="*/ 4330134 w 6378875"/>
                <a:gd name="connsiteY1049" fmla="*/ 1414106 h 2017022"/>
                <a:gd name="connsiteX1050" fmla="*/ 4344454 w 6378875"/>
                <a:gd name="connsiteY1050" fmla="*/ 1413263 h 2017022"/>
                <a:gd name="connsiteX1051" fmla="*/ 4353088 w 6378875"/>
                <a:gd name="connsiteY1051" fmla="*/ 1402734 h 2017022"/>
                <a:gd name="connsiteX1052" fmla="*/ 4374147 w 6378875"/>
                <a:gd name="connsiteY1052" fmla="*/ 1396416 h 2017022"/>
                <a:gd name="connsiteX1053" fmla="*/ 4400050 w 6378875"/>
                <a:gd name="connsiteY1053" fmla="*/ 1403576 h 2017022"/>
                <a:gd name="connsiteX1054" fmla="*/ 4421109 w 6378875"/>
                <a:gd name="connsiteY1054" fmla="*/ 1409894 h 2017022"/>
                <a:gd name="connsiteX1055" fmla="*/ 4424057 w 6378875"/>
                <a:gd name="connsiteY1055" fmla="*/ 1428005 h 2017022"/>
                <a:gd name="connsiteX1056" fmla="*/ 4438377 w 6378875"/>
                <a:gd name="connsiteY1056" fmla="*/ 1444431 h 2017022"/>
                <a:gd name="connsiteX1057" fmla="*/ 4464279 w 6378875"/>
                <a:gd name="connsiteY1057" fmla="*/ 1441061 h 2017022"/>
                <a:gd name="connsiteX1058" fmla="*/ 4449959 w 6378875"/>
                <a:gd name="connsiteY1058" fmla="*/ 1426109 h 2017022"/>
                <a:gd name="connsiteX1059" fmla="*/ 4457751 w 6378875"/>
                <a:gd name="connsiteY1059" fmla="*/ 1421266 h 2017022"/>
                <a:gd name="connsiteX1060" fmla="*/ 4487444 w 6378875"/>
                <a:gd name="connsiteY1060" fmla="*/ 1414527 h 2017022"/>
                <a:gd name="connsiteX1061" fmla="*/ 4513347 w 6378875"/>
                <a:gd name="connsiteY1061" fmla="*/ 1417265 h 2017022"/>
                <a:gd name="connsiteX1062" fmla="*/ 4533563 w 6378875"/>
                <a:gd name="connsiteY1062" fmla="*/ 1421055 h 2017022"/>
                <a:gd name="connsiteX1063" fmla="*/ 4549778 w 6378875"/>
                <a:gd name="connsiteY1063" fmla="*/ 1415369 h 2017022"/>
                <a:gd name="connsiteX1064" fmla="*/ 4572733 w 6378875"/>
                <a:gd name="connsiteY1064" fmla="*/ 1405682 h 2017022"/>
                <a:gd name="connsiteX1065" fmla="*/ 4596740 w 6378875"/>
                <a:gd name="connsiteY1065" fmla="*/ 1404840 h 2017022"/>
                <a:gd name="connsiteX1066" fmla="*/ 4633382 w 6378875"/>
                <a:gd name="connsiteY1066" fmla="*/ 1405682 h 2017022"/>
                <a:gd name="connsiteX1067" fmla="*/ 4662233 w 6378875"/>
                <a:gd name="connsiteY1067" fmla="*/ 1395574 h 2017022"/>
                <a:gd name="connsiteX1068" fmla="*/ 4685188 w 6378875"/>
                <a:gd name="connsiteY1068" fmla="*/ 1381254 h 2017022"/>
                <a:gd name="connsiteX1069" fmla="*/ 4697612 w 6378875"/>
                <a:gd name="connsiteY1069" fmla="*/ 1374936 h 2017022"/>
                <a:gd name="connsiteX1070" fmla="*/ 4718671 w 6378875"/>
                <a:gd name="connsiteY1070" fmla="*/ 1358089 h 2017022"/>
                <a:gd name="connsiteX1071" fmla="*/ 4738677 w 6378875"/>
                <a:gd name="connsiteY1071" fmla="*/ 1358510 h 2017022"/>
                <a:gd name="connsiteX1072" fmla="*/ 4728990 w 6378875"/>
                <a:gd name="connsiteY1072" fmla="*/ 1340189 h 2017022"/>
                <a:gd name="connsiteX1073" fmla="*/ 4736782 w 6378875"/>
                <a:gd name="connsiteY1073" fmla="*/ 1326711 h 2017022"/>
                <a:gd name="connsiteX1074" fmla="*/ 4752155 w 6378875"/>
                <a:gd name="connsiteY1074" fmla="*/ 1307548 h 2017022"/>
                <a:gd name="connsiteX1075" fmla="*/ 4775109 w 6378875"/>
                <a:gd name="connsiteY1075" fmla="*/ 1291753 h 2017022"/>
                <a:gd name="connsiteX1076" fmla="*/ 4778899 w 6378875"/>
                <a:gd name="connsiteY1076" fmla="*/ 1273432 h 2017022"/>
                <a:gd name="connsiteX1077" fmla="*/ 4785638 w 6378875"/>
                <a:gd name="connsiteY1077" fmla="*/ 1244160 h 2017022"/>
                <a:gd name="connsiteX1078" fmla="*/ 4778899 w 6378875"/>
                <a:gd name="connsiteY1078" fmla="*/ 1218679 h 2017022"/>
                <a:gd name="connsiteX1079" fmla="*/ 4765422 w 6378875"/>
                <a:gd name="connsiteY1079" fmla="*/ 1201411 h 2017022"/>
                <a:gd name="connsiteX1080" fmla="*/ 4757630 w 6378875"/>
                <a:gd name="connsiteY1080" fmla="*/ 1190250 h 2017022"/>
                <a:gd name="connsiteX1081" fmla="*/ 4747943 w 6378875"/>
                <a:gd name="connsiteY1081" fmla="*/ 1177193 h 2017022"/>
                <a:gd name="connsiteX1082" fmla="*/ 4744152 w 6378875"/>
                <a:gd name="connsiteY1082" fmla="*/ 1164137 h 2017022"/>
                <a:gd name="connsiteX1083" fmla="*/ 4737413 w 6378875"/>
                <a:gd name="connsiteY1083" fmla="*/ 1138655 h 2017022"/>
                <a:gd name="connsiteX1084" fmla="*/ 4702666 w 6378875"/>
                <a:gd name="connsiteY1084" fmla="*/ 1119492 h 2017022"/>
                <a:gd name="connsiteX1085" fmla="*/ 4662233 w 6378875"/>
                <a:gd name="connsiteY1085" fmla="*/ 1107488 h 2017022"/>
                <a:gd name="connsiteX1086" fmla="*/ 4643070 w 6378875"/>
                <a:gd name="connsiteY1086" fmla="*/ 1101170 h 2017022"/>
                <a:gd name="connsiteX1087" fmla="*/ 4634436 w 6378875"/>
                <a:gd name="connsiteY1087" fmla="*/ 1089588 h 2017022"/>
                <a:gd name="connsiteX1088" fmla="*/ 4646860 w 6378875"/>
                <a:gd name="connsiteY1088" fmla="*/ 1076531 h 2017022"/>
                <a:gd name="connsiteX1089" fmla="*/ 4667919 w 6378875"/>
                <a:gd name="connsiteY1089" fmla="*/ 1071267 h 2017022"/>
                <a:gd name="connsiteX1090" fmla="*/ 4693822 w 6378875"/>
                <a:gd name="connsiteY1090" fmla="*/ 1063054 h 2017022"/>
                <a:gd name="connsiteX1091" fmla="*/ 4727516 w 6378875"/>
                <a:gd name="connsiteY1091" fmla="*/ 1070214 h 2017022"/>
                <a:gd name="connsiteX1092" fmla="*/ 4724568 w 6378875"/>
                <a:gd name="connsiteY1092" fmla="*/ 1059263 h 2017022"/>
                <a:gd name="connsiteX1093" fmla="*/ 4722672 w 6378875"/>
                <a:gd name="connsiteY1093" fmla="*/ 1051050 h 2017022"/>
                <a:gd name="connsiteX1094" fmla="*/ 4701614 w 6378875"/>
                <a:gd name="connsiteY1094" fmla="*/ 1050208 h 2017022"/>
                <a:gd name="connsiteX1095" fmla="*/ 4677606 w 6378875"/>
                <a:gd name="connsiteY1095" fmla="*/ 1041152 h 2017022"/>
                <a:gd name="connsiteX1096" fmla="*/ 4657390 w 6378875"/>
                <a:gd name="connsiteY1096" fmla="*/ 1029570 h 2017022"/>
                <a:gd name="connsiteX1097" fmla="*/ 4638226 w 6378875"/>
                <a:gd name="connsiteY1097" fmla="*/ 1036309 h 2017022"/>
                <a:gd name="connsiteX1098" fmla="*/ 4620958 w 6378875"/>
                <a:gd name="connsiteY1098" fmla="*/ 1029991 h 2017022"/>
                <a:gd name="connsiteX1099" fmla="*/ 4601794 w 6378875"/>
                <a:gd name="connsiteY1099" fmla="*/ 1013144 h 2017022"/>
                <a:gd name="connsiteX1100" fmla="*/ 4593160 w 6378875"/>
                <a:gd name="connsiteY1100" fmla="*/ 999666 h 2017022"/>
                <a:gd name="connsiteX1101" fmla="*/ 4571259 w 6378875"/>
                <a:gd name="connsiteY1101" fmla="*/ 992506 h 2017022"/>
                <a:gd name="connsiteX1102" fmla="*/ 4591264 w 6378875"/>
                <a:gd name="connsiteY1102" fmla="*/ 984293 h 2017022"/>
                <a:gd name="connsiteX1103" fmla="*/ 4597161 w 6378875"/>
                <a:gd name="connsiteY1103" fmla="*/ 973764 h 2017022"/>
                <a:gd name="connsiteX1104" fmla="*/ 4626012 w 6378875"/>
                <a:gd name="connsiteY1104" fmla="*/ 972711 h 2017022"/>
                <a:gd name="connsiteX1105" fmla="*/ 4637594 w 6378875"/>
                <a:gd name="connsiteY1105" fmla="*/ 967446 h 2017022"/>
                <a:gd name="connsiteX1106" fmla="*/ 4653809 w 6378875"/>
                <a:gd name="connsiteY1106" fmla="*/ 982398 h 2017022"/>
                <a:gd name="connsiteX1107" fmla="*/ 4652757 w 6378875"/>
                <a:gd name="connsiteY1107" fmla="*/ 992928 h 2017022"/>
                <a:gd name="connsiteX1108" fmla="*/ 4658653 w 6378875"/>
                <a:gd name="connsiteY1108" fmla="*/ 1007879 h 2017022"/>
                <a:gd name="connsiteX1109" fmla="*/ 4671078 w 6378875"/>
                <a:gd name="connsiteY1109" fmla="*/ 1011670 h 2017022"/>
                <a:gd name="connsiteX1110" fmla="*/ 4691294 w 6378875"/>
                <a:gd name="connsiteY1110" fmla="*/ 1003457 h 2017022"/>
                <a:gd name="connsiteX1111" fmla="*/ 4727937 w 6378875"/>
                <a:gd name="connsiteY1111" fmla="*/ 1003036 h 2017022"/>
                <a:gd name="connsiteX1112" fmla="*/ 4762473 w 6378875"/>
                <a:gd name="connsiteY1112" fmla="*/ 1011670 h 2017022"/>
                <a:gd name="connsiteX1113" fmla="*/ 4786481 w 6378875"/>
                <a:gd name="connsiteY1113" fmla="*/ 1024727 h 2017022"/>
                <a:gd name="connsiteX1114" fmla="*/ 4789429 w 6378875"/>
                <a:gd name="connsiteY1114" fmla="*/ 1044943 h 2017022"/>
                <a:gd name="connsiteX1115" fmla="*/ 4789429 w 6378875"/>
                <a:gd name="connsiteY1115" fmla="*/ 1058421 h 2017022"/>
                <a:gd name="connsiteX1116" fmla="*/ 4811541 w 6378875"/>
                <a:gd name="connsiteY1116" fmla="*/ 1066213 h 2017022"/>
                <a:gd name="connsiteX1117" fmla="*/ 4843129 w 6378875"/>
                <a:gd name="connsiteY1117" fmla="*/ 1079690 h 2017022"/>
                <a:gd name="connsiteX1118" fmla="*/ 4847131 w 6378875"/>
                <a:gd name="connsiteY1118" fmla="*/ 1093589 h 2017022"/>
                <a:gd name="connsiteX1119" fmla="*/ 4858713 w 6378875"/>
                <a:gd name="connsiteY1119" fmla="*/ 1108541 h 2017022"/>
                <a:gd name="connsiteX1120" fmla="*/ 4863557 w 6378875"/>
                <a:gd name="connsiteY1120" fmla="*/ 1128126 h 2017022"/>
                <a:gd name="connsiteX1121" fmla="*/ 4845235 w 6378875"/>
                <a:gd name="connsiteY1121" fmla="*/ 1135496 h 2017022"/>
                <a:gd name="connsiteX1122" fmla="*/ 4863557 w 6378875"/>
                <a:gd name="connsiteY1122" fmla="*/ 1156134 h 2017022"/>
                <a:gd name="connsiteX1123" fmla="*/ 4882720 w 6378875"/>
                <a:gd name="connsiteY1123" fmla="*/ 1162873 h 2017022"/>
                <a:gd name="connsiteX1124" fmla="*/ 4902937 w 6378875"/>
                <a:gd name="connsiteY1124" fmla="*/ 1167295 h 2017022"/>
                <a:gd name="connsiteX1125" fmla="*/ 4929892 w 6378875"/>
                <a:gd name="connsiteY1125" fmla="*/ 1160557 h 2017022"/>
                <a:gd name="connsiteX1126" fmla="*/ 4946107 w 6378875"/>
                <a:gd name="connsiteY1126" fmla="*/ 1160978 h 2017022"/>
                <a:gd name="connsiteX1127" fmla="*/ 4960638 w 6378875"/>
                <a:gd name="connsiteY1127" fmla="*/ 1153818 h 2017022"/>
                <a:gd name="connsiteX1128" fmla="*/ 4957690 w 6378875"/>
                <a:gd name="connsiteY1128" fmla="*/ 1126020 h 2017022"/>
                <a:gd name="connsiteX1129" fmla="*/ 4937473 w 6378875"/>
                <a:gd name="connsiteY1129" fmla="*/ 1100539 h 2017022"/>
                <a:gd name="connsiteX1130" fmla="*/ 4906727 w 6378875"/>
                <a:gd name="connsiteY1130" fmla="*/ 1073162 h 2017022"/>
                <a:gd name="connsiteX1131" fmla="*/ 4878929 w 6378875"/>
                <a:gd name="connsiteY1131" fmla="*/ 1052103 h 2017022"/>
                <a:gd name="connsiteX1132" fmla="*/ 4862503 w 6378875"/>
                <a:gd name="connsiteY1132" fmla="*/ 1040521 h 2017022"/>
                <a:gd name="connsiteX1133" fmla="*/ 4864399 w 6378875"/>
                <a:gd name="connsiteY1133" fmla="*/ 1028096 h 2017022"/>
                <a:gd name="connsiteX1134" fmla="*/ 4887353 w 6378875"/>
                <a:gd name="connsiteY1134" fmla="*/ 1028517 h 2017022"/>
                <a:gd name="connsiteX1135" fmla="*/ 4914309 w 6378875"/>
                <a:gd name="connsiteY1135" fmla="*/ 1017567 h 2017022"/>
                <a:gd name="connsiteX1136" fmla="*/ 4916204 w 6378875"/>
                <a:gd name="connsiteY1136" fmla="*/ 1001351 h 2017022"/>
                <a:gd name="connsiteX1137" fmla="*/ 4929681 w 6378875"/>
                <a:gd name="connsiteY1137" fmla="*/ 990822 h 2017022"/>
                <a:gd name="connsiteX1138" fmla="*/ 4951583 w 6378875"/>
                <a:gd name="connsiteY1138" fmla="*/ 984504 h 2017022"/>
                <a:gd name="connsiteX1139" fmla="*/ 4966113 w 6378875"/>
                <a:gd name="connsiteY1139" fmla="*/ 979239 h 2017022"/>
                <a:gd name="connsiteX1140" fmla="*/ 4999808 w 6378875"/>
                <a:gd name="connsiteY1140" fmla="*/ 996086 h 2017022"/>
                <a:gd name="connsiteX1141" fmla="*/ 5044874 w 6378875"/>
                <a:gd name="connsiteY1141" fmla="*/ 1000509 h 2017022"/>
                <a:gd name="connsiteX1142" fmla="*/ 5076673 w 6378875"/>
                <a:gd name="connsiteY1142" fmla="*/ 987031 h 2017022"/>
                <a:gd name="connsiteX1143" fmla="*/ 5100680 w 6378875"/>
                <a:gd name="connsiteY1143" fmla="*/ 973553 h 2017022"/>
                <a:gd name="connsiteX1144" fmla="*/ 5117948 w 6378875"/>
                <a:gd name="connsiteY1144" fmla="*/ 958602 h 2017022"/>
                <a:gd name="connsiteX1145" fmla="*/ 5139007 w 6378875"/>
                <a:gd name="connsiteY1145" fmla="*/ 938385 h 2017022"/>
                <a:gd name="connsiteX1146" fmla="*/ 5160277 w 6378875"/>
                <a:gd name="connsiteY1146" fmla="*/ 924907 h 2017022"/>
                <a:gd name="connsiteX1147" fmla="*/ 5170806 w 6378875"/>
                <a:gd name="connsiteY1147" fmla="*/ 910587 h 2017022"/>
                <a:gd name="connsiteX1148" fmla="*/ 5170806 w 6378875"/>
                <a:gd name="connsiteY1148" fmla="*/ 892266 h 2017022"/>
                <a:gd name="connsiteX1149" fmla="*/ 5162172 w 6378875"/>
                <a:gd name="connsiteY1149" fmla="*/ 873945 h 2017022"/>
                <a:gd name="connsiteX1150" fmla="*/ 5160277 w 6378875"/>
                <a:gd name="connsiteY1150" fmla="*/ 859625 h 2017022"/>
                <a:gd name="connsiteX1151" fmla="*/ 5174597 w 6378875"/>
                <a:gd name="connsiteY1151" fmla="*/ 855834 h 2017022"/>
                <a:gd name="connsiteX1152" fmla="*/ 5191865 w 6378875"/>
                <a:gd name="connsiteY1152" fmla="*/ 865521 h 2017022"/>
                <a:gd name="connsiteX1153" fmla="*/ 5208080 w 6378875"/>
                <a:gd name="connsiteY1153" fmla="*/ 879420 h 2017022"/>
                <a:gd name="connsiteX1154" fmla="*/ 5211029 w 6378875"/>
                <a:gd name="connsiteY1154" fmla="*/ 891002 h 2017022"/>
                <a:gd name="connsiteX1155" fmla="*/ 5220716 w 6378875"/>
                <a:gd name="connsiteY1155" fmla="*/ 907850 h 2017022"/>
                <a:gd name="connsiteX1156" fmla="*/ 5223664 w 6378875"/>
                <a:gd name="connsiteY1156" fmla="*/ 925539 h 2017022"/>
                <a:gd name="connsiteX1157" fmla="*/ 5236089 w 6378875"/>
                <a:gd name="connsiteY1157" fmla="*/ 940912 h 2017022"/>
                <a:gd name="connsiteX1158" fmla="*/ 5237984 w 6378875"/>
                <a:gd name="connsiteY1158" fmla="*/ 956706 h 2017022"/>
                <a:gd name="connsiteX1159" fmla="*/ 5246618 w 6378875"/>
                <a:gd name="connsiteY1159" fmla="*/ 967657 h 2017022"/>
                <a:gd name="connsiteX1160" fmla="*/ 5247671 w 6378875"/>
                <a:gd name="connsiteY1160" fmla="*/ 980713 h 2017022"/>
                <a:gd name="connsiteX1161" fmla="*/ 5262202 w 6378875"/>
                <a:gd name="connsiteY1161" fmla="*/ 990822 h 2017022"/>
                <a:gd name="connsiteX1162" fmla="*/ 5264939 w 6378875"/>
                <a:gd name="connsiteY1162" fmla="*/ 977765 h 2017022"/>
                <a:gd name="connsiteX1163" fmla="*/ 5281155 w 6378875"/>
                <a:gd name="connsiteY1163" fmla="*/ 983451 h 2017022"/>
                <a:gd name="connsiteX1164" fmla="*/ 5294633 w 6378875"/>
                <a:gd name="connsiteY1164" fmla="*/ 991664 h 2017022"/>
                <a:gd name="connsiteX1165" fmla="*/ 5299476 w 6378875"/>
                <a:gd name="connsiteY1165" fmla="*/ 992085 h 2017022"/>
                <a:gd name="connsiteX1166" fmla="*/ 5287051 w 6378875"/>
                <a:gd name="connsiteY1166" fmla="*/ 979029 h 2017022"/>
                <a:gd name="connsiteX1167" fmla="*/ 5269783 w 6378875"/>
                <a:gd name="connsiteY1167" fmla="*/ 966604 h 2017022"/>
                <a:gd name="connsiteX1168" fmla="*/ 5253567 w 6378875"/>
                <a:gd name="connsiteY1168" fmla="*/ 956074 h 2017022"/>
                <a:gd name="connsiteX1169" fmla="*/ 5252725 w 6378875"/>
                <a:gd name="connsiteY1169" fmla="*/ 942597 h 2017022"/>
                <a:gd name="connsiteX1170" fmla="*/ 5252725 w 6378875"/>
                <a:gd name="connsiteY1170" fmla="*/ 928277 h 2017022"/>
                <a:gd name="connsiteX1171" fmla="*/ 5270836 w 6378875"/>
                <a:gd name="connsiteY1171" fmla="*/ 926803 h 2017022"/>
                <a:gd name="connsiteX1172" fmla="*/ 5300529 w 6378875"/>
                <a:gd name="connsiteY1172" fmla="*/ 941754 h 2017022"/>
                <a:gd name="connsiteX1173" fmla="*/ 5308321 w 6378875"/>
                <a:gd name="connsiteY1173" fmla="*/ 942176 h 2017022"/>
                <a:gd name="connsiteX1174" fmla="*/ 5287262 w 6378875"/>
                <a:gd name="connsiteY1174" fmla="*/ 929119 h 2017022"/>
                <a:gd name="connsiteX1175" fmla="*/ 5262413 w 6378875"/>
                <a:gd name="connsiteY1175" fmla="*/ 904691 h 2017022"/>
                <a:gd name="connsiteX1176" fmla="*/ 5241354 w 6378875"/>
                <a:gd name="connsiteY1176" fmla="*/ 875840 h 2017022"/>
                <a:gd name="connsiteX1177" fmla="*/ 5227033 w 6378875"/>
                <a:gd name="connsiteY1177" fmla="*/ 858993 h 2017022"/>
                <a:gd name="connsiteX1178" fmla="*/ 5215451 w 6378875"/>
                <a:gd name="connsiteY1178" fmla="*/ 838355 h 2017022"/>
                <a:gd name="connsiteX1179" fmla="*/ 5200078 w 6378875"/>
                <a:gd name="connsiteY1179" fmla="*/ 821508 h 2017022"/>
                <a:gd name="connsiteX1180" fmla="*/ 5192497 w 6378875"/>
                <a:gd name="connsiteY1180" fmla="*/ 811400 h 2017022"/>
                <a:gd name="connsiteX1181" fmla="*/ 5171227 w 6378875"/>
                <a:gd name="connsiteY1181" fmla="*/ 806556 h 2017022"/>
                <a:gd name="connsiteX1182" fmla="*/ 5191443 w 6378875"/>
                <a:gd name="connsiteY1182" fmla="*/ 818560 h 2017022"/>
                <a:gd name="connsiteX1183" fmla="*/ 5177966 w 6378875"/>
                <a:gd name="connsiteY1183" fmla="*/ 820034 h 2017022"/>
                <a:gd name="connsiteX1184" fmla="*/ 5145325 w 6378875"/>
                <a:gd name="connsiteY1184" fmla="*/ 813295 h 2017022"/>
                <a:gd name="connsiteX1185" fmla="*/ 5124266 w 6378875"/>
                <a:gd name="connsiteY1185" fmla="*/ 804240 h 2017022"/>
                <a:gd name="connsiteX1186" fmla="*/ 5103207 w 6378875"/>
                <a:gd name="connsiteY1186" fmla="*/ 790341 h 2017022"/>
                <a:gd name="connsiteX1187" fmla="*/ 5084885 w 6378875"/>
                <a:gd name="connsiteY1187" fmla="*/ 785919 h 2017022"/>
                <a:gd name="connsiteX1188" fmla="*/ 5064669 w 6378875"/>
                <a:gd name="connsiteY1188" fmla="*/ 784023 h 2017022"/>
                <a:gd name="connsiteX1189" fmla="*/ 5056035 w 6378875"/>
                <a:gd name="connsiteY1189" fmla="*/ 789709 h 2017022"/>
                <a:gd name="connsiteX1190" fmla="*/ 5040662 w 6378875"/>
                <a:gd name="connsiteY1190" fmla="*/ 785919 h 2017022"/>
                <a:gd name="connsiteX1191" fmla="*/ 5035818 w 6378875"/>
                <a:gd name="connsiteY1191" fmla="*/ 777284 h 2017022"/>
                <a:gd name="connsiteX1192" fmla="*/ 5035818 w 6378875"/>
                <a:gd name="connsiteY1192" fmla="*/ 770546 h 2017022"/>
                <a:gd name="connsiteX1193" fmla="*/ 5020445 w 6378875"/>
                <a:gd name="connsiteY1193" fmla="*/ 769071 h 2017022"/>
                <a:gd name="connsiteX1194" fmla="*/ 5021288 w 6378875"/>
                <a:gd name="connsiteY1194" fmla="*/ 778127 h 2017022"/>
                <a:gd name="connsiteX1195" fmla="*/ 5008863 w 6378875"/>
                <a:gd name="connsiteY1195" fmla="*/ 769071 h 2017022"/>
                <a:gd name="connsiteX1196" fmla="*/ 5001281 w 6378875"/>
                <a:gd name="connsiteY1196" fmla="*/ 757489 h 2017022"/>
                <a:gd name="connsiteX1197" fmla="*/ 4957058 w 6378875"/>
                <a:gd name="connsiteY1197" fmla="*/ 743169 h 2017022"/>
                <a:gd name="connsiteX1198" fmla="*/ 4971378 w 6378875"/>
                <a:gd name="connsiteY1198" fmla="*/ 739378 h 2017022"/>
                <a:gd name="connsiteX1199" fmla="*/ 4999386 w 6378875"/>
                <a:gd name="connsiteY1199" fmla="*/ 737062 h 2017022"/>
                <a:gd name="connsiteX1200" fmla="*/ 5028027 w 6378875"/>
                <a:gd name="connsiteY1200" fmla="*/ 732218 h 2017022"/>
                <a:gd name="connsiteX1201" fmla="*/ 5062774 w 6378875"/>
                <a:gd name="connsiteY1201" fmla="*/ 722531 h 2017022"/>
                <a:gd name="connsiteX1202" fmla="*/ 5078989 w 6378875"/>
                <a:gd name="connsiteY1202" fmla="*/ 721057 h 2017022"/>
                <a:gd name="connsiteX1203" fmla="*/ 5089518 w 6378875"/>
                <a:gd name="connsiteY1203" fmla="*/ 715371 h 2017022"/>
                <a:gd name="connsiteX1204" fmla="*/ 5102996 w 6378875"/>
                <a:gd name="connsiteY1204" fmla="*/ 713055 h 2017022"/>
                <a:gd name="connsiteX1205" fmla="*/ 5120265 w 6378875"/>
                <a:gd name="connsiteY1205" fmla="*/ 712002 h 2017022"/>
                <a:gd name="connsiteX1206" fmla="*/ 5144272 w 6378875"/>
                <a:gd name="connsiteY1206" fmla="*/ 710528 h 2017022"/>
                <a:gd name="connsiteX1207" fmla="*/ 5179019 w 6378875"/>
                <a:gd name="connsiteY1207" fmla="*/ 718741 h 2017022"/>
                <a:gd name="connsiteX1208" fmla="*/ 5223032 w 6378875"/>
                <a:gd name="connsiteY1208" fmla="*/ 729270 h 2017022"/>
                <a:gd name="connsiteX1209" fmla="*/ 5237562 w 6378875"/>
                <a:gd name="connsiteY1209" fmla="*/ 737904 h 2017022"/>
                <a:gd name="connsiteX1210" fmla="*/ 5243459 w 6378875"/>
                <a:gd name="connsiteY1210" fmla="*/ 734535 h 2017022"/>
                <a:gd name="connsiteX1211" fmla="*/ 5273152 w 6378875"/>
                <a:gd name="connsiteY1211" fmla="*/ 744643 h 2017022"/>
                <a:gd name="connsiteX1212" fmla="*/ 5302003 w 6378875"/>
                <a:gd name="connsiteY1212" fmla="*/ 751803 h 2017022"/>
                <a:gd name="connsiteX1213" fmla="*/ 5322220 w 6378875"/>
                <a:gd name="connsiteY1213" fmla="*/ 759595 h 2017022"/>
                <a:gd name="connsiteX1214" fmla="*/ 5326853 w 6378875"/>
                <a:gd name="connsiteY1214" fmla="*/ 753698 h 2017022"/>
                <a:gd name="connsiteX1215" fmla="*/ 5348122 w 6378875"/>
                <a:gd name="connsiteY1215" fmla="*/ 758963 h 2017022"/>
                <a:gd name="connsiteX1216" fmla="*/ 5372129 w 6378875"/>
                <a:gd name="connsiteY1216" fmla="*/ 769493 h 2017022"/>
                <a:gd name="connsiteX1217" fmla="*/ 5394241 w 6378875"/>
                <a:gd name="connsiteY1217" fmla="*/ 774757 h 2017022"/>
                <a:gd name="connsiteX1218" fmla="*/ 5410667 w 6378875"/>
                <a:gd name="connsiteY1218" fmla="*/ 783391 h 2017022"/>
                <a:gd name="connsiteX1219" fmla="*/ 5390450 w 6378875"/>
                <a:gd name="connsiteY1219" fmla="*/ 781496 h 2017022"/>
                <a:gd name="connsiteX1220" fmla="*/ 5411509 w 6378875"/>
                <a:gd name="connsiteY1220" fmla="*/ 789709 h 2017022"/>
                <a:gd name="connsiteX1221" fmla="*/ 5429620 w 6378875"/>
                <a:gd name="connsiteY1221" fmla="*/ 793921 h 2017022"/>
                <a:gd name="connsiteX1222" fmla="*/ 5442255 w 6378875"/>
                <a:gd name="connsiteY1222" fmla="*/ 797290 h 2017022"/>
                <a:gd name="connsiteX1223" fmla="*/ 5462472 w 6378875"/>
                <a:gd name="connsiteY1223" fmla="*/ 799817 h 2017022"/>
                <a:gd name="connsiteX1224" fmla="*/ 5481635 w 6378875"/>
                <a:gd name="connsiteY1224" fmla="*/ 807399 h 2017022"/>
                <a:gd name="connsiteX1225" fmla="*/ 5494061 w 6378875"/>
                <a:gd name="connsiteY1225" fmla="*/ 809294 h 2017022"/>
                <a:gd name="connsiteX1226" fmla="*/ 5504590 w 6378875"/>
                <a:gd name="connsiteY1226" fmla="*/ 808873 h 2017022"/>
                <a:gd name="connsiteX1227" fmla="*/ 5470896 w 6378875"/>
                <a:gd name="connsiteY1227" fmla="*/ 792447 h 2017022"/>
                <a:gd name="connsiteX1228" fmla="*/ 5481425 w 6378875"/>
                <a:gd name="connsiteY1228" fmla="*/ 785287 h 2017022"/>
                <a:gd name="connsiteX1229" fmla="*/ 5508380 w 6378875"/>
                <a:gd name="connsiteY1229" fmla="*/ 784234 h 2017022"/>
                <a:gd name="connsiteX1230" fmla="*/ 5518910 w 6378875"/>
                <a:gd name="connsiteY1230" fmla="*/ 781917 h 2017022"/>
                <a:gd name="connsiteX1231" fmla="*/ 5529439 w 6378875"/>
                <a:gd name="connsiteY1231" fmla="*/ 778548 h 2017022"/>
                <a:gd name="connsiteX1232" fmla="*/ 5549656 w 6378875"/>
                <a:gd name="connsiteY1232" fmla="*/ 783813 h 2017022"/>
                <a:gd name="connsiteX1233" fmla="*/ 5580402 w 6378875"/>
                <a:gd name="connsiteY1233" fmla="*/ 787182 h 2017022"/>
                <a:gd name="connsiteX1234" fmla="*/ 5600408 w 6378875"/>
                <a:gd name="connsiteY1234" fmla="*/ 800239 h 2017022"/>
                <a:gd name="connsiteX1235" fmla="*/ 5620624 w 6378875"/>
                <a:gd name="connsiteY1235" fmla="*/ 803187 h 2017022"/>
                <a:gd name="connsiteX1236" fmla="*/ 5611990 w 6378875"/>
                <a:gd name="connsiteY1236" fmla="*/ 810768 h 2017022"/>
                <a:gd name="connsiteX1237" fmla="*/ 5634102 w 6378875"/>
                <a:gd name="connsiteY1237" fmla="*/ 820876 h 2017022"/>
                <a:gd name="connsiteX1238" fmla="*/ 5647580 w 6378875"/>
                <a:gd name="connsiteY1238" fmla="*/ 828036 h 2017022"/>
                <a:gd name="connsiteX1239" fmla="*/ 5670745 w 6378875"/>
                <a:gd name="connsiteY1239" fmla="*/ 823614 h 2017022"/>
                <a:gd name="connsiteX1240" fmla="*/ 5689066 w 6378875"/>
                <a:gd name="connsiteY1240" fmla="*/ 825930 h 2017022"/>
                <a:gd name="connsiteX1241" fmla="*/ 5702543 w 6378875"/>
                <a:gd name="connsiteY1241" fmla="*/ 828879 h 2017022"/>
                <a:gd name="connsiteX1242" fmla="*/ 5700648 w 6378875"/>
                <a:gd name="connsiteY1242" fmla="*/ 819192 h 2017022"/>
                <a:gd name="connsiteX1243" fmla="*/ 5718970 w 6378875"/>
                <a:gd name="connsiteY1243" fmla="*/ 820666 h 2017022"/>
                <a:gd name="connsiteX1244" fmla="*/ 5727603 w 6378875"/>
                <a:gd name="connsiteY1244" fmla="*/ 828247 h 2017022"/>
                <a:gd name="connsiteX1245" fmla="*/ 5721707 w 6378875"/>
                <a:gd name="connsiteY1245" fmla="*/ 833933 h 2017022"/>
                <a:gd name="connsiteX1246" fmla="*/ 5722760 w 6378875"/>
                <a:gd name="connsiteY1246" fmla="*/ 840672 h 2017022"/>
                <a:gd name="connsiteX1247" fmla="*/ 5718759 w 6378875"/>
                <a:gd name="connsiteY1247" fmla="*/ 845936 h 2017022"/>
                <a:gd name="connsiteX1248" fmla="*/ 5700438 w 6378875"/>
                <a:gd name="connsiteY1248" fmla="*/ 844041 h 2017022"/>
                <a:gd name="connsiteX1249" fmla="*/ 5684223 w 6378875"/>
                <a:gd name="connsiteY1249" fmla="*/ 845515 h 2017022"/>
                <a:gd name="connsiteX1250" fmla="*/ 5675588 w 6378875"/>
                <a:gd name="connsiteY1250" fmla="*/ 848885 h 2017022"/>
                <a:gd name="connsiteX1251" fmla="*/ 5642947 w 6378875"/>
                <a:gd name="connsiteY1251" fmla="*/ 853096 h 2017022"/>
                <a:gd name="connsiteX1252" fmla="*/ 5623783 w 6378875"/>
                <a:gd name="connsiteY1252" fmla="*/ 857940 h 2017022"/>
                <a:gd name="connsiteX1253" fmla="*/ 5598934 w 6378875"/>
                <a:gd name="connsiteY1253" fmla="*/ 857519 h 2017022"/>
                <a:gd name="connsiteX1254" fmla="*/ 5584614 w 6378875"/>
                <a:gd name="connsiteY1254" fmla="*/ 854571 h 2017022"/>
                <a:gd name="connsiteX1255" fmla="*/ 5574084 w 6378875"/>
                <a:gd name="connsiteY1255" fmla="*/ 854571 h 2017022"/>
                <a:gd name="connsiteX1256" fmla="*/ 5570294 w 6378875"/>
                <a:gd name="connsiteY1256" fmla="*/ 858361 h 2017022"/>
                <a:gd name="connsiteX1257" fmla="*/ 5567345 w 6378875"/>
                <a:gd name="connsiteY1257" fmla="*/ 864047 h 2017022"/>
                <a:gd name="connsiteX1258" fmla="*/ 5554078 w 6378875"/>
                <a:gd name="connsiteY1258" fmla="*/ 867838 h 2017022"/>
                <a:gd name="connsiteX1259" fmla="*/ 5555131 w 6378875"/>
                <a:gd name="connsiteY1259" fmla="*/ 887422 h 2017022"/>
                <a:gd name="connsiteX1260" fmla="*/ 5571346 w 6378875"/>
                <a:gd name="connsiteY1260" fmla="*/ 910587 h 2017022"/>
                <a:gd name="connsiteX1261" fmla="*/ 5598092 w 6378875"/>
                <a:gd name="connsiteY1261" fmla="*/ 941333 h 2017022"/>
                <a:gd name="connsiteX1262" fmla="*/ 5619151 w 6378875"/>
                <a:gd name="connsiteY1262" fmla="*/ 966393 h 2017022"/>
                <a:gd name="connsiteX1263" fmla="*/ 5632628 w 6378875"/>
                <a:gd name="connsiteY1263" fmla="*/ 984083 h 2017022"/>
                <a:gd name="connsiteX1264" fmla="*/ 5643157 w 6378875"/>
                <a:gd name="connsiteY1264" fmla="*/ 996086 h 2017022"/>
                <a:gd name="connsiteX1265" fmla="*/ 5659583 w 6378875"/>
                <a:gd name="connsiteY1265" fmla="*/ 994191 h 2017022"/>
                <a:gd name="connsiteX1266" fmla="*/ 5673061 w 6378875"/>
                <a:gd name="connsiteY1266" fmla="*/ 989979 h 2017022"/>
                <a:gd name="connsiteX1267" fmla="*/ 5678747 w 6378875"/>
                <a:gd name="connsiteY1267" fmla="*/ 975028 h 2017022"/>
                <a:gd name="connsiteX1268" fmla="*/ 5685486 w 6378875"/>
                <a:gd name="connsiteY1268" fmla="*/ 969763 h 2017022"/>
                <a:gd name="connsiteX1269" fmla="*/ 5701912 w 6378875"/>
                <a:gd name="connsiteY1269" fmla="*/ 972711 h 2017022"/>
                <a:gd name="connsiteX1270" fmla="*/ 5713494 w 6378875"/>
                <a:gd name="connsiteY1270" fmla="*/ 975028 h 2017022"/>
                <a:gd name="connsiteX1271" fmla="*/ 5701912 w 6378875"/>
                <a:gd name="connsiteY1271" fmla="*/ 958180 h 2017022"/>
                <a:gd name="connsiteX1272" fmla="*/ 5717285 w 6378875"/>
                <a:gd name="connsiteY1272" fmla="*/ 953337 h 2017022"/>
                <a:gd name="connsiteX1273" fmla="*/ 5748031 w 6378875"/>
                <a:gd name="connsiteY1273" fmla="*/ 964498 h 2017022"/>
                <a:gd name="connsiteX1274" fmla="*/ 5746135 w 6378875"/>
                <a:gd name="connsiteY1274" fmla="*/ 950178 h 2017022"/>
                <a:gd name="connsiteX1275" fmla="*/ 5733711 w 6378875"/>
                <a:gd name="connsiteY1275" fmla="*/ 937753 h 2017022"/>
                <a:gd name="connsiteX1276" fmla="*/ 5748031 w 6378875"/>
                <a:gd name="connsiteY1276" fmla="*/ 933541 h 2017022"/>
                <a:gd name="connsiteX1277" fmla="*/ 5763404 w 6378875"/>
                <a:gd name="connsiteY1277" fmla="*/ 940280 h 2017022"/>
                <a:gd name="connsiteX1278" fmla="*/ 5769090 w 6378875"/>
                <a:gd name="connsiteY1278" fmla="*/ 933541 h 2017022"/>
                <a:gd name="connsiteX1279" fmla="*/ 5750769 w 6378875"/>
                <a:gd name="connsiteY1279" fmla="*/ 924276 h 2017022"/>
                <a:gd name="connsiteX1280" fmla="*/ 5746978 w 6378875"/>
                <a:gd name="connsiteY1280" fmla="*/ 914167 h 2017022"/>
                <a:gd name="connsiteX1281" fmla="*/ 5751821 w 6378875"/>
                <a:gd name="connsiteY1281" fmla="*/ 909745 h 2017022"/>
                <a:gd name="connsiteX1282" fmla="*/ 5734553 w 6378875"/>
                <a:gd name="connsiteY1282" fmla="*/ 900058 h 2017022"/>
                <a:gd name="connsiteX1283" fmla="*/ 5719180 w 6378875"/>
                <a:gd name="connsiteY1283" fmla="*/ 896688 h 2017022"/>
                <a:gd name="connsiteX1284" fmla="*/ 5712441 w 6378875"/>
                <a:gd name="connsiteY1284" fmla="*/ 886159 h 2017022"/>
                <a:gd name="connsiteX1285" fmla="*/ 5724024 w 6378875"/>
                <a:gd name="connsiteY1285" fmla="*/ 881315 h 2017022"/>
                <a:gd name="connsiteX1286" fmla="*/ 5735606 w 6378875"/>
                <a:gd name="connsiteY1286" fmla="*/ 869733 h 2017022"/>
                <a:gd name="connsiteX1287" fmla="*/ 5749084 w 6378875"/>
                <a:gd name="connsiteY1287" fmla="*/ 871628 h 2017022"/>
                <a:gd name="connsiteX1288" fmla="*/ 5761509 w 6378875"/>
                <a:gd name="connsiteY1288" fmla="*/ 874577 h 2017022"/>
                <a:gd name="connsiteX1289" fmla="*/ 5777934 w 6378875"/>
                <a:gd name="connsiteY1289" fmla="*/ 882158 h 2017022"/>
                <a:gd name="connsiteX1290" fmla="*/ 5789516 w 6378875"/>
                <a:gd name="connsiteY1290" fmla="*/ 879841 h 2017022"/>
                <a:gd name="connsiteX1291" fmla="*/ 5804890 w 6378875"/>
                <a:gd name="connsiteY1291" fmla="*/ 880894 h 2017022"/>
                <a:gd name="connsiteX1292" fmla="*/ 5806785 w 6378875"/>
                <a:gd name="connsiteY1292" fmla="*/ 892477 h 2017022"/>
                <a:gd name="connsiteX1293" fmla="*/ 5822159 w 6378875"/>
                <a:gd name="connsiteY1293" fmla="*/ 893319 h 2017022"/>
                <a:gd name="connsiteX1294" fmla="*/ 5836688 w 6378875"/>
                <a:gd name="connsiteY1294" fmla="*/ 890371 h 2017022"/>
                <a:gd name="connsiteX1295" fmla="*/ 5865540 w 6378875"/>
                <a:gd name="connsiteY1295" fmla="*/ 898162 h 2017022"/>
                <a:gd name="connsiteX1296" fmla="*/ 5891442 w 6378875"/>
                <a:gd name="connsiteY1296" fmla="*/ 908271 h 2017022"/>
                <a:gd name="connsiteX1297" fmla="*/ 5919240 w 6378875"/>
                <a:gd name="connsiteY1297" fmla="*/ 925539 h 2017022"/>
                <a:gd name="connsiteX1298" fmla="*/ 5929770 w 6378875"/>
                <a:gd name="connsiteY1298" fmla="*/ 923223 h 2017022"/>
                <a:gd name="connsiteX1299" fmla="*/ 5963252 w 6378875"/>
                <a:gd name="connsiteY1299" fmla="*/ 924697 h 2017022"/>
                <a:gd name="connsiteX1300" fmla="*/ 5986418 w 6378875"/>
                <a:gd name="connsiteY1300" fmla="*/ 923223 h 2017022"/>
                <a:gd name="connsiteX1301" fmla="*/ 5995052 w 6378875"/>
                <a:gd name="connsiteY1301" fmla="*/ 923223 h 2017022"/>
                <a:gd name="connsiteX1302" fmla="*/ 6028747 w 6378875"/>
                <a:gd name="connsiteY1302" fmla="*/ 930383 h 2017022"/>
                <a:gd name="connsiteX1303" fmla="*/ 6055701 w 6378875"/>
                <a:gd name="connsiteY1303" fmla="*/ 933331 h 2017022"/>
                <a:gd name="connsiteX1304" fmla="*/ 6075918 w 6378875"/>
                <a:gd name="connsiteY1304" fmla="*/ 939017 h 2017022"/>
                <a:gd name="connsiteX1305" fmla="*/ 6096977 w 6378875"/>
                <a:gd name="connsiteY1305" fmla="*/ 945756 h 2017022"/>
                <a:gd name="connsiteX1306" fmla="*/ 6122879 w 6378875"/>
                <a:gd name="connsiteY1306" fmla="*/ 957338 h 2017022"/>
                <a:gd name="connsiteX1307" fmla="*/ 6137410 w 6378875"/>
                <a:gd name="connsiteY1307" fmla="*/ 958812 h 2017022"/>
                <a:gd name="connsiteX1308" fmla="*/ 6131724 w 6378875"/>
                <a:gd name="connsiteY1308" fmla="*/ 951231 h 2017022"/>
                <a:gd name="connsiteX1309" fmla="*/ 6132567 w 6378875"/>
                <a:gd name="connsiteY1309" fmla="*/ 947862 h 2017022"/>
                <a:gd name="connsiteX1310" fmla="*/ 6118247 w 6378875"/>
                <a:gd name="connsiteY1310" fmla="*/ 941123 h 2017022"/>
                <a:gd name="connsiteX1311" fmla="*/ 6104769 w 6378875"/>
                <a:gd name="connsiteY1311" fmla="*/ 930593 h 2017022"/>
                <a:gd name="connsiteX1312" fmla="*/ 6087501 w 6378875"/>
                <a:gd name="connsiteY1312" fmla="*/ 916273 h 2017022"/>
                <a:gd name="connsiteX1313" fmla="*/ 6084552 w 6378875"/>
                <a:gd name="connsiteY1313" fmla="*/ 909534 h 2017022"/>
                <a:gd name="connsiteX1314" fmla="*/ 6120984 w 6378875"/>
                <a:gd name="connsiteY1314" fmla="*/ 918168 h 2017022"/>
                <a:gd name="connsiteX1315" fmla="*/ 6131724 w 6378875"/>
                <a:gd name="connsiteY1315" fmla="*/ 912483 h 2017022"/>
                <a:gd name="connsiteX1316" fmla="*/ 6114455 w 6378875"/>
                <a:gd name="connsiteY1316" fmla="*/ 900900 h 2017022"/>
                <a:gd name="connsiteX1317" fmla="*/ 6129829 w 6378875"/>
                <a:gd name="connsiteY1317" fmla="*/ 901953 h 2017022"/>
                <a:gd name="connsiteX1318" fmla="*/ 6139515 w 6378875"/>
                <a:gd name="connsiteY1318" fmla="*/ 910166 h 2017022"/>
                <a:gd name="connsiteX1319" fmla="*/ 6155942 w 6378875"/>
                <a:gd name="connsiteY1319" fmla="*/ 923223 h 2017022"/>
                <a:gd name="connsiteX1320" fmla="*/ 6174052 w 6378875"/>
                <a:gd name="connsiteY1320" fmla="*/ 930383 h 2017022"/>
                <a:gd name="connsiteX1321" fmla="*/ 6253656 w 6378875"/>
                <a:gd name="connsiteY1321" fmla="*/ 969763 h 2017022"/>
                <a:gd name="connsiteX1322" fmla="*/ 6324835 w 6378875"/>
                <a:gd name="connsiteY1322" fmla="*/ 1001351 h 2017022"/>
                <a:gd name="connsiteX1323" fmla="*/ 6319149 w 6378875"/>
                <a:gd name="connsiteY1323" fmla="*/ 983662 h 2017022"/>
                <a:gd name="connsiteX1324" fmla="*/ 6343156 w 6378875"/>
                <a:gd name="connsiteY1324" fmla="*/ 992296 h 2017022"/>
                <a:gd name="connsiteX1325" fmla="*/ 6360425 w 6378875"/>
                <a:gd name="connsiteY1325" fmla="*/ 993770 h 2017022"/>
                <a:gd name="connsiteX1326" fmla="*/ 6376219 w 6378875"/>
                <a:gd name="connsiteY1326" fmla="*/ 996086 h 2017022"/>
                <a:gd name="connsiteX1327" fmla="*/ 1705772 w 6378875"/>
                <a:gd name="connsiteY1327" fmla="*/ 240282 h 2017022"/>
                <a:gd name="connsiteX1328" fmla="*/ 1706825 w 6378875"/>
                <a:gd name="connsiteY1328" fmla="*/ 235439 h 2017022"/>
                <a:gd name="connsiteX1329" fmla="*/ 1698191 w 6378875"/>
                <a:gd name="connsiteY1329" fmla="*/ 229121 h 2017022"/>
                <a:gd name="connsiteX1330" fmla="*/ 1713985 w 6378875"/>
                <a:gd name="connsiteY1330" fmla="*/ 233964 h 2017022"/>
                <a:gd name="connsiteX1331" fmla="*/ 1732727 w 6378875"/>
                <a:gd name="connsiteY1331" fmla="*/ 241756 h 2017022"/>
                <a:gd name="connsiteX1332" fmla="*/ 1729780 w 6378875"/>
                <a:gd name="connsiteY1332" fmla="*/ 248495 h 2017022"/>
                <a:gd name="connsiteX1333" fmla="*/ 1713985 w 6378875"/>
                <a:gd name="connsiteY1333" fmla="*/ 245757 h 2017022"/>
                <a:gd name="connsiteX1334" fmla="*/ 1695874 w 6378875"/>
                <a:gd name="connsiteY1334" fmla="*/ 242388 h 2017022"/>
                <a:gd name="connsiteX1335" fmla="*/ 1705772 w 6378875"/>
                <a:gd name="connsiteY1335" fmla="*/ 240282 h 2017022"/>
                <a:gd name="connsiteX1336" fmla="*/ 1580893 w 6378875"/>
                <a:gd name="connsiteY1336" fmla="*/ 170156 h 2017022"/>
                <a:gd name="connsiteX1337" fmla="*/ 1594792 w 6378875"/>
                <a:gd name="connsiteY1337" fmla="*/ 168261 h 2017022"/>
                <a:gd name="connsiteX1338" fmla="*/ 1607217 w 6378875"/>
                <a:gd name="connsiteY1338" fmla="*/ 168682 h 2017022"/>
                <a:gd name="connsiteX1339" fmla="*/ 1616272 w 6378875"/>
                <a:gd name="connsiteY1339" fmla="*/ 164891 h 2017022"/>
                <a:gd name="connsiteX1340" fmla="*/ 1601320 w 6378875"/>
                <a:gd name="connsiteY1340" fmla="*/ 158995 h 2017022"/>
                <a:gd name="connsiteX1341" fmla="*/ 1584052 w 6378875"/>
                <a:gd name="connsiteY1341" fmla="*/ 154783 h 2017022"/>
                <a:gd name="connsiteX1342" fmla="*/ 1598371 w 6378875"/>
                <a:gd name="connsiteY1342" fmla="*/ 155836 h 2017022"/>
                <a:gd name="connsiteX1343" fmla="*/ 1620905 w 6378875"/>
                <a:gd name="connsiteY1343" fmla="*/ 161101 h 2017022"/>
                <a:gd name="connsiteX1344" fmla="*/ 1622800 w 6378875"/>
                <a:gd name="connsiteY1344" fmla="*/ 167840 h 2017022"/>
                <a:gd name="connsiteX1345" fmla="*/ 1627012 w 6378875"/>
                <a:gd name="connsiteY1345" fmla="*/ 174157 h 2017022"/>
                <a:gd name="connsiteX1346" fmla="*/ 1643859 w 6378875"/>
                <a:gd name="connsiteY1346" fmla="*/ 181738 h 2017022"/>
                <a:gd name="connsiteX1347" fmla="*/ 1644280 w 6378875"/>
                <a:gd name="connsiteY1347" fmla="*/ 188056 h 2017022"/>
                <a:gd name="connsiteX1348" fmla="*/ 1627012 w 6378875"/>
                <a:gd name="connsiteY1348" fmla="*/ 191004 h 2017022"/>
                <a:gd name="connsiteX1349" fmla="*/ 1618799 w 6378875"/>
                <a:gd name="connsiteY1349" fmla="*/ 186582 h 2017022"/>
                <a:gd name="connsiteX1350" fmla="*/ 1593949 w 6378875"/>
                <a:gd name="connsiteY1350" fmla="*/ 177527 h 2017022"/>
                <a:gd name="connsiteX1351" fmla="*/ 1580893 w 6378875"/>
                <a:gd name="connsiteY1351" fmla="*/ 170156 h 2017022"/>
                <a:gd name="connsiteX1352" fmla="*/ 1441483 w 6378875"/>
                <a:gd name="connsiteY1352" fmla="*/ 175000 h 2017022"/>
                <a:gd name="connsiteX1353" fmla="*/ 1465069 w 6378875"/>
                <a:gd name="connsiteY1353" fmla="*/ 174157 h 2017022"/>
                <a:gd name="connsiteX1354" fmla="*/ 1484653 w 6378875"/>
                <a:gd name="connsiteY1354" fmla="*/ 179001 h 2017022"/>
                <a:gd name="connsiteX1355" fmla="*/ 1505291 w 6378875"/>
                <a:gd name="connsiteY1355" fmla="*/ 183844 h 2017022"/>
                <a:gd name="connsiteX1356" fmla="*/ 1522559 w 6378875"/>
                <a:gd name="connsiteY1356" fmla="*/ 192057 h 2017022"/>
                <a:gd name="connsiteX1357" fmla="*/ 1520032 w 6378875"/>
                <a:gd name="connsiteY1357" fmla="*/ 200270 h 2017022"/>
                <a:gd name="connsiteX1358" fmla="*/ 1504238 w 6378875"/>
                <a:gd name="connsiteY1358" fmla="*/ 203008 h 2017022"/>
                <a:gd name="connsiteX1359" fmla="*/ 1486128 w 6378875"/>
                <a:gd name="connsiteY1359" fmla="*/ 201534 h 2017022"/>
                <a:gd name="connsiteX1360" fmla="*/ 1472650 w 6378875"/>
                <a:gd name="connsiteY1360" fmla="*/ 206377 h 2017022"/>
                <a:gd name="connsiteX1361" fmla="*/ 1459804 w 6378875"/>
                <a:gd name="connsiteY1361" fmla="*/ 200060 h 2017022"/>
                <a:gd name="connsiteX1362" fmla="*/ 1446748 w 6378875"/>
                <a:gd name="connsiteY1362" fmla="*/ 191004 h 2017022"/>
                <a:gd name="connsiteX1363" fmla="*/ 1430322 w 6378875"/>
                <a:gd name="connsiteY1363" fmla="*/ 181317 h 2017022"/>
                <a:gd name="connsiteX1364" fmla="*/ 1441483 w 6378875"/>
                <a:gd name="connsiteY1364" fmla="*/ 175000 h 2017022"/>
                <a:gd name="connsiteX1365" fmla="*/ 1848341 w 6378875"/>
                <a:gd name="connsiteY1365" fmla="*/ 618711 h 2017022"/>
                <a:gd name="connsiteX1366" fmla="*/ 1812752 w 6378875"/>
                <a:gd name="connsiteY1366" fmla="*/ 629240 h 2017022"/>
                <a:gd name="connsiteX1367" fmla="*/ 1774845 w 6378875"/>
                <a:gd name="connsiteY1367" fmla="*/ 622080 h 2017022"/>
                <a:gd name="connsiteX1368" fmla="*/ 1742625 w 6378875"/>
                <a:gd name="connsiteY1368" fmla="*/ 626924 h 2017022"/>
                <a:gd name="connsiteX1369" fmla="*/ 1713775 w 6378875"/>
                <a:gd name="connsiteY1369" fmla="*/ 618711 h 2017022"/>
                <a:gd name="connsiteX1370" fmla="*/ 1691663 w 6378875"/>
                <a:gd name="connsiteY1370" fmla="*/ 614920 h 2017022"/>
                <a:gd name="connsiteX1371" fmla="*/ 1670604 w 6378875"/>
                <a:gd name="connsiteY1371" fmla="*/ 611130 h 2017022"/>
                <a:gd name="connsiteX1372" fmla="*/ 1653336 w 6378875"/>
                <a:gd name="connsiteY1372" fmla="*/ 606286 h 2017022"/>
                <a:gd name="connsiteX1373" fmla="*/ 1627222 w 6378875"/>
                <a:gd name="connsiteY1373" fmla="*/ 603338 h 2017022"/>
                <a:gd name="connsiteX1374" fmla="*/ 1579840 w 6378875"/>
                <a:gd name="connsiteY1374" fmla="*/ 595125 h 2017022"/>
                <a:gd name="connsiteX1375" fmla="*/ 1530352 w 6378875"/>
                <a:gd name="connsiteY1375" fmla="*/ 600811 h 2017022"/>
                <a:gd name="connsiteX1376" fmla="*/ 1490971 w 6378875"/>
                <a:gd name="connsiteY1376" fmla="*/ 614288 h 2017022"/>
                <a:gd name="connsiteX1377" fmla="*/ 1465069 w 6378875"/>
                <a:gd name="connsiteY1377" fmla="*/ 614710 h 2017022"/>
                <a:gd name="connsiteX1378" fmla="*/ 1436639 w 6378875"/>
                <a:gd name="connsiteY1378" fmla="*/ 612814 h 2017022"/>
                <a:gd name="connsiteX1379" fmla="*/ 1403577 w 6378875"/>
                <a:gd name="connsiteY1379" fmla="*/ 607128 h 2017022"/>
                <a:gd name="connsiteX1380" fmla="*/ 1378095 w 6378875"/>
                <a:gd name="connsiteY1380" fmla="*/ 598915 h 2017022"/>
                <a:gd name="connsiteX1381" fmla="*/ 1367145 w 6378875"/>
                <a:gd name="connsiteY1381" fmla="*/ 588807 h 2017022"/>
                <a:gd name="connsiteX1382" fmla="*/ 1364828 w 6378875"/>
                <a:gd name="connsiteY1382" fmla="*/ 576382 h 2017022"/>
                <a:gd name="connsiteX1383" fmla="*/ 1369250 w 6378875"/>
                <a:gd name="connsiteY1383" fmla="*/ 561009 h 2017022"/>
                <a:gd name="connsiteX1384" fmla="*/ 1390941 w 6378875"/>
                <a:gd name="connsiteY1384" fmla="*/ 550480 h 2017022"/>
                <a:gd name="connsiteX1385" fmla="*/ 1398733 w 6378875"/>
                <a:gd name="connsiteY1385" fmla="*/ 527526 h 2017022"/>
                <a:gd name="connsiteX1386" fmla="*/ 1428847 w 6378875"/>
                <a:gd name="connsiteY1386" fmla="*/ 523735 h 2017022"/>
                <a:gd name="connsiteX1387" fmla="*/ 1434533 w 6378875"/>
                <a:gd name="connsiteY1387" fmla="*/ 508362 h 2017022"/>
                <a:gd name="connsiteX1388" fmla="*/ 1458541 w 6378875"/>
                <a:gd name="connsiteY1388" fmla="*/ 495306 h 2017022"/>
                <a:gd name="connsiteX1389" fmla="*/ 1480020 w 6378875"/>
                <a:gd name="connsiteY1389" fmla="*/ 485197 h 2017022"/>
                <a:gd name="connsiteX1390" fmla="*/ 1515610 w 6378875"/>
                <a:gd name="connsiteY1390" fmla="*/ 488988 h 2017022"/>
                <a:gd name="connsiteX1391" fmla="*/ 1502554 w 6378875"/>
                <a:gd name="connsiteY1391" fmla="*/ 493831 h 2017022"/>
                <a:gd name="connsiteX1392" fmla="*/ 1517505 w 6378875"/>
                <a:gd name="connsiteY1392" fmla="*/ 497622 h 2017022"/>
                <a:gd name="connsiteX1393" fmla="*/ 1544040 w 6378875"/>
                <a:gd name="connsiteY1393" fmla="*/ 498675 h 2017022"/>
                <a:gd name="connsiteX1394" fmla="*/ 1569942 w 6378875"/>
                <a:gd name="connsiteY1394" fmla="*/ 500991 h 2017022"/>
                <a:gd name="connsiteX1395" fmla="*/ 1570784 w 6378875"/>
                <a:gd name="connsiteY1395" fmla="*/ 505835 h 2017022"/>
                <a:gd name="connsiteX1396" fmla="*/ 1545303 w 6378875"/>
                <a:gd name="connsiteY1396" fmla="*/ 510047 h 2017022"/>
                <a:gd name="connsiteX1397" fmla="*/ 1529509 w 6378875"/>
                <a:gd name="connsiteY1397" fmla="*/ 514890 h 2017022"/>
                <a:gd name="connsiteX1398" fmla="*/ 1547830 w 6378875"/>
                <a:gd name="connsiteY1398" fmla="*/ 518681 h 2017022"/>
                <a:gd name="connsiteX1399" fmla="*/ 1565941 w 6378875"/>
                <a:gd name="connsiteY1399" fmla="*/ 521629 h 2017022"/>
                <a:gd name="connsiteX1400" fmla="*/ 1565520 w 6378875"/>
                <a:gd name="connsiteY1400" fmla="*/ 533633 h 2017022"/>
                <a:gd name="connsiteX1401" fmla="*/ 1583209 w 6378875"/>
                <a:gd name="connsiteY1401" fmla="*/ 539319 h 2017022"/>
                <a:gd name="connsiteX1402" fmla="*/ 1602373 w 6378875"/>
                <a:gd name="connsiteY1402" fmla="*/ 531527 h 2017022"/>
                <a:gd name="connsiteX1403" fmla="*/ 1620062 w 6378875"/>
                <a:gd name="connsiteY1403" fmla="*/ 529632 h 2017022"/>
                <a:gd name="connsiteX1404" fmla="*/ 1632066 w 6378875"/>
                <a:gd name="connsiteY1404" fmla="*/ 525841 h 2017022"/>
                <a:gd name="connsiteX1405" fmla="*/ 1665339 w 6378875"/>
                <a:gd name="connsiteY1405" fmla="*/ 524788 h 2017022"/>
                <a:gd name="connsiteX1406" fmla="*/ 1673552 w 6378875"/>
                <a:gd name="connsiteY1406" fmla="*/ 519944 h 2017022"/>
                <a:gd name="connsiteX1407" fmla="*/ 1663023 w 6378875"/>
                <a:gd name="connsiteY1407" fmla="*/ 518049 h 2017022"/>
                <a:gd name="connsiteX1408" fmla="*/ 1640489 w 6378875"/>
                <a:gd name="connsiteY1408" fmla="*/ 518892 h 2017022"/>
                <a:gd name="connsiteX1409" fmla="*/ 1627012 w 6378875"/>
                <a:gd name="connsiteY1409" fmla="*/ 513627 h 2017022"/>
                <a:gd name="connsiteX1410" fmla="*/ 1613113 w 6378875"/>
                <a:gd name="connsiteY1410" fmla="*/ 503940 h 2017022"/>
                <a:gd name="connsiteX1411" fmla="*/ 1621747 w 6378875"/>
                <a:gd name="connsiteY1411" fmla="*/ 497201 h 2017022"/>
                <a:gd name="connsiteX1412" fmla="*/ 1640911 w 6378875"/>
                <a:gd name="connsiteY1412" fmla="*/ 490462 h 2017022"/>
                <a:gd name="connsiteX1413" fmla="*/ 1661548 w 6378875"/>
                <a:gd name="connsiteY1413" fmla="*/ 488146 h 2017022"/>
                <a:gd name="connsiteX1414" fmla="*/ 1694190 w 6378875"/>
                <a:gd name="connsiteY1414" fmla="*/ 483723 h 2017022"/>
                <a:gd name="connsiteX1415" fmla="*/ 1726831 w 6378875"/>
                <a:gd name="connsiteY1415" fmla="*/ 486671 h 2017022"/>
                <a:gd name="connsiteX1416" fmla="*/ 1711879 w 6378875"/>
                <a:gd name="connsiteY1416" fmla="*/ 489620 h 2017022"/>
                <a:gd name="connsiteX1417" fmla="*/ 1728516 w 6378875"/>
                <a:gd name="connsiteY1417" fmla="*/ 500781 h 2017022"/>
                <a:gd name="connsiteX1418" fmla="*/ 1724304 w 6378875"/>
                <a:gd name="connsiteY1418" fmla="*/ 508994 h 2017022"/>
                <a:gd name="connsiteX1419" fmla="*/ 1712300 w 6378875"/>
                <a:gd name="connsiteY1419" fmla="*/ 514680 h 2017022"/>
                <a:gd name="connsiteX1420" fmla="*/ 1702613 w 6378875"/>
                <a:gd name="connsiteY1420" fmla="*/ 519102 h 2017022"/>
                <a:gd name="connsiteX1421" fmla="*/ 1680080 w 6378875"/>
                <a:gd name="connsiteY1421" fmla="*/ 517628 h 2017022"/>
                <a:gd name="connsiteX1422" fmla="*/ 1682607 w 6378875"/>
                <a:gd name="connsiteY1422" fmla="*/ 524367 h 2017022"/>
                <a:gd name="connsiteX1423" fmla="*/ 1706615 w 6378875"/>
                <a:gd name="connsiteY1423" fmla="*/ 532159 h 2017022"/>
                <a:gd name="connsiteX1424" fmla="*/ 1743678 w 6378875"/>
                <a:gd name="connsiteY1424" fmla="*/ 542267 h 2017022"/>
                <a:gd name="connsiteX1425" fmla="*/ 1775266 w 6378875"/>
                <a:gd name="connsiteY1425" fmla="*/ 558061 h 2017022"/>
                <a:gd name="connsiteX1426" fmla="*/ 1824334 w 6378875"/>
                <a:gd name="connsiteY1426" fmla="*/ 576382 h 2017022"/>
                <a:gd name="connsiteX1427" fmla="*/ 1858449 w 6378875"/>
                <a:gd name="connsiteY1427" fmla="*/ 588386 h 2017022"/>
                <a:gd name="connsiteX1428" fmla="*/ 1871506 w 6378875"/>
                <a:gd name="connsiteY1428" fmla="*/ 606707 h 2017022"/>
                <a:gd name="connsiteX1429" fmla="*/ 1848341 w 6378875"/>
                <a:gd name="connsiteY1429" fmla="*/ 618711 h 2017022"/>
                <a:gd name="connsiteX1430" fmla="*/ 1927522 w 6378875"/>
                <a:gd name="connsiteY1430" fmla="*/ 687784 h 2017022"/>
                <a:gd name="connsiteX1431" fmla="*/ 1933840 w 6378875"/>
                <a:gd name="connsiteY1431" fmla="*/ 693470 h 2017022"/>
                <a:gd name="connsiteX1432" fmla="*/ 1925627 w 6378875"/>
                <a:gd name="connsiteY1432" fmla="*/ 698313 h 2017022"/>
                <a:gd name="connsiteX1433" fmla="*/ 1916993 w 6378875"/>
                <a:gd name="connsiteY1433" fmla="*/ 694523 h 2017022"/>
                <a:gd name="connsiteX1434" fmla="*/ 1897829 w 6378875"/>
                <a:gd name="connsiteY1434" fmla="*/ 685889 h 2017022"/>
                <a:gd name="connsiteX1435" fmla="*/ 1917414 w 6378875"/>
                <a:gd name="connsiteY1435" fmla="*/ 684836 h 2017022"/>
                <a:gd name="connsiteX1436" fmla="*/ 1940579 w 6378875"/>
                <a:gd name="connsiteY1436" fmla="*/ 681888 h 2017022"/>
                <a:gd name="connsiteX1437" fmla="*/ 1927522 w 6378875"/>
                <a:gd name="connsiteY1437" fmla="*/ 687784 h 2017022"/>
                <a:gd name="connsiteX1438" fmla="*/ 2011126 w 6378875"/>
                <a:gd name="connsiteY1438" fmla="*/ 727585 h 2017022"/>
                <a:gd name="connsiteX1439" fmla="*/ 2005441 w 6378875"/>
                <a:gd name="connsiteY1439" fmla="*/ 712634 h 2017022"/>
                <a:gd name="connsiteX1440" fmla="*/ 1999123 w 6378875"/>
                <a:gd name="connsiteY1440" fmla="*/ 701051 h 2017022"/>
                <a:gd name="connsiteX1441" fmla="*/ 2011547 w 6378875"/>
                <a:gd name="connsiteY1441" fmla="*/ 705473 h 2017022"/>
                <a:gd name="connsiteX1442" fmla="*/ 2021024 w 6378875"/>
                <a:gd name="connsiteY1442" fmla="*/ 715582 h 2017022"/>
                <a:gd name="connsiteX1443" fmla="*/ 2029658 w 6378875"/>
                <a:gd name="connsiteY1443" fmla="*/ 725690 h 2017022"/>
                <a:gd name="connsiteX1444" fmla="*/ 2011126 w 6378875"/>
                <a:gd name="connsiteY1444" fmla="*/ 727585 h 2017022"/>
                <a:gd name="connsiteX1445" fmla="*/ 2340698 w 6378875"/>
                <a:gd name="connsiteY1445" fmla="*/ 657459 h 2017022"/>
                <a:gd name="connsiteX1446" fmla="*/ 2314375 w 6378875"/>
                <a:gd name="connsiteY1446" fmla="*/ 659354 h 2017022"/>
                <a:gd name="connsiteX1447" fmla="*/ 2278364 w 6378875"/>
                <a:gd name="connsiteY1447" fmla="*/ 649246 h 2017022"/>
                <a:gd name="connsiteX1448" fmla="*/ 2275415 w 6378875"/>
                <a:gd name="connsiteY1448" fmla="*/ 658933 h 2017022"/>
                <a:gd name="connsiteX1449" fmla="*/ 2271415 w 6378875"/>
                <a:gd name="connsiteY1449" fmla="*/ 673885 h 2017022"/>
                <a:gd name="connsiteX1450" fmla="*/ 2295422 w 6378875"/>
                <a:gd name="connsiteY1450" fmla="*/ 675780 h 2017022"/>
                <a:gd name="connsiteX1451" fmla="*/ 2303635 w 6378875"/>
                <a:gd name="connsiteY1451" fmla="*/ 685889 h 2017022"/>
                <a:gd name="connsiteX1452" fmla="*/ 2284892 w 6378875"/>
                <a:gd name="connsiteY1452" fmla="*/ 687784 h 2017022"/>
                <a:gd name="connsiteX1453" fmla="*/ 2302161 w 6378875"/>
                <a:gd name="connsiteY1453" fmla="*/ 694523 h 2017022"/>
                <a:gd name="connsiteX1454" fmla="*/ 2318797 w 6378875"/>
                <a:gd name="connsiteY1454" fmla="*/ 704631 h 2017022"/>
                <a:gd name="connsiteX1455" fmla="*/ 2314375 w 6378875"/>
                <a:gd name="connsiteY1455" fmla="*/ 718109 h 2017022"/>
                <a:gd name="connsiteX1456" fmla="*/ 2324062 w 6378875"/>
                <a:gd name="connsiteY1456" fmla="*/ 742748 h 2017022"/>
                <a:gd name="connsiteX1457" fmla="*/ 2317744 w 6378875"/>
                <a:gd name="connsiteY1457" fmla="*/ 754330 h 2017022"/>
                <a:gd name="connsiteX1458" fmla="*/ 2283629 w 6378875"/>
                <a:gd name="connsiteY1458" fmla="*/ 752856 h 2017022"/>
                <a:gd name="connsiteX1459" fmla="*/ 2254778 w 6378875"/>
                <a:gd name="connsiteY1459" fmla="*/ 758542 h 2017022"/>
                <a:gd name="connsiteX1460" fmla="*/ 2210554 w 6378875"/>
                <a:gd name="connsiteY1460" fmla="*/ 749908 h 2017022"/>
                <a:gd name="connsiteX1461" fmla="*/ 2189495 w 6378875"/>
                <a:gd name="connsiteY1461" fmla="*/ 734535 h 2017022"/>
                <a:gd name="connsiteX1462" fmla="*/ 2149694 w 6378875"/>
                <a:gd name="connsiteY1462" fmla="*/ 728217 h 2017022"/>
                <a:gd name="connsiteX1463" fmla="*/ 2137269 w 6378875"/>
                <a:gd name="connsiteY1463" fmla="*/ 701262 h 2017022"/>
                <a:gd name="connsiteX1464" fmla="*/ 2150326 w 6378875"/>
                <a:gd name="connsiteY1464" fmla="*/ 684415 h 2017022"/>
                <a:gd name="connsiteX1465" fmla="*/ 2154117 w 6378875"/>
                <a:gd name="connsiteY1465" fmla="*/ 661882 h 2017022"/>
                <a:gd name="connsiteX1466" fmla="*/ 2177071 w 6378875"/>
                <a:gd name="connsiteY1466" fmla="*/ 662303 h 2017022"/>
                <a:gd name="connsiteX1467" fmla="*/ 2182756 w 6378875"/>
                <a:gd name="connsiteY1467" fmla="*/ 655564 h 2017022"/>
                <a:gd name="connsiteX1468" fmla="*/ 2158750 w 6378875"/>
                <a:gd name="connsiteY1468" fmla="*/ 650720 h 2017022"/>
                <a:gd name="connsiteX1469" fmla="*/ 2142534 w 6378875"/>
                <a:gd name="connsiteY1469" fmla="*/ 640612 h 2017022"/>
                <a:gd name="connsiteX1470" fmla="*/ 2114737 w 6378875"/>
                <a:gd name="connsiteY1470" fmla="*/ 619974 h 2017022"/>
                <a:gd name="connsiteX1471" fmla="*/ 2082937 w 6378875"/>
                <a:gd name="connsiteY1471" fmla="*/ 593019 h 2017022"/>
                <a:gd name="connsiteX1472" fmla="*/ 2086307 w 6378875"/>
                <a:gd name="connsiteY1472" fmla="*/ 573855 h 2017022"/>
                <a:gd name="connsiteX1473" fmla="*/ 2077041 w 6378875"/>
                <a:gd name="connsiteY1473" fmla="*/ 570065 h 2017022"/>
                <a:gd name="connsiteX1474" fmla="*/ 2056403 w 6378875"/>
                <a:gd name="connsiteY1474" fmla="*/ 555534 h 2017022"/>
                <a:gd name="connsiteX1475" fmla="*/ 2076620 w 6378875"/>
                <a:gd name="connsiteY1475" fmla="*/ 555113 h 2017022"/>
                <a:gd name="connsiteX1476" fmla="*/ 2069459 w 6378875"/>
                <a:gd name="connsiteY1476" fmla="*/ 538266 h 2017022"/>
                <a:gd name="connsiteX1477" fmla="*/ 2098732 w 6378875"/>
                <a:gd name="connsiteY1477" fmla="*/ 534054 h 2017022"/>
                <a:gd name="connsiteX1478" fmla="*/ 2126529 w 6378875"/>
                <a:gd name="connsiteY1478" fmla="*/ 523103 h 2017022"/>
                <a:gd name="connsiteX1479" fmla="*/ 2150958 w 6378875"/>
                <a:gd name="connsiteY1479" fmla="*/ 513837 h 2017022"/>
                <a:gd name="connsiteX1480" fmla="*/ 2180861 w 6378875"/>
                <a:gd name="connsiteY1480" fmla="*/ 506677 h 2017022"/>
                <a:gd name="connsiteX1481" fmla="*/ 2207185 w 6378875"/>
                <a:gd name="connsiteY1481" fmla="*/ 506256 h 2017022"/>
                <a:gd name="connsiteX1482" fmla="*/ 2234140 w 6378875"/>
                <a:gd name="connsiteY1482" fmla="*/ 511521 h 2017022"/>
                <a:gd name="connsiteX1483" fmla="*/ 2260043 w 6378875"/>
                <a:gd name="connsiteY1483" fmla="*/ 516364 h 2017022"/>
                <a:gd name="connsiteX1484" fmla="*/ 2261938 w 6378875"/>
                <a:gd name="connsiteY1484" fmla="*/ 530263 h 2017022"/>
                <a:gd name="connsiteX1485" fmla="*/ 2257094 w 6378875"/>
                <a:gd name="connsiteY1485" fmla="*/ 547110 h 2017022"/>
                <a:gd name="connsiteX1486" fmla="*/ 2228244 w 6378875"/>
                <a:gd name="connsiteY1486" fmla="*/ 547110 h 2017022"/>
                <a:gd name="connsiteX1487" fmla="*/ 2199814 w 6378875"/>
                <a:gd name="connsiteY1487" fmla="*/ 549006 h 2017022"/>
                <a:gd name="connsiteX1488" fmla="*/ 2202763 w 6378875"/>
                <a:gd name="connsiteY1488" fmla="*/ 560588 h 2017022"/>
                <a:gd name="connsiteX1489" fmla="*/ 2183178 w 6378875"/>
                <a:gd name="connsiteY1489" fmla="*/ 556376 h 2017022"/>
                <a:gd name="connsiteX1490" fmla="*/ 2171595 w 6378875"/>
                <a:gd name="connsiteY1490" fmla="*/ 565432 h 2017022"/>
                <a:gd name="connsiteX1491" fmla="*/ 2188864 w 6378875"/>
                <a:gd name="connsiteY1491" fmla="*/ 572171 h 2017022"/>
                <a:gd name="connsiteX1492" fmla="*/ 2209502 w 6378875"/>
                <a:gd name="connsiteY1492" fmla="*/ 584174 h 2017022"/>
                <a:gd name="connsiteX1493" fmla="*/ 2207185 w 6378875"/>
                <a:gd name="connsiteY1493" fmla="*/ 593229 h 2017022"/>
                <a:gd name="connsiteX1494" fmla="*/ 2222136 w 6378875"/>
                <a:gd name="connsiteY1494" fmla="*/ 596178 h 2017022"/>
                <a:gd name="connsiteX1495" fmla="*/ 2240879 w 6378875"/>
                <a:gd name="connsiteY1495" fmla="*/ 605233 h 2017022"/>
                <a:gd name="connsiteX1496" fmla="*/ 2259621 w 6378875"/>
                <a:gd name="connsiteY1496" fmla="*/ 611972 h 2017022"/>
                <a:gd name="connsiteX1497" fmla="*/ 2252883 w 6378875"/>
                <a:gd name="connsiteY1497" fmla="*/ 625450 h 2017022"/>
                <a:gd name="connsiteX1498" fmla="*/ 2271204 w 6378875"/>
                <a:gd name="connsiteY1498" fmla="*/ 643139 h 2017022"/>
                <a:gd name="connsiteX1499" fmla="*/ 2275205 w 6378875"/>
                <a:gd name="connsiteY1499" fmla="*/ 629240 h 2017022"/>
                <a:gd name="connsiteX1500" fmla="*/ 2288683 w 6378875"/>
                <a:gd name="connsiteY1500" fmla="*/ 623976 h 2017022"/>
                <a:gd name="connsiteX1501" fmla="*/ 2314164 w 6378875"/>
                <a:gd name="connsiteY1501" fmla="*/ 639349 h 2017022"/>
                <a:gd name="connsiteX1502" fmla="*/ 2331011 w 6378875"/>
                <a:gd name="connsiteY1502" fmla="*/ 647561 h 2017022"/>
                <a:gd name="connsiteX1503" fmla="*/ 2340698 w 6378875"/>
                <a:gd name="connsiteY1503" fmla="*/ 657459 h 2017022"/>
                <a:gd name="connsiteX1504" fmla="*/ 2441571 w 6378875"/>
                <a:gd name="connsiteY1504" fmla="*/ 646930 h 2017022"/>
                <a:gd name="connsiteX1505" fmla="*/ 2419459 w 6378875"/>
                <a:gd name="connsiteY1505" fmla="*/ 640191 h 2017022"/>
                <a:gd name="connsiteX1506" fmla="*/ 2431462 w 6378875"/>
                <a:gd name="connsiteY1506" fmla="*/ 627134 h 2017022"/>
                <a:gd name="connsiteX1507" fmla="*/ 2446204 w 6378875"/>
                <a:gd name="connsiteY1507" fmla="*/ 638085 h 2017022"/>
                <a:gd name="connsiteX1508" fmla="*/ 2441571 w 6378875"/>
                <a:gd name="connsiteY1508" fmla="*/ 646930 h 2017022"/>
                <a:gd name="connsiteX1509" fmla="*/ 2558658 w 6378875"/>
                <a:gd name="connsiteY1509" fmla="*/ 550901 h 2017022"/>
                <a:gd name="connsiteX1510" fmla="*/ 2533809 w 6378875"/>
                <a:gd name="connsiteY1510" fmla="*/ 547110 h 2017022"/>
                <a:gd name="connsiteX1511" fmla="*/ 2510223 w 6378875"/>
                <a:gd name="connsiteY1511" fmla="*/ 548585 h 2017022"/>
                <a:gd name="connsiteX1512" fmla="*/ 2508959 w 6378875"/>
                <a:gd name="connsiteY1512" fmla="*/ 556376 h 2017022"/>
                <a:gd name="connsiteX1513" fmla="*/ 2524332 w 6378875"/>
                <a:gd name="connsiteY1513" fmla="*/ 572171 h 2017022"/>
                <a:gd name="connsiteX1514" fmla="*/ 2523911 w 6378875"/>
                <a:gd name="connsiteY1514" fmla="*/ 591966 h 2017022"/>
                <a:gd name="connsiteX1515" fmla="*/ 2500325 w 6378875"/>
                <a:gd name="connsiteY1515" fmla="*/ 594493 h 2017022"/>
                <a:gd name="connsiteX1516" fmla="*/ 2487269 w 6378875"/>
                <a:gd name="connsiteY1516" fmla="*/ 580594 h 2017022"/>
                <a:gd name="connsiteX1517" fmla="*/ 2493586 w 6378875"/>
                <a:gd name="connsiteY1517" fmla="*/ 568169 h 2017022"/>
                <a:gd name="connsiteX1518" fmla="*/ 2483057 w 6378875"/>
                <a:gd name="connsiteY1518" fmla="*/ 555745 h 2017022"/>
                <a:gd name="connsiteX1519" fmla="*/ 2472948 w 6378875"/>
                <a:gd name="connsiteY1519" fmla="*/ 565432 h 2017022"/>
                <a:gd name="connsiteX1520" fmla="*/ 2474843 w 6378875"/>
                <a:gd name="connsiteY1520" fmla="*/ 580805 h 2017022"/>
                <a:gd name="connsiteX1521" fmla="*/ 2457576 w 6378875"/>
                <a:gd name="connsiteY1521" fmla="*/ 583753 h 2017022"/>
                <a:gd name="connsiteX1522" fmla="*/ 2456101 w 6378875"/>
                <a:gd name="connsiteY1522" fmla="*/ 570275 h 2017022"/>
                <a:gd name="connsiteX1523" fmla="*/ 2465157 w 6378875"/>
                <a:gd name="connsiteY1523" fmla="*/ 553428 h 2017022"/>
                <a:gd name="connsiteX1524" fmla="*/ 2488321 w 6378875"/>
                <a:gd name="connsiteY1524" fmla="*/ 545847 h 2017022"/>
                <a:gd name="connsiteX1525" fmla="*/ 2505168 w 6378875"/>
                <a:gd name="connsiteY1525" fmla="*/ 538055 h 2017022"/>
                <a:gd name="connsiteX1526" fmla="*/ 2522858 w 6378875"/>
                <a:gd name="connsiteY1526" fmla="*/ 536581 h 2017022"/>
                <a:gd name="connsiteX1527" fmla="*/ 2540969 w 6378875"/>
                <a:gd name="connsiteY1527" fmla="*/ 537002 h 2017022"/>
                <a:gd name="connsiteX1528" fmla="*/ 2560764 w 6378875"/>
                <a:gd name="connsiteY1528" fmla="*/ 546268 h 2017022"/>
                <a:gd name="connsiteX1529" fmla="*/ 2558658 w 6378875"/>
                <a:gd name="connsiteY1529" fmla="*/ 550901 h 2017022"/>
                <a:gd name="connsiteX1530" fmla="*/ 2803994 w 6378875"/>
                <a:gd name="connsiteY1530" fmla="*/ 702736 h 2017022"/>
                <a:gd name="connsiteX1531" fmla="*/ 2771985 w 6378875"/>
                <a:gd name="connsiteY1531" fmla="*/ 690311 h 2017022"/>
                <a:gd name="connsiteX1532" fmla="*/ 2745872 w 6378875"/>
                <a:gd name="connsiteY1532" fmla="*/ 686942 h 2017022"/>
                <a:gd name="connsiteX1533" fmla="*/ 2754085 w 6378875"/>
                <a:gd name="connsiteY1533" fmla="*/ 684204 h 2017022"/>
                <a:gd name="connsiteX1534" fmla="*/ 2802521 w 6378875"/>
                <a:gd name="connsiteY1534" fmla="*/ 694733 h 2017022"/>
                <a:gd name="connsiteX1535" fmla="*/ 2803994 w 6378875"/>
                <a:gd name="connsiteY1535" fmla="*/ 702736 h 2017022"/>
                <a:gd name="connsiteX1536" fmla="*/ 3165787 w 6378875"/>
                <a:gd name="connsiteY1536" fmla="*/ 692628 h 2017022"/>
                <a:gd name="connsiteX1537" fmla="*/ 3155678 w 6378875"/>
                <a:gd name="connsiteY1537" fmla="*/ 697892 h 2017022"/>
                <a:gd name="connsiteX1538" fmla="*/ 3135462 w 6378875"/>
                <a:gd name="connsiteY1538" fmla="*/ 698313 h 2017022"/>
                <a:gd name="connsiteX1539" fmla="*/ 3109980 w 6378875"/>
                <a:gd name="connsiteY1539" fmla="*/ 690522 h 2017022"/>
                <a:gd name="connsiteX1540" fmla="*/ 3104084 w 6378875"/>
                <a:gd name="connsiteY1540" fmla="*/ 685678 h 2017022"/>
                <a:gd name="connsiteX1541" fmla="*/ 3140095 w 6378875"/>
                <a:gd name="connsiteY1541" fmla="*/ 686099 h 2017022"/>
                <a:gd name="connsiteX1542" fmla="*/ 3164944 w 6378875"/>
                <a:gd name="connsiteY1542" fmla="*/ 687995 h 2017022"/>
                <a:gd name="connsiteX1543" fmla="*/ 3165787 w 6378875"/>
                <a:gd name="connsiteY1543" fmla="*/ 692628 h 2017022"/>
                <a:gd name="connsiteX1544" fmla="*/ 3173368 w 6378875"/>
                <a:gd name="connsiteY1544" fmla="*/ 605654 h 2017022"/>
                <a:gd name="connsiteX1545" fmla="*/ 3139253 w 6378875"/>
                <a:gd name="connsiteY1545" fmla="*/ 600811 h 2017022"/>
                <a:gd name="connsiteX1546" fmla="*/ 3098398 w 6378875"/>
                <a:gd name="connsiteY1546" fmla="*/ 595967 h 2017022"/>
                <a:gd name="connsiteX1547" fmla="*/ 3060913 w 6378875"/>
                <a:gd name="connsiteY1547" fmla="*/ 588807 h 2017022"/>
                <a:gd name="connsiteX1548" fmla="*/ 3035853 w 6378875"/>
                <a:gd name="connsiteY1548" fmla="*/ 592598 h 2017022"/>
                <a:gd name="connsiteX1549" fmla="*/ 3018164 w 6378875"/>
                <a:gd name="connsiteY1549" fmla="*/ 599758 h 2017022"/>
                <a:gd name="connsiteX1550" fmla="*/ 3015847 w 6378875"/>
                <a:gd name="connsiteY1550" fmla="*/ 615552 h 2017022"/>
                <a:gd name="connsiteX1551" fmla="*/ 2997105 w 6378875"/>
                <a:gd name="connsiteY1551" fmla="*/ 609445 h 2017022"/>
                <a:gd name="connsiteX1552" fmla="*/ 2988892 w 6378875"/>
                <a:gd name="connsiteY1552" fmla="*/ 595967 h 2017022"/>
                <a:gd name="connsiteX1553" fmla="*/ 3002791 w 6378875"/>
                <a:gd name="connsiteY1553" fmla="*/ 588807 h 2017022"/>
                <a:gd name="connsiteX1554" fmla="*/ 3025745 w 6378875"/>
                <a:gd name="connsiteY1554" fmla="*/ 582489 h 2017022"/>
                <a:gd name="connsiteX1555" fmla="*/ 3049752 w 6378875"/>
                <a:gd name="connsiteY1555" fmla="*/ 583964 h 2017022"/>
                <a:gd name="connsiteX1556" fmla="*/ 3072706 w 6378875"/>
                <a:gd name="connsiteY1556" fmla="*/ 585859 h 2017022"/>
                <a:gd name="connsiteX1557" fmla="*/ 3096292 w 6378875"/>
                <a:gd name="connsiteY1557" fmla="*/ 589649 h 2017022"/>
                <a:gd name="connsiteX1558" fmla="*/ 3127881 w 6378875"/>
                <a:gd name="connsiteY1558" fmla="*/ 594914 h 2017022"/>
                <a:gd name="connsiteX1559" fmla="*/ 3145570 w 6378875"/>
                <a:gd name="connsiteY1559" fmla="*/ 595967 h 2017022"/>
                <a:gd name="connsiteX1560" fmla="*/ 3157574 w 6378875"/>
                <a:gd name="connsiteY1560" fmla="*/ 598284 h 2017022"/>
                <a:gd name="connsiteX1561" fmla="*/ 3179685 w 6378875"/>
                <a:gd name="connsiteY1561" fmla="*/ 597862 h 2017022"/>
                <a:gd name="connsiteX1562" fmla="*/ 3173368 w 6378875"/>
                <a:gd name="connsiteY1562" fmla="*/ 605654 h 2017022"/>
                <a:gd name="connsiteX1563" fmla="*/ 3636875 w 6378875"/>
                <a:gd name="connsiteY1563" fmla="*/ 583121 h 2017022"/>
                <a:gd name="connsiteX1564" fmla="*/ 3620659 w 6378875"/>
                <a:gd name="connsiteY1564" fmla="*/ 586912 h 2017022"/>
                <a:gd name="connsiteX1565" fmla="*/ 3605286 w 6378875"/>
                <a:gd name="connsiteY1565" fmla="*/ 575751 h 2017022"/>
                <a:gd name="connsiteX1566" fmla="*/ 3615816 w 6378875"/>
                <a:gd name="connsiteY1566" fmla="*/ 572802 h 2017022"/>
                <a:gd name="connsiteX1567" fmla="*/ 3629293 w 6378875"/>
                <a:gd name="connsiteY1567" fmla="*/ 574277 h 2017022"/>
                <a:gd name="connsiteX1568" fmla="*/ 3642771 w 6378875"/>
                <a:gd name="connsiteY1568" fmla="*/ 580594 h 2017022"/>
                <a:gd name="connsiteX1569" fmla="*/ 3636875 w 6378875"/>
                <a:gd name="connsiteY1569" fmla="*/ 583121 h 2017022"/>
                <a:gd name="connsiteX1570" fmla="*/ 3979714 w 6378875"/>
                <a:gd name="connsiteY1570" fmla="*/ 939859 h 2017022"/>
                <a:gd name="connsiteX1571" fmla="*/ 3962445 w 6378875"/>
                <a:gd name="connsiteY1571" fmla="*/ 936490 h 2017022"/>
                <a:gd name="connsiteX1572" fmla="*/ 3960550 w 6378875"/>
                <a:gd name="connsiteY1572" fmla="*/ 931225 h 2017022"/>
                <a:gd name="connsiteX1573" fmla="*/ 3956760 w 6378875"/>
                <a:gd name="connsiteY1573" fmla="*/ 924486 h 2017022"/>
                <a:gd name="connsiteX1574" fmla="*/ 3974870 w 6378875"/>
                <a:gd name="connsiteY1574" fmla="*/ 929751 h 2017022"/>
                <a:gd name="connsiteX1575" fmla="*/ 3985400 w 6378875"/>
                <a:gd name="connsiteY1575" fmla="*/ 936069 h 2017022"/>
                <a:gd name="connsiteX1576" fmla="*/ 3995086 w 6378875"/>
                <a:gd name="connsiteY1576" fmla="*/ 945124 h 2017022"/>
                <a:gd name="connsiteX1577" fmla="*/ 3979714 w 6378875"/>
                <a:gd name="connsiteY1577" fmla="*/ 939859 h 2017022"/>
                <a:gd name="connsiteX1578" fmla="*/ 3884738 w 6378875"/>
                <a:gd name="connsiteY1578" fmla="*/ 605233 h 2017022"/>
                <a:gd name="connsiteX1579" fmla="*/ 3879894 w 6378875"/>
                <a:gd name="connsiteY1579" fmla="*/ 615341 h 2017022"/>
                <a:gd name="connsiteX1580" fmla="*/ 3872313 w 6378875"/>
                <a:gd name="connsiteY1580" fmla="*/ 609024 h 2017022"/>
                <a:gd name="connsiteX1581" fmla="*/ 3871471 w 6378875"/>
                <a:gd name="connsiteY1581" fmla="*/ 595967 h 2017022"/>
                <a:gd name="connsiteX1582" fmla="*/ 3881158 w 6378875"/>
                <a:gd name="connsiteY1582" fmla="*/ 594914 h 2017022"/>
                <a:gd name="connsiteX1583" fmla="*/ 3884738 w 6378875"/>
                <a:gd name="connsiteY1583" fmla="*/ 605233 h 2017022"/>
                <a:gd name="connsiteX1584" fmla="*/ 4148817 w 6378875"/>
                <a:gd name="connsiteY1584" fmla="*/ 568801 h 2017022"/>
                <a:gd name="connsiteX1585" fmla="*/ 4150712 w 6378875"/>
                <a:gd name="connsiteY1585" fmla="*/ 584595 h 2017022"/>
                <a:gd name="connsiteX1586" fmla="*/ 4128600 w 6378875"/>
                <a:gd name="connsiteY1586" fmla="*/ 588386 h 2017022"/>
                <a:gd name="connsiteX1587" fmla="*/ 4136392 w 6378875"/>
                <a:gd name="connsiteY1587" fmla="*/ 597020 h 2017022"/>
                <a:gd name="connsiteX1588" fmla="*/ 4131548 w 6378875"/>
                <a:gd name="connsiteY1588" fmla="*/ 600811 h 2017022"/>
                <a:gd name="connsiteX1589" fmla="*/ 4108594 w 6378875"/>
                <a:gd name="connsiteY1589" fmla="*/ 610919 h 2017022"/>
                <a:gd name="connsiteX1590" fmla="*/ 4071952 w 6378875"/>
                <a:gd name="connsiteY1590" fmla="*/ 610498 h 2017022"/>
                <a:gd name="connsiteX1591" fmla="*/ 4058474 w 6378875"/>
                <a:gd name="connsiteY1591" fmla="*/ 613867 h 2017022"/>
                <a:gd name="connsiteX1592" fmla="*/ 4039310 w 6378875"/>
                <a:gd name="connsiteY1592" fmla="*/ 619132 h 2017022"/>
                <a:gd name="connsiteX1593" fmla="*/ 3999930 w 6378875"/>
                <a:gd name="connsiteY1593" fmla="*/ 613025 h 2017022"/>
                <a:gd name="connsiteX1594" fmla="*/ 3978029 w 6378875"/>
                <a:gd name="connsiteY1594" fmla="*/ 604812 h 2017022"/>
                <a:gd name="connsiteX1595" fmla="*/ 4018462 w 6378875"/>
                <a:gd name="connsiteY1595" fmla="*/ 607128 h 2017022"/>
                <a:gd name="connsiteX1596" fmla="*/ 4042469 w 6378875"/>
                <a:gd name="connsiteY1596" fmla="*/ 604812 h 2017022"/>
                <a:gd name="connsiteX1597" fmla="*/ 4065423 w 6378875"/>
                <a:gd name="connsiteY1597" fmla="*/ 601442 h 2017022"/>
                <a:gd name="connsiteX1598" fmla="*/ 4074057 w 6378875"/>
                <a:gd name="connsiteY1598" fmla="*/ 597231 h 2017022"/>
                <a:gd name="connsiteX1599" fmla="*/ 4103961 w 6378875"/>
                <a:gd name="connsiteY1599" fmla="*/ 596388 h 2017022"/>
                <a:gd name="connsiteX1600" fmla="*/ 4083745 w 6378875"/>
                <a:gd name="connsiteY1600" fmla="*/ 594914 h 2017022"/>
                <a:gd name="connsiteX1601" fmla="*/ 4077006 w 6378875"/>
                <a:gd name="connsiteY1601" fmla="*/ 593861 h 2017022"/>
                <a:gd name="connsiteX1602" fmla="*/ 4107752 w 6378875"/>
                <a:gd name="connsiteY1602" fmla="*/ 585648 h 2017022"/>
                <a:gd name="connsiteX1603" fmla="*/ 4124178 w 6378875"/>
                <a:gd name="connsiteY1603" fmla="*/ 568380 h 2017022"/>
                <a:gd name="connsiteX1604" fmla="*/ 4136602 w 6378875"/>
                <a:gd name="connsiteY1604" fmla="*/ 556798 h 2017022"/>
                <a:gd name="connsiteX1605" fmla="*/ 4150923 w 6378875"/>
                <a:gd name="connsiteY1605" fmla="*/ 558272 h 2017022"/>
                <a:gd name="connsiteX1606" fmla="*/ 4148817 w 6378875"/>
                <a:gd name="connsiteY1606" fmla="*/ 568801 h 20170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Lst>
              <a:rect l="l" t="t" r="r" b="b"/>
              <a:pathLst>
                <a:path w="6378875" h="2017022">
                  <a:moveTo>
                    <a:pt x="6376219" y="996086"/>
                  </a:moveTo>
                  <a:cubicBezTo>
                    <a:pt x="6381904" y="996086"/>
                    <a:pt x="6334943" y="970184"/>
                    <a:pt x="6326308" y="970184"/>
                  </a:cubicBezTo>
                  <a:cubicBezTo>
                    <a:pt x="6314726" y="948072"/>
                    <a:pt x="6283981" y="943860"/>
                    <a:pt x="6269661" y="943860"/>
                  </a:cubicBezTo>
                  <a:cubicBezTo>
                    <a:pt x="6262922" y="943860"/>
                    <a:pt x="6254287" y="935647"/>
                    <a:pt x="6245653" y="935647"/>
                  </a:cubicBezTo>
                  <a:cubicBezTo>
                    <a:pt x="6251338" y="948072"/>
                    <a:pt x="6262922" y="949967"/>
                    <a:pt x="6261026" y="949967"/>
                  </a:cubicBezTo>
                  <a:cubicBezTo>
                    <a:pt x="6265027" y="949967"/>
                    <a:pt x="6245653" y="939438"/>
                    <a:pt x="6240809" y="939438"/>
                  </a:cubicBezTo>
                  <a:cubicBezTo>
                    <a:pt x="6227332" y="939438"/>
                    <a:pt x="6234071" y="922170"/>
                    <a:pt x="6224594" y="922170"/>
                  </a:cubicBezTo>
                  <a:cubicBezTo>
                    <a:pt x="6208168" y="905744"/>
                    <a:pt x="6151519" y="898162"/>
                    <a:pt x="6142886" y="880894"/>
                  </a:cubicBezTo>
                  <a:cubicBezTo>
                    <a:pt x="6103506" y="860678"/>
                    <a:pt x="6070021" y="845726"/>
                    <a:pt x="6070021" y="845726"/>
                  </a:cubicBezTo>
                  <a:cubicBezTo>
                    <a:pt x="6061388" y="845726"/>
                    <a:pt x="6055491" y="831827"/>
                    <a:pt x="6044961" y="831827"/>
                  </a:cubicBezTo>
                  <a:cubicBezTo>
                    <a:pt x="6050647" y="831827"/>
                    <a:pt x="6013373" y="814137"/>
                    <a:pt x="6002633" y="814137"/>
                  </a:cubicBezTo>
                  <a:cubicBezTo>
                    <a:pt x="5990209" y="814137"/>
                    <a:pt x="5975889" y="800239"/>
                    <a:pt x="5968939" y="800239"/>
                  </a:cubicBezTo>
                  <a:cubicBezTo>
                    <a:pt x="5974836" y="800239"/>
                    <a:pt x="5954619" y="790130"/>
                    <a:pt x="5945984" y="790130"/>
                  </a:cubicBezTo>
                  <a:cubicBezTo>
                    <a:pt x="5936298" y="790130"/>
                    <a:pt x="5909553" y="774757"/>
                    <a:pt x="5901761" y="774757"/>
                  </a:cubicBezTo>
                  <a:cubicBezTo>
                    <a:pt x="5893969" y="774757"/>
                    <a:pt x="5884492" y="765281"/>
                    <a:pt x="5872910" y="765281"/>
                  </a:cubicBezTo>
                  <a:cubicBezTo>
                    <a:pt x="5838162" y="765281"/>
                    <a:pt x="5819210" y="741695"/>
                    <a:pt x="5811419" y="741695"/>
                  </a:cubicBezTo>
                  <a:cubicBezTo>
                    <a:pt x="5804680" y="741695"/>
                    <a:pt x="5810365" y="745064"/>
                    <a:pt x="5807628" y="745064"/>
                  </a:cubicBezTo>
                  <a:cubicBezTo>
                    <a:pt x="5811419" y="745064"/>
                    <a:pt x="5828897" y="758963"/>
                    <a:pt x="5824895" y="758963"/>
                  </a:cubicBezTo>
                  <a:cubicBezTo>
                    <a:pt x="5820052" y="758963"/>
                    <a:pt x="5813524" y="757068"/>
                    <a:pt x="5803836" y="757068"/>
                  </a:cubicBezTo>
                  <a:cubicBezTo>
                    <a:pt x="5795203" y="757068"/>
                    <a:pt x="5795203" y="746538"/>
                    <a:pt x="5784673" y="746538"/>
                  </a:cubicBezTo>
                  <a:cubicBezTo>
                    <a:pt x="5774986" y="746538"/>
                    <a:pt x="5760666" y="734535"/>
                    <a:pt x="5757717" y="734535"/>
                  </a:cubicBezTo>
                  <a:cubicBezTo>
                    <a:pt x="5760666" y="734535"/>
                    <a:pt x="5741292" y="727796"/>
                    <a:pt x="5753085" y="727796"/>
                  </a:cubicBezTo>
                  <a:cubicBezTo>
                    <a:pt x="5758771" y="738957"/>
                    <a:pt x="5783831" y="737904"/>
                    <a:pt x="5779830" y="737904"/>
                  </a:cubicBezTo>
                  <a:cubicBezTo>
                    <a:pt x="5784673" y="737904"/>
                    <a:pt x="5750980" y="730112"/>
                    <a:pt x="5746135" y="720215"/>
                  </a:cubicBezTo>
                  <a:cubicBezTo>
                    <a:pt x="5733711" y="720215"/>
                    <a:pt x="5732658" y="719162"/>
                    <a:pt x="5727814" y="719162"/>
                  </a:cubicBezTo>
                  <a:cubicBezTo>
                    <a:pt x="5722971" y="719162"/>
                    <a:pt x="5712441" y="714950"/>
                    <a:pt x="5703807" y="714950"/>
                  </a:cubicBezTo>
                  <a:cubicBezTo>
                    <a:pt x="5696226" y="714950"/>
                    <a:pt x="5657899" y="693891"/>
                    <a:pt x="5646106" y="693891"/>
                  </a:cubicBezTo>
                  <a:cubicBezTo>
                    <a:pt x="5635576" y="693891"/>
                    <a:pt x="5621046" y="681466"/>
                    <a:pt x="5612622" y="681466"/>
                  </a:cubicBezTo>
                  <a:cubicBezTo>
                    <a:pt x="5602935" y="681466"/>
                    <a:pt x="5583771" y="667989"/>
                    <a:pt x="5576190" y="667989"/>
                  </a:cubicBezTo>
                  <a:cubicBezTo>
                    <a:pt x="5583982" y="667989"/>
                    <a:pt x="5586720" y="663566"/>
                    <a:pt x="5589668" y="668410"/>
                  </a:cubicBezTo>
                  <a:cubicBezTo>
                    <a:pt x="5594511" y="668410"/>
                    <a:pt x="5591774" y="674728"/>
                    <a:pt x="5584824" y="660197"/>
                  </a:cubicBezTo>
                  <a:cubicBezTo>
                    <a:pt x="5568398" y="660197"/>
                    <a:pt x="5544602" y="638506"/>
                    <a:pt x="5535968" y="638506"/>
                  </a:cubicBezTo>
                  <a:cubicBezTo>
                    <a:pt x="5525438" y="638506"/>
                    <a:pt x="5526281" y="631346"/>
                    <a:pt x="5513013" y="631346"/>
                  </a:cubicBezTo>
                  <a:cubicBezTo>
                    <a:pt x="5498694" y="631346"/>
                    <a:pt x="5490901" y="627556"/>
                    <a:pt x="5486058" y="618290"/>
                  </a:cubicBezTo>
                  <a:cubicBezTo>
                    <a:pt x="5476371" y="618290"/>
                    <a:pt x="5478266" y="613025"/>
                    <a:pt x="5466894" y="613025"/>
                  </a:cubicBezTo>
                  <a:cubicBezTo>
                    <a:pt x="5454470" y="613025"/>
                    <a:pt x="5442887" y="614920"/>
                    <a:pt x="5436149" y="602495"/>
                  </a:cubicBezTo>
                  <a:cubicBezTo>
                    <a:pt x="5422671" y="602495"/>
                    <a:pt x="5412141" y="593440"/>
                    <a:pt x="5404560" y="593440"/>
                  </a:cubicBezTo>
                  <a:cubicBezTo>
                    <a:pt x="5396768" y="593440"/>
                    <a:pt x="5378447" y="579962"/>
                    <a:pt x="5367917" y="579962"/>
                  </a:cubicBezTo>
                  <a:cubicBezTo>
                    <a:pt x="5357388" y="579962"/>
                    <a:pt x="5348754" y="577646"/>
                    <a:pt x="5345806" y="577646"/>
                  </a:cubicBezTo>
                  <a:cubicBezTo>
                    <a:pt x="5348754" y="577646"/>
                    <a:pt x="5343910" y="573224"/>
                    <a:pt x="5329380" y="573224"/>
                  </a:cubicBezTo>
                  <a:cubicBezTo>
                    <a:pt x="5314006" y="573224"/>
                    <a:pt x="5303477" y="554481"/>
                    <a:pt x="5292948" y="554481"/>
                  </a:cubicBezTo>
                  <a:cubicBezTo>
                    <a:pt x="5288315" y="544794"/>
                    <a:pt x="5273784" y="541635"/>
                    <a:pt x="5264308" y="541635"/>
                  </a:cubicBezTo>
                  <a:cubicBezTo>
                    <a:pt x="5255673" y="541635"/>
                    <a:pt x="5262202" y="534475"/>
                    <a:pt x="5257569" y="534475"/>
                  </a:cubicBezTo>
                  <a:cubicBezTo>
                    <a:pt x="5262413" y="534475"/>
                    <a:pt x="5245144" y="530263"/>
                    <a:pt x="5243249" y="530263"/>
                  </a:cubicBezTo>
                  <a:cubicBezTo>
                    <a:pt x="5245987" y="530263"/>
                    <a:pt x="5235457" y="525420"/>
                    <a:pt x="5226823" y="525420"/>
                  </a:cubicBezTo>
                  <a:cubicBezTo>
                    <a:pt x="5235457" y="525420"/>
                    <a:pt x="5219241" y="516364"/>
                    <a:pt x="5211450" y="516364"/>
                  </a:cubicBezTo>
                  <a:cubicBezTo>
                    <a:pt x="5201763" y="516364"/>
                    <a:pt x="5205553" y="516786"/>
                    <a:pt x="5203658" y="516786"/>
                  </a:cubicBezTo>
                  <a:cubicBezTo>
                    <a:pt x="5205553" y="516786"/>
                    <a:pt x="5184494" y="512574"/>
                    <a:pt x="5177755" y="512574"/>
                  </a:cubicBezTo>
                  <a:cubicBezTo>
                    <a:pt x="5184494" y="512574"/>
                    <a:pt x="5193128" y="506888"/>
                    <a:pt x="5182599" y="506888"/>
                  </a:cubicBezTo>
                  <a:cubicBezTo>
                    <a:pt x="5172070" y="506888"/>
                    <a:pt x="5162593" y="494884"/>
                    <a:pt x="5153748" y="494884"/>
                  </a:cubicBezTo>
                  <a:cubicBezTo>
                    <a:pt x="5144061" y="494884"/>
                    <a:pt x="5148062" y="494042"/>
                    <a:pt x="5144061" y="494042"/>
                  </a:cubicBezTo>
                  <a:cubicBezTo>
                    <a:pt x="5129741" y="494042"/>
                    <a:pt x="5128688" y="488356"/>
                    <a:pt x="5125740" y="488356"/>
                  </a:cubicBezTo>
                  <a:cubicBezTo>
                    <a:pt x="5128688" y="488356"/>
                    <a:pt x="5115210" y="485829"/>
                    <a:pt x="5104681" y="485829"/>
                  </a:cubicBezTo>
                  <a:cubicBezTo>
                    <a:pt x="5094151" y="485829"/>
                    <a:pt x="5079621" y="480143"/>
                    <a:pt x="5076884" y="480143"/>
                  </a:cubicBezTo>
                  <a:cubicBezTo>
                    <a:pt x="5079621" y="480143"/>
                    <a:pt x="5120897" y="499307"/>
                    <a:pt x="5118159" y="499307"/>
                  </a:cubicBezTo>
                  <a:cubicBezTo>
                    <a:pt x="5121949" y="499307"/>
                    <a:pt x="5079621" y="480986"/>
                    <a:pt x="5062563" y="480986"/>
                  </a:cubicBezTo>
                  <a:cubicBezTo>
                    <a:pt x="5054771" y="464138"/>
                    <a:pt x="5027816" y="480986"/>
                    <a:pt x="5022130" y="468561"/>
                  </a:cubicBezTo>
                  <a:cubicBezTo>
                    <a:pt x="5007600" y="468561"/>
                    <a:pt x="4981697" y="454241"/>
                    <a:pt x="4968219" y="454241"/>
                  </a:cubicBezTo>
                  <a:cubicBezTo>
                    <a:pt x="4955795" y="454241"/>
                    <a:pt x="4948845" y="443711"/>
                    <a:pt x="4939368" y="443711"/>
                  </a:cubicBezTo>
                  <a:cubicBezTo>
                    <a:pt x="4931787" y="443711"/>
                    <a:pt x="4928839" y="442658"/>
                    <a:pt x="4925891" y="442658"/>
                  </a:cubicBezTo>
                  <a:cubicBezTo>
                    <a:pt x="4927786" y="442658"/>
                    <a:pt x="4921047" y="443079"/>
                    <a:pt x="4916204" y="443079"/>
                  </a:cubicBezTo>
                  <a:cubicBezTo>
                    <a:pt x="4921047" y="443079"/>
                    <a:pt x="4905674" y="445396"/>
                    <a:pt x="4903779" y="445396"/>
                  </a:cubicBezTo>
                  <a:cubicBezTo>
                    <a:pt x="4905885" y="445396"/>
                    <a:pt x="4920205" y="451714"/>
                    <a:pt x="4917257" y="451714"/>
                  </a:cubicBezTo>
                  <a:cubicBezTo>
                    <a:pt x="4921047" y="451714"/>
                    <a:pt x="4922942" y="458874"/>
                    <a:pt x="4918099" y="458874"/>
                  </a:cubicBezTo>
                  <a:cubicBezTo>
                    <a:pt x="4912413" y="458874"/>
                    <a:pt x="4910518" y="455504"/>
                    <a:pt x="4907570" y="455504"/>
                  </a:cubicBezTo>
                  <a:cubicBezTo>
                    <a:pt x="4910518" y="455504"/>
                    <a:pt x="4907570" y="446870"/>
                    <a:pt x="4899778" y="446870"/>
                  </a:cubicBezTo>
                  <a:cubicBezTo>
                    <a:pt x="4906516" y="446870"/>
                    <a:pt x="4894092" y="440552"/>
                    <a:pt x="4884405" y="440552"/>
                  </a:cubicBezTo>
                  <a:cubicBezTo>
                    <a:pt x="4872823" y="440552"/>
                    <a:pt x="4842076" y="428549"/>
                    <a:pt x="4836390" y="428549"/>
                  </a:cubicBezTo>
                  <a:cubicBezTo>
                    <a:pt x="4841234" y="428549"/>
                    <a:pt x="4849868" y="436762"/>
                    <a:pt x="4845025" y="436762"/>
                  </a:cubicBezTo>
                  <a:cubicBezTo>
                    <a:pt x="4849868" y="436762"/>
                    <a:pt x="4837233" y="433814"/>
                    <a:pt x="4830705" y="433814"/>
                  </a:cubicBezTo>
                  <a:cubicBezTo>
                    <a:pt x="4837443" y="433814"/>
                    <a:pt x="4808593" y="430023"/>
                    <a:pt x="4805855" y="422863"/>
                  </a:cubicBezTo>
                  <a:cubicBezTo>
                    <a:pt x="4798063" y="422863"/>
                    <a:pt x="4779953" y="418019"/>
                    <a:pt x="4772161" y="418019"/>
                  </a:cubicBezTo>
                  <a:cubicBezTo>
                    <a:pt x="4762473" y="418019"/>
                    <a:pt x="4756788" y="414229"/>
                    <a:pt x="4751944" y="414229"/>
                  </a:cubicBezTo>
                  <a:cubicBezTo>
                    <a:pt x="4756788" y="414229"/>
                    <a:pt x="4749206" y="407069"/>
                    <a:pt x="4743310" y="407069"/>
                  </a:cubicBezTo>
                  <a:cubicBezTo>
                    <a:pt x="4749206" y="407069"/>
                    <a:pt x="4738467" y="406648"/>
                    <a:pt x="4731728" y="406648"/>
                  </a:cubicBezTo>
                  <a:cubicBezTo>
                    <a:pt x="4738467" y="406648"/>
                    <a:pt x="4716354" y="410017"/>
                    <a:pt x="4711511" y="399488"/>
                  </a:cubicBezTo>
                  <a:cubicBezTo>
                    <a:pt x="4701824" y="399488"/>
                    <a:pt x="4695295" y="404331"/>
                    <a:pt x="4691294" y="404331"/>
                  </a:cubicBezTo>
                  <a:cubicBezTo>
                    <a:pt x="4695085" y="404331"/>
                    <a:pt x="4685398" y="412544"/>
                    <a:pt x="4678870" y="412544"/>
                  </a:cubicBezTo>
                  <a:cubicBezTo>
                    <a:pt x="4670235" y="412544"/>
                    <a:pt x="4654863" y="411070"/>
                    <a:pt x="4651072" y="402436"/>
                  </a:cubicBezTo>
                  <a:cubicBezTo>
                    <a:pt x="4639489" y="402436"/>
                    <a:pt x="4632750" y="390011"/>
                    <a:pt x="4622221" y="390011"/>
                  </a:cubicBezTo>
                  <a:cubicBezTo>
                    <a:pt x="4612534" y="390011"/>
                    <a:pt x="4597372" y="372322"/>
                    <a:pt x="4600109" y="378007"/>
                  </a:cubicBezTo>
                  <a:cubicBezTo>
                    <a:pt x="4607901" y="378007"/>
                    <a:pt x="4636752" y="388537"/>
                    <a:pt x="4630855" y="388537"/>
                  </a:cubicBezTo>
                  <a:cubicBezTo>
                    <a:pt x="4637594" y="388537"/>
                    <a:pt x="4650019" y="390011"/>
                    <a:pt x="4648124" y="390011"/>
                  </a:cubicBezTo>
                  <a:cubicBezTo>
                    <a:pt x="4650019" y="390011"/>
                    <a:pt x="4652125" y="383693"/>
                    <a:pt x="4644333" y="383693"/>
                  </a:cubicBezTo>
                  <a:cubicBezTo>
                    <a:pt x="4651072" y="383693"/>
                    <a:pt x="4641385" y="381377"/>
                    <a:pt x="4652125" y="381377"/>
                  </a:cubicBezTo>
                  <a:cubicBezTo>
                    <a:pt x="4662654" y="381377"/>
                    <a:pt x="4670235" y="383272"/>
                    <a:pt x="4665602" y="383272"/>
                  </a:cubicBezTo>
                  <a:cubicBezTo>
                    <a:pt x="4671289" y="383272"/>
                    <a:pt x="4655915" y="380535"/>
                    <a:pt x="4650230" y="368742"/>
                  </a:cubicBezTo>
                  <a:cubicBezTo>
                    <a:pt x="4637805" y="368742"/>
                    <a:pt x="4624327" y="359686"/>
                    <a:pt x="4623274" y="359686"/>
                  </a:cubicBezTo>
                  <a:cubicBezTo>
                    <a:pt x="4624117" y="359686"/>
                    <a:pt x="4637805" y="355896"/>
                    <a:pt x="4627065" y="355896"/>
                  </a:cubicBezTo>
                  <a:cubicBezTo>
                    <a:pt x="4616535" y="355896"/>
                    <a:pt x="4608954" y="354000"/>
                    <a:pt x="4603058" y="354000"/>
                  </a:cubicBezTo>
                  <a:cubicBezTo>
                    <a:pt x="4606848" y="354000"/>
                    <a:pt x="4616535" y="350631"/>
                    <a:pt x="4613587" y="350631"/>
                  </a:cubicBezTo>
                  <a:cubicBezTo>
                    <a:pt x="4616535" y="350631"/>
                    <a:pt x="4607690" y="347683"/>
                    <a:pt x="4596319" y="347683"/>
                  </a:cubicBezTo>
                  <a:cubicBezTo>
                    <a:pt x="4584736" y="347683"/>
                    <a:pt x="4575260" y="347683"/>
                    <a:pt x="4564520" y="337574"/>
                  </a:cubicBezTo>
                  <a:cubicBezTo>
                    <a:pt x="4551042" y="337574"/>
                    <a:pt x="4544303" y="332731"/>
                    <a:pt x="4534827" y="332731"/>
                  </a:cubicBezTo>
                  <a:cubicBezTo>
                    <a:pt x="4525140" y="332731"/>
                    <a:pt x="4522402" y="327887"/>
                    <a:pt x="4510820" y="327887"/>
                  </a:cubicBezTo>
                  <a:cubicBezTo>
                    <a:pt x="4500290" y="327887"/>
                    <a:pt x="4476283" y="315462"/>
                    <a:pt x="4468491" y="315462"/>
                  </a:cubicBezTo>
                  <a:cubicBezTo>
                    <a:pt x="4459857" y="315462"/>
                    <a:pt x="4448275" y="307250"/>
                    <a:pt x="4439641" y="307250"/>
                  </a:cubicBezTo>
                  <a:cubicBezTo>
                    <a:pt x="4425321" y="307250"/>
                    <a:pt x="4420477" y="303880"/>
                    <a:pt x="4412685" y="303880"/>
                  </a:cubicBezTo>
                  <a:cubicBezTo>
                    <a:pt x="4404051" y="303880"/>
                    <a:pt x="4416476" y="309145"/>
                    <a:pt x="4409947" y="309145"/>
                  </a:cubicBezTo>
                  <a:cubicBezTo>
                    <a:pt x="4417528" y="309145"/>
                    <a:pt x="4426373" y="319674"/>
                    <a:pt x="4421530" y="319674"/>
                  </a:cubicBezTo>
                  <a:cubicBezTo>
                    <a:pt x="4426373" y="319674"/>
                    <a:pt x="4405314" y="311882"/>
                    <a:pt x="4394574" y="311882"/>
                  </a:cubicBezTo>
                  <a:cubicBezTo>
                    <a:pt x="4384045" y="311882"/>
                    <a:pt x="4381939" y="309145"/>
                    <a:pt x="4370567" y="309145"/>
                  </a:cubicBezTo>
                  <a:cubicBezTo>
                    <a:pt x="4358985" y="309145"/>
                    <a:pt x="4351404" y="303248"/>
                    <a:pt x="4342769" y="303248"/>
                  </a:cubicBezTo>
                  <a:cubicBezTo>
                    <a:pt x="4334135" y="303248"/>
                    <a:pt x="4321711" y="293561"/>
                    <a:pt x="4312866" y="293561"/>
                  </a:cubicBezTo>
                  <a:cubicBezTo>
                    <a:pt x="4306127" y="293561"/>
                    <a:pt x="4304232" y="283453"/>
                    <a:pt x="4298335" y="283453"/>
                  </a:cubicBezTo>
                  <a:cubicBezTo>
                    <a:pt x="4304232" y="283453"/>
                    <a:pt x="4274539" y="277767"/>
                    <a:pt x="4263799" y="277767"/>
                  </a:cubicBezTo>
                  <a:cubicBezTo>
                    <a:pt x="4254112" y="277767"/>
                    <a:pt x="4218733" y="262815"/>
                    <a:pt x="4208203" y="262815"/>
                  </a:cubicBezTo>
                  <a:cubicBezTo>
                    <a:pt x="4198727" y="262815"/>
                    <a:pt x="4165875" y="253128"/>
                    <a:pt x="4156188" y="253128"/>
                  </a:cubicBezTo>
                  <a:cubicBezTo>
                    <a:pt x="4145658" y="253128"/>
                    <a:pt x="4127547" y="246389"/>
                    <a:pt x="4122703" y="246389"/>
                  </a:cubicBezTo>
                  <a:cubicBezTo>
                    <a:pt x="4128390" y="246389"/>
                    <a:pt x="4111121" y="239229"/>
                    <a:pt x="4104382" y="239229"/>
                  </a:cubicBezTo>
                  <a:cubicBezTo>
                    <a:pt x="4111121" y="239229"/>
                    <a:pt x="4097644" y="234386"/>
                    <a:pt x="4105436" y="234386"/>
                  </a:cubicBezTo>
                  <a:cubicBezTo>
                    <a:pt x="4114070" y="234386"/>
                    <a:pt x="4118913" y="232912"/>
                    <a:pt x="4112174" y="232912"/>
                  </a:cubicBezTo>
                  <a:cubicBezTo>
                    <a:pt x="4118070" y="232912"/>
                    <a:pt x="4081428" y="224277"/>
                    <a:pt x="4077638" y="224277"/>
                  </a:cubicBezTo>
                  <a:cubicBezTo>
                    <a:pt x="4082481" y="224277"/>
                    <a:pt x="4067108" y="221329"/>
                    <a:pt x="4063318" y="221329"/>
                  </a:cubicBezTo>
                  <a:cubicBezTo>
                    <a:pt x="4067108" y="221329"/>
                    <a:pt x="4067108" y="227647"/>
                    <a:pt x="4062264" y="227647"/>
                  </a:cubicBezTo>
                  <a:cubicBezTo>
                    <a:pt x="4066056" y="227647"/>
                    <a:pt x="4092168" y="234807"/>
                    <a:pt x="4087325" y="234807"/>
                  </a:cubicBezTo>
                  <a:cubicBezTo>
                    <a:pt x="4092168" y="234807"/>
                    <a:pt x="4102698" y="240072"/>
                    <a:pt x="4093011" y="240072"/>
                  </a:cubicBezTo>
                  <a:cubicBezTo>
                    <a:pt x="4083323" y="240072"/>
                    <a:pt x="4067108" y="232912"/>
                    <a:pt x="4062264" y="232912"/>
                  </a:cubicBezTo>
                  <a:cubicBezTo>
                    <a:pt x="4068161" y="232912"/>
                    <a:pt x="4060369" y="226173"/>
                    <a:pt x="4051735" y="226173"/>
                  </a:cubicBezTo>
                  <a:cubicBezTo>
                    <a:pt x="4044154" y="226173"/>
                    <a:pt x="4034467" y="223856"/>
                    <a:pt x="4028570" y="223856"/>
                  </a:cubicBezTo>
                  <a:cubicBezTo>
                    <a:pt x="4034256" y="223856"/>
                    <a:pt x="4002668" y="217539"/>
                    <a:pt x="3997824" y="217539"/>
                  </a:cubicBezTo>
                  <a:cubicBezTo>
                    <a:pt x="4002668" y="217539"/>
                    <a:pt x="4006669" y="215643"/>
                    <a:pt x="4003721" y="215643"/>
                  </a:cubicBezTo>
                  <a:cubicBezTo>
                    <a:pt x="4007511" y="215643"/>
                    <a:pt x="4018251" y="214169"/>
                    <a:pt x="4014250" y="214169"/>
                  </a:cubicBezTo>
                  <a:cubicBezTo>
                    <a:pt x="4019094" y="214169"/>
                    <a:pt x="4041206" y="216486"/>
                    <a:pt x="4036362" y="216486"/>
                  </a:cubicBezTo>
                  <a:cubicBezTo>
                    <a:pt x="4040153" y="216486"/>
                    <a:pt x="4056579" y="218381"/>
                    <a:pt x="4053630" y="218381"/>
                  </a:cubicBezTo>
                  <a:cubicBezTo>
                    <a:pt x="4057421" y="218381"/>
                    <a:pt x="4060369" y="219855"/>
                    <a:pt x="4070899" y="219855"/>
                  </a:cubicBezTo>
                  <a:cubicBezTo>
                    <a:pt x="4081639" y="219855"/>
                    <a:pt x="4087325" y="221750"/>
                    <a:pt x="4094906" y="221750"/>
                  </a:cubicBezTo>
                  <a:cubicBezTo>
                    <a:pt x="4103751" y="221750"/>
                    <a:pt x="4120808" y="222803"/>
                    <a:pt x="4118070" y="222803"/>
                  </a:cubicBezTo>
                  <a:cubicBezTo>
                    <a:pt x="4120808" y="222803"/>
                    <a:pt x="4114070" y="216064"/>
                    <a:pt x="4111121" y="216064"/>
                  </a:cubicBezTo>
                  <a:cubicBezTo>
                    <a:pt x="4114070" y="216064"/>
                    <a:pt x="4118913" y="211221"/>
                    <a:pt x="4115123" y="211221"/>
                  </a:cubicBezTo>
                  <a:cubicBezTo>
                    <a:pt x="4119966" y="211221"/>
                    <a:pt x="4103540" y="206798"/>
                    <a:pt x="4099749" y="206798"/>
                  </a:cubicBezTo>
                  <a:cubicBezTo>
                    <a:pt x="4103751" y="206798"/>
                    <a:pt x="4095959" y="197743"/>
                    <a:pt x="4088167" y="197743"/>
                  </a:cubicBezTo>
                  <a:cubicBezTo>
                    <a:pt x="4080375" y="197743"/>
                    <a:pt x="4086272" y="198796"/>
                    <a:pt x="4080375" y="198796"/>
                  </a:cubicBezTo>
                  <a:cubicBezTo>
                    <a:pt x="4086272" y="198796"/>
                    <a:pt x="4076585" y="196480"/>
                    <a:pt x="4070688" y="196480"/>
                  </a:cubicBezTo>
                  <a:cubicBezTo>
                    <a:pt x="4076585" y="196480"/>
                    <a:pt x="4057211" y="187845"/>
                    <a:pt x="4049629" y="187845"/>
                  </a:cubicBezTo>
                  <a:cubicBezTo>
                    <a:pt x="4042048" y="187845"/>
                    <a:pt x="4034256" y="189741"/>
                    <a:pt x="4027517" y="183423"/>
                  </a:cubicBezTo>
                  <a:cubicBezTo>
                    <a:pt x="4017830" y="183423"/>
                    <a:pt x="4011302" y="176684"/>
                    <a:pt x="3999509" y="176684"/>
                  </a:cubicBezTo>
                  <a:cubicBezTo>
                    <a:pt x="3988980" y="176684"/>
                    <a:pt x="3966868" y="169945"/>
                    <a:pt x="3960129" y="169945"/>
                  </a:cubicBezTo>
                  <a:cubicBezTo>
                    <a:pt x="3966868" y="169945"/>
                    <a:pt x="3936122" y="164049"/>
                    <a:pt x="3927488" y="164049"/>
                  </a:cubicBezTo>
                  <a:cubicBezTo>
                    <a:pt x="3919696" y="164049"/>
                    <a:pt x="3920749" y="165944"/>
                    <a:pt x="3918853" y="165944"/>
                  </a:cubicBezTo>
                  <a:cubicBezTo>
                    <a:pt x="3920959" y="165944"/>
                    <a:pt x="3907271" y="162575"/>
                    <a:pt x="3900532" y="162575"/>
                  </a:cubicBezTo>
                  <a:cubicBezTo>
                    <a:pt x="3893793" y="162575"/>
                    <a:pt x="3892740" y="159205"/>
                    <a:pt x="3890845" y="159205"/>
                  </a:cubicBezTo>
                  <a:cubicBezTo>
                    <a:pt x="3892740" y="159205"/>
                    <a:pt x="3904323" y="157731"/>
                    <a:pt x="3901585" y="157731"/>
                  </a:cubicBezTo>
                  <a:cubicBezTo>
                    <a:pt x="3904323" y="157731"/>
                    <a:pt x="3905376" y="153941"/>
                    <a:pt x="3896742" y="153941"/>
                  </a:cubicBezTo>
                  <a:cubicBezTo>
                    <a:pt x="3888950" y="153941"/>
                    <a:pt x="3867891" y="146781"/>
                    <a:pt x="3860099" y="146781"/>
                  </a:cubicBezTo>
                  <a:cubicBezTo>
                    <a:pt x="3853360" y="146781"/>
                    <a:pt x="3826405" y="140463"/>
                    <a:pt x="3821561" y="140463"/>
                  </a:cubicBezTo>
                  <a:cubicBezTo>
                    <a:pt x="3826405" y="140463"/>
                    <a:pt x="3828300" y="140884"/>
                    <a:pt x="3837776" y="140884"/>
                  </a:cubicBezTo>
                  <a:cubicBezTo>
                    <a:pt x="3846411" y="140884"/>
                    <a:pt x="3863890" y="144254"/>
                    <a:pt x="3860941" y="144254"/>
                  </a:cubicBezTo>
                  <a:cubicBezTo>
                    <a:pt x="3863890" y="144254"/>
                    <a:pt x="3864732" y="141305"/>
                    <a:pt x="3859889" y="141305"/>
                  </a:cubicBezTo>
                  <a:cubicBezTo>
                    <a:pt x="3864732" y="141305"/>
                    <a:pt x="3843463" y="134145"/>
                    <a:pt x="3835039" y="134145"/>
                  </a:cubicBezTo>
                  <a:cubicBezTo>
                    <a:pt x="3827247" y="134145"/>
                    <a:pt x="3815876" y="127828"/>
                    <a:pt x="3805135" y="127828"/>
                  </a:cubicBezTo>
                  <a:cubicBezTo>
                    <a:pt x="3793553" y="127828"/>
                    <a:pt x="3776285" y="123405"/>
                    <a:pt x="3768703" y="123405"/>
                  </a:cubicBezTo>
                  <a:cubicBezTo>
                    <a:pt x="3760911" y="123405"/>
                    <a:pt x="3750382" y="121510"/>
                    <a:pt x="3742801" y="121510"/>
                  </a:cubicBezTo>
                  <a:cubicBezTo>
                    <a:pt x="3735009" y="121510"/>
                    <a:pt x="3711002" y="119615"/>
                    <a:pt x="3707211" y="119615"/>
                  </a:cubicBezTo>
                  <a:cubicBezTo>
                    <a:pt x="3711213" y="119615"/>
                    <a:pt x="3695629" y="120668"/>
                    <a:pt x="3693733" y="120668"/>
                  </a:cubicBezTo>
                  <a:cubicBezTo>
                    <a:pt x="3695629" y="120668"/>
                    <a:pt x="3684047" y="118772"/>
                    <a:pt x="3670779" y="118772"/>
                  </a:cubicBezTo>
                  <a:cubicBezTo>
                    <a:pt x="3657302" y="118772"/>
                    <a:pt x="3646772" y="118772"/>
                    <a:pt x="3638980" y="112033"/>
                  </a:cubicBezTo>
                  <a:cubicBezTo>
                    <a:pt x="3629293" y="112033"/>
                    <a:pt x="3620659" y="109717"/>
                    <a:pt x="3614973" y="109717"/>
                  </a:cubicBezTo>
                  <a:cubicBezTo>
                    <a:pt x="3620870" y="109717"/>
                    <a:pt x="3586333" y="113086"/>
                    <a:pt x="3596862" y="113086"/>
                  </a:cubicBezTo>
                  <a:cubicBezTo>
                    <a:pt x="3608445" y="113086"/>
                    <a:pt x="3618975" y="116877"/>
                    <a:pt x="3625714" y="116877"/>
                  </a:cubicBezTo>
                  <a:cubicBezTo>
                    <a:pt x="3631610" y="116877"/>
                    <a:pt x="3641086" y="120246"/>
                    <a:pt x="3637296" y="120246"/>
                  </a:cubicBezTo>
                  <a:cubicBezTo>
                    <a:pt x="3641086" y="120246"/>
                    <a:pt x="3620870" y="117930"/>
                    <a:pt x="3610340" y="117930"/>
                  </a:cubicBezTo>
                  <a:cubicBezTo>
                    <a:pt x="3599811" y="117930"/>
                    <a:pt x="3588439" y="112665"/>
                    <a:pt x="3585491" y="112665"/>
                  </a:cubicBezTo>
                  <a:cubicBezTo>
                    <a:pt x="3587386" y="112665"/>
                    <a:pt x="3600022" y="110349"/>
                    <a:pt x="3586544" y="110349"/>
                  </a:cubicBezTo>
                  <a:cubicBezTo>
                    <a:pt x="3573066" y="110349"/>
                    <a:pt x="3573066" y="105505"/>
                    <a:pt x="3561484" y="105505"/>
                  </a:cubicBezTo>
                  <a:cubicBezTo>
                    <a:pt x="3549901" y="105505"/>
                    <a:pt x="3534528" y="103189"/>
                    <a:pt x="3529685" y="103189"/>
                  </a:cubicBezTo>
                  <a:cubicBezTo>
                    <a:pt x="3535581" y="103189"/>
                    <a:pt x="3502940" y="98345"/>
                    <a:pt x="3492200" y="98345"/>
                  </a:cubicBezTo>
                  <a:cubicBezTo>
                    <a:pt x="3483566" y="98345"/>
                    <a:pt x="3464402" y="94555"/>
                    <a:pt x="3458506" y="94555"/>
                  </a:cubicBezTo>
                  <a:cubicBezTo>
                    <a:pt x="3464402" y="94555"/>
                    <a:pt x="3442290" y="104663"/>
                    <a:pt x="3438289" y="96029"/>
                  </a:cubicBezTo>
                  <a:cubicBezTo>
                    <a:pt x="3428602" y="96029"/>
                    <a:pt x="3405648" y="91185"/>
                    <a:pt x="3393644" y="91185"/>
                  </a:cubicBezTo>
                  <a:cubicBezTo>
                    <a:pt x="3380798" y="91185"/>
                    <a:pt x="3359108" y="87816"/>
                    <a:pt x="3349842" y="87816"/>
                  </a:cubicBezTo>
                  <a:cubicBezTo>
                    <a:pt x="3339733" y="87816"/>
                    <a:pt x="3312778" y="85499"/>
                    <a:pt x="3304354" y="85499"/>
                  </a:cubicBezTo>
                  <a:cubicBezTo>
                    <a:pt x="3300985" y="78339"/>
                    <a:pt x="3272134" y="80656"/>
                    <a:pt x="3265395" y="80656"/>
                  </a:cubicBezTo>
                  <a:cubicBezTo>
                    <a:pt x="3258656" y="80656"/>
                    <a:pt x="3244336" y="81077"/>
                    <a:pt x="3237597" y="81077"/>
                  </a:cubicBezTo>
                  <a:cubicBezTo>
                    <a:pt x="3230437" y="81077"/>
                    <a:pt x="3220329" y="82130"/>
                    <a:pt x="3218434" y="82130"/>
                  </a:cubicBezTo>
                  <a:cubicBezTo>
                    <a:pt x="3220329" y="82130"/>
                    <a:pt x="3225173" y="88237"/>
                    <a:pt x="3234228" y="88237"/>
                  </a:cubicBezTo>
                  <a:cubicBezTo>
                    <a:pt x="3242441" y="88237"/>
                    <a:pt x="3240967" y="96029"/>
                    <a:pt x="3238019" y="96029"/>
                  </a:cubicBezTo>
                  <a:cubicBezTo>
                    <a:pt x="3240967" y="96029"/>
                    <a:pt x="3222646" y="92659"/>
                    <a:pt x="3210221" y="92659"/>
                  </a:cubicBezTo>
                  <a:cubicBezTo>
                    <a:pt x="3197165" y="92659"/>
                    <a:pt x="3183687" y="91185"/>
                    <a:pt x="3166419" y="91185"/>
                  </a:cubicBezTo>
                  <a:cubicBezTo>
                    <a:pt x="3148729" y="91185"/>
                    <a:pt x="3124090" y="85499"/>
                    <a:pt x="3117562" y="85499"/>
                  </a:cubicBezTo>
                  <a:cubicBezTo>
                    <a:pt x="3109770" y="85499"/>
                    <a:pt x="3102610" y="82130"/>
                    <a:pt x="3091238" y="82130"/>
                  </a:cubicBezTo>
                  <a:cubicBezTo>
                    <a:pt x="3079235" y="82130"/>
                    <a:pt x="3081130" y="84025"/>
                    <a:pt x="3074391" y="84025"/>
                  </a:cubicBezTo>
                  <a:cubicBezTo>
                    <a:pt x="3082183" y="84025"/>
                    <a:pt x="3093133" y="93712"/>
                    <a:pt x="3089764" y="93712"/>
                  </a:cubicBezTo>
                  <a:cubicBezTo>
                    <a:pt x="3093554" y="93712"/>
                    <a:pt x="3083447" y="101925"/>
                    <a:pt x="3096081" y="101925"/>
                  </a:cubicBezTo>
                  <a:cubicBezTo>
                    <a:pt x="3108507" y="101925"/>
                    <a:pt x="3115667" y="106137"/>
                    <a:pt x="3127670" y="106137"/>
                  </a:cubicBezTo>
                  <a:cubicBezTo>
                    <a:pt x="3138621" y="106137"/>
                    <a:pt x="3138621" y="114350"/>
                    <a:pt x="3149360" y="114350"/>
                  </a:cubicBezTo>
                  <a:cubicBezTo>
                    <a:pt x="3159890" y="114350"/>
                    <a:pt x="3182002" y="121089"/>
                    <a:pt x="3174842" y="121089"/>
                  </a:cubicBezTo>
                  <a:cubicBezTo>
                    <a:pt x="3181581" y="121089"/>
                    <a:pt x="3190636" y="128249"/>
                    <a:pt x="3185372" y="128249"/>
                  </a:cubicBezTo>
                  <a:cubicBezTo>
                    <a:pt x="3191268" y="128249"/>
                    <a:pt x="3188320" y="134566"/>
                    <a:pt x="3181581" y="134566"/>
                  </a:cubicBezTo>
                  <a:cubicBezTo>
                    <a:pt x="3188320" y="134566"/>
                    <a:pt x="3198849" y="144043"/>
                    <a:pt x="3196954" y="144043"/>
                  </a:cubicBezTo>
                  <a:cubicBezTo>
                    <a:pt x="3198849" y="144043"/>
                    <a:pt x="3178843" y="146991"/>
                    <a:pt x="3177369" y="146991"/>
                  </a:cubicBezTo>
                  <a:cubicBezTo>
                    <a:pt x="3179264" y="146991"/>
                    <a:pt x="3188951" y="156047"/>
                    <a:pt x="3198007" y="156047"/>
                  </a:cubicBezTo>
                  <a:cubicBezTo>
                    <a:pt x="3202429" y="164259"/>
                    <a:pt x="3226858" y="163207"/>
                    <a:pt x="3224331" y="163207"/>
                  </a:cubicBezTo>
                  <a:cubicBezTo>
                    <a:pt x="3226858" y="163207"/>
                    <a:pt x="3224331" y="164259"/>
                    <a:pt x="3219487" y="164259"/>
                  </a:cubicBezTo>
                  <a:cubicBezTo>
                    <a:pt x="3224331" y="164259"/>
                    <a:pt x="3196111" y="156047"/>
                    <a:pt x="3191689" y="156047"/>
                  </a:cubicBezTo>
                  <a:cubicBezTo>
                    <a:pt x="3195479" y="156047"/>
                    <a:pt x="3176948" y="147834"/>
                    <a:pt x="3173368" y="147834"/>
                  </a:cubicBezTo>
                  <a:cubicBezTo>
                    <a:pt x="3176737" y="147834"/>
                    <a:pt x="3182002" y="144043"/>
                    <a:pt x="3177158" y="144043"/>
                  </a:cubicBezTo>
                  <a:cubicBezTo>
                    <a:pt x="3182002" y="144043"/>
                    <a:pt x="3192953" y="141726"/>
                    <a:pt x="3189583" y="141726"/>
                  </a:cubicBezTo>
                  <a:cubicBezTo>
                    <a:pt x="3192953" y="141726"/>
                    <a:pt x="3174631" y="132039"/>
                    <a:pt x="3171262" y="132039"/>
                  </a:cubicBezTo>
                  <a:cubicBezTo>
                    <a:pt x="3174631" y="132039"/>
                    <a:pt x="3177580" y="126775"/>
                    <a:pt x="3174210" y="126775"/>
                  </a:cubicBezTo>
                  <a:cubicBezTo>
                    <a:pt x="3177580" y="126775"/>
                    <a:pt x="3180107" y="122984"/>
                    <a:pt x="3176737" y="122984"/>
                  </a:cubicBezTo>
                  <a:cubicBezTo>
                    <a:pt x="3181581" y="122984"/>
                    <a:pt x="3159469" y="119193"/>
                    <a:pt x="3152309" y="119193"/>
                  </a:cubicBezTo>
                  <a:cubicBezTo>
                    <a:pt x="3145570" y="119193"/>
                    <a:pt x="3131671" y="115824"/>
                    <a:pt x="3127249" y="115824"/>
                  </a:cubicBezTo>
                  <a:cubicBezTo>
                    <a:pt x="3132093" y="115824"/>
                    <a:pt x="3123458" y="107611"/>
                    <a:pt x="3115245" y="107611"/>
                  </a:cubicBezTo>
                  <a:cubicBezTo>
                    <a:pt x="3107453" y="107611"/>
                    <a:pt x="3097556" y="106137"/>
                    <a:pt x="3091659" y="106137"/>
                  </a:cubicBezTo>
                  <a:cubicBezTo>
                    <a:pt x="3097977" y="106137"/>
                    <a:pt x="3082393" y="100872"/>
                    <a:pt x="3071022" y="100872"/>
                  </a:cubicBezTo>
                  <a:cubicBezTo>
                    <a:pt x="3059018" y="100872"/>
                    <a:pt x="3047435" y="93080"/>
                    <a:pt x="3035432" y="93080"/>
                  </a:cubicBezTo>
                  <a:cubicBezTo>
                    <a:pt x="3023849" y="93080"/>
                    <a:pt x="3000264" y="84867"/>
                    <a:pt x="3009951" y="84867"/>
                  </a:cubicBezTo>
                  <a:cubicBezTo>
                    <a:pt x="3019216" y="84867"/>
                    <a:pt x="3029746" y="89711"/>
                    <a:pt x="3036906" y="89711"/>
                  </a:cubicBezTo>
                  <a:cubicBezTo>
                    <a:pt x="3044698" y="89711"/>
                    <a:pt x="3065757" y="90764"/>
                    <a:pt x="3057123" y="90764"/>
                  </a:cubicBezTo>
                  <a:cubicBezTo>
                    <a:pt x="3065757" y="90764"/>
                    <a:pt x="3050384" y="80234"/>
                    <a:pt x="3041750" y="80234"/>
                  </a:cubicBezTo>
                  <a:cubicBezTo>
                    <a:pt x="3032484" y="80234"/>
                    <a:pt x="3023007" y="80234"/>
                    <a:pt x="3017742" y="80234"/>
                  </a:cubicBezTo>
                  <a:cubicBezTo>
                    <a:pt x="3023007" y="80234"/>
                    <a:pt x="3001316" y="74549"/>
                    <a:pt x="2994788" y="74549"/>
                  </a:cubicBezTo>
                  <a:cubicBezTo>
                    <a:pt x="3001527" y="74549"/>
                    <a:pt x="2978362" y="70337"/>
                    <a:pt x="2967412" y="70337"/>
                  </a:cubicBezTo>
                  <a:cubicBezTo>
                    <a:pt x="2956251" y="70337"/>
                    <a:pt x="2937087" y="62545"/>
                    <a:pt x="2929927" y="62545"/>
                  </a:cubicBezTo>
                  <a:cubicBezTo>
                    <a:pt x="2922135" y="62545"/>
                    <a:pt x="2919397" y="62966"/>
                    <a:pt x="2909711" y="62966"/>
                  </a:cubicBezTo>
                  <a:cubicBezTo>
                    <a:pt x="2900023" y="62966"/>
                    <a:pt x="2886756" y="62124"/>
                    <a:pt x="2877490" y="62124"/>
                  </a:cubicBezTo>
                  <a:cubicBezTo>
                    <a:pt x="2868856" y="62124"/>
                    <a:pt x="2851588" y="63598"/>
                    <a:pt x="2865065" y="63598"/>
                  </a:cubicBezTo>
                  <a:cubicBezTo>
                    <a:pt x="2878964" y="63598"/>
                    <a:pt x="2907815" y="76023"/>
                    <a:pt x="2901497" y="76023"/>
                  </a:cubicBezTo>
                  <a:cubicBezTo>
                    <a:pt x="2907815" y="76023"/>
                    <a:pt x="2901497" y="82762"/>
                    <a:pt x="2895180" y="82762"/>
                  </a:cubicBezTo>
                  <a:cubicBezTo>
                    <a:pt x="2888441" y="82762"/>
                    <a:pt x="2875595" y="82762"/>
                    <a:pt x="2867803" y="82762"/>
                  </a:cubicBezTo>
                  <a:cubicBezTo>
                    <a:pt x="2860643" y="82762"/>
                    <a:pt x="2857273" y="87184"/>
                    <a:pt x="2851167" y="87184"/>
                  </a:cubicBezTo>
                  <a:cubicBezTo>
                    <a:pt x="2844428" y="87184"/>
                    <a:pt x="2859800" y="92027"/>
                    <a:pt x="2852640" y="92027"/>
                  </a:cubicBezTo>
                  <a:cubicBezTo>
                    <a:pt x="2860222" y="92027"/>
                    <a:pt x="2880859" y="100662"/>
                    <a:pt x="2876016" y="100662"/>
                  </a:cubicBezTo>
                  <a:cubicBezTo>
                    <a:pt x="2880438" y="100662"/>
                    <a:pt x="2878543" y="104873"/>
                    <a:pt x="2873699" y="104873"/>
                  </a:cubicBezTo>
                  <a:cubicBezTo>
                    <a:pt x="2878543" y="104873"/>
                    <a:pt x="2874121" y="98135"/>
                    <a:pt x="2864012" y="98135"/>
                  </a:cubicBezTo>
                  <a:cubicBezTo>
                    <a:pt x="2853904" y="98135"/>
                    <a:pt x="2848639" y="91817"/>
                    <a:pt x="2842953" y="91817"/>
                  </a:cubicBezTo>
                  <a:cubicBezTo>
                    <a:pt x="2848639" y="91817"/>
                    <a:pt x="2827580" y="86973"/>
                    <a:pt x="2822737" y="86973"/>
                  </a:cubicBezTo>
                  <a:cubicBezTo>
                    <a:pt x="2826738" y="86973"/>
                    <a:pt x="2813050" y="81287"/>
                    <a:pt x="2822737" y="81287"/>
                  </a:cubicBezTo>
                  <a:cubicBezTo>
                    <a:pt x="2832845" y="81287"/>
                    <a:pt x="2835794" y="75601"/>
                    <a:pt x="2844006" y="75601"/>
                  </a:cubicBezTo>
                  <a:cubicBezTo>
                    <a:pt x="2852640" y="75601"/>
                    <a:pt x="2868856" y="77918"/>
                    <a:pt x="2865908" y="77918"/>
                  </a:cubicBezTo>
                  <a:cubicBezTo>
                    <a:pt x="2869277" y="77918"/>
                    <a:pt x="2866961" y="69705"/>
                    <a:pt x="2862117" y="69705"/>
                  </a:cubicBezTo>
                  <a:cubicBezTo>
                    <a:pt x="2865908" y="69705"/>
                    <a:pt x="2844428" y="73074"/>
                    <a:pt x="2837689" y="65914"/>
                  </a:cubicBezTo>
                  <a:cubicBezTo>
                    <a:pt x="2828002" y="65914"/>
                    <a:pt x="2807785" y="58333"/>
                    <a:pt x="2802521" y="58333"/>
                  </a:cubicBezTo>
                  <a:cubicBezTo>
                    <a:pt x="2808417" y="58333"/>
                    <a:pt x="2798098" y="49699"/>
                    <a:pt x="2787568" y="49699"/>
                  </a:cubicBezTo>
                  <a:cubicBezTo>
                    <a:pt x="2776407" y="49699"/>
                    <a:pt x="2748609" y="42960"/>
                    <a:pt x="2742924" y="42960"/>
                  </a:cubicBezTo>
                  <a:cubicBezTo>
                    <a:pt x="2748820" y="42960"/>
                    <a:pt x="2733237" y="48646"/>
                    <a:pt x="2731341" y="48646"/>
                  </a:cubicBezTo>
                  <a:cubicBezTo>
                    <a:pt x="2737027" y="48646"/>
                    <a:pt x="2718495" y="53911"/>
                    <a:pt x="2712178" y="53911"/>
                  </a:cubicBezTo>
                  <a:cubicBezTo>
                    <a:pt x="2718495" y="53911"/>
                    <a:pt x="2702069" y="58754"/>
                    <a:pt x="2698279" y="58754"/>
                  </a:cubicBezTo>
                  <a:cubicBezTo>
                    <a:pt x="2702280" y="58754"/>
                    <a:pt x="2693435" y="68441"/>
                    <a:pt x="2689224" y="68441"/>
                  </a:cubicBezTo>
                  <a:cubicBezTo>
                    <a:pt x="2694909" y="68441"/>
                    <a:pt x="2651317" y="70337"/>
                    <a:pt x="2645000" y="70337"/>
                  </a:cubicBezTo>
                  <a:cubicBezTo>
                    <a:pt x="2638261" y="70337"/>
                    <a:pt x="2639735" y="79392"/>
                    <a:pt x="2632575" y="79392"/>
                  </a:cubicBezTo>
                  <a:cubicBezTo>
                    <a:pt x="2640788" y="79392"/>
                    <a:pt x="2658477" y="89079"/>
                    <a:pt x="2653634" y="89079"/>
                  </a:cubicBezTo>
                  <a:cubicBezTo>
                    <a:pt x="2657845" y="89079"/>
                    <a:pt x="2657845" y="100662"/>
                    <a:pt x="2649844" y="100662"/>
                  </a:cubicBezTo>
                  <a:cubicBezTo>
                    <a:pt x="2657004" y="100662"/>
                    <a:pt x="2679747" y="104452"/>
                    <a:pt x="2674271" y="104452"/>
                  </a:cubicBezTo>
                  <a:cubicBezTo>
                    <a:pt x="2679115" y="104452"/>
                    <a:pt x="2696805" y="107822"/>
                    <a:pt x="2690697" y="107822"/>
                  </a:cubicBezTo>
                  <a:cubicBezTo>
                    <a:pt x="2695962" y="107822"/>
                    <a:pt x="2699753" y="116877"/>
                    <a:pt x="2711335" y="116877"/>
                  </a:cubicBezTo>
                  <a:cubicBezTo>
                    <a:pt x="2723339" y="116877"/>
                    <a:pt x="2723760" y="123195"/>
                    <a:pt x="2716179" y="123195"/>
                  </a:cubicBezTo>
                  <a:cubicBezTo>
                    <a:pt x="2709019" y="123195"/>
                    <a:pt x="2695752" y="121721"/>
                    <a:pt x="2685433" y="121721"/>
                  </a:cubicBezTo>
                  <a:cubicBezTo>
                    <a:pt x="2681221" y="112665"/>
                    <a:pt x="2651739" y="107400"/>
                    <a:pt x="2635523" y="107400"/>
                  </a:cubicBezTo>
                  <a:cubicBezTo>
                    <a:pt x="2609199" y="107400"/>
                    <a:pt x="2590878" y="95397"/>
                    <a:pt x="2578875" y="95397"/>
                  </a:cubicBezTo>
                  <a:cubicBezTo>
                    <a:pt x="2565818" y="95397"/>
                    <a:pt x="2554025" y="87184"/>
                    <a:pt x="2534651" y="87184"/>
                  </a:cubicBezTo>
                  <a:cubicBezTo>
                    <a:pt x="2514013" y="87184"/>
                    <a:pt x="2491902" y="80445"/>
                    <a:pt x="2483268" y="80445"/>
                  </a:cubicBezTo>
                  <a:cubicBezTo>
                    <a:pt x="2474002" y="80445"/>
                    <a:pt x="2458839" y="77497"/>
                    <a:pt x="2453995" y="77497"/>
                  </a:cubicBezTo>
                  <a:cubicBezTo>
                    <a:pt x="2459260" y="77497"/>
                    <a:pt x="2451468" y="78971"/>
                    <a:pt x="2443466" y="78971"/>
                  </a:cubicBezTo>
                  <a:cubicBezTo>
                    <a:pt x="2446414" y="78971"/>
                    <a:pt x="2452100" y="74127"/>
                    <a:pt x="2438622" y="74127"/>
                  </a:cubicBezTo>
                  <a:cubicBezTo>
                    <a:pt x="2425145" y="74127"/>
                    <a:pt x="2423670" y="66967"/>
                    <a:pt x="2412298" y="66967"/>
                  </a:cubicBezTo>
                  <a:cubicBezTo>
                    <a:pt x="2401137" y="66967"/>
                    <a:pt x="2388713" y="61703"/>
                    <a:pt x="2380078" y="61703"/>
                  </a:cubicBezTo>
                  <a:cubicBezTo>
                    <a:pt x="2371445" y="61703"/>
                    <a:pt x="2359019" y="65493"/>
                    <a:pt x="2370813" y="65493"/>
                  </a:cubicBezTo>
                  <a:cubicBezTo>
                    <a:pt x="2382816" y="65493"/>
                    <a:pt x="2386607" y="72653"/>
                    <a:pt x="2394399" y="72653"/>
                  </a:cubicBezTo>
                  <a:cubicBezTo>
                    <a:pt x="2403033" y="72653"/>
                    <a:pt x="2417985" y="74970"/>
                    <a:pt x="2411667" y="74970"/>
                  </a:cubicBezTo>
                  <a:cubicBezTo>
                    <a:pt x="2417985" y="74970"/>
                    <a:pt x="2418406" y="77707"/>
                    <a:pt x="2425566" y="77707"/>
                  </a:cubicBezTo>
                  <a:cubicBezTo>
                    <a:pt x="2432726" y="77707"/>
                    <a:pt x="2445783" y="85499"/>
                    <a:pt x="2438412" y="85499"/>
                  </a:cubicBezTo>
                  <a:cubicBezTo>
                    <a:pt x="2446625" y="85499"/>
                    <a:pt x="2459049" y="91606"/>
                    <a:pt x="2452943" y="91606"/>
                  </a:cubicBezTo>
                  <a:cubicBezTo>
                    <a:pt x="2459260" y="91606"/>
                    <a:pt x="2442834" y="94555"/>
                    <a:pt x="2436095" y="94555"/>
                  </a:cubicBezTo>
                  <a:cubicBezTo>
                    <a:pt x="2442413" y="94555"/>
                    <a:pt x="2426829" y="88869"/>
                    <a:pt x="2422618" y="88869"/>
                  </a:cubicBezTo>
                  <a:cubicBezTo>
                    <a:pt x="2427882" y="88869"/>
                    <a:pt x="2421986" y="97082"/>
                    <a:pt x="2419037" y="97082"/>
                  </a:cubicBezTo>
                  <a:cubicBezTo>
                    <a:pt x="2421986" y="97082"/>
                    <a:pt x="2407455" y="96029"/>
                    <a:pt x="2404718" y="96029"/>
                  </a:cubicBezTo>
                  <a:cubicBezTo>
                    <a:pt x="2407455" y="96029"/>
                    <a:pt x="2415247" y="90764"/>
                    <a:pt x="2410825" y="90764"/>
                  </a:cubicBezTo>
                  <a:cubicBezTo>
                    <a:pt x="2415247" y="90764"/>
                    <a:pt x="2402612" y="85078"/>
                    <a:pt x="2399874" y="85078"/>
                  </a:cubicBezTo>
                  <a:cubicBezTo>
                    <a:pt x="2403243" y="85078"/>
                    <a:pt x="2389766" y="79813"/>
                    <a:pt x="2385975" y="79813"/>
                  </a:cubicBezTo>
                  <a:cubicBezTo>
                    <a:pt x="2389344" y="79813"/>
                    <a:pt x="2400927" y="86973"/>
                    <a:pt x="2392714" y="86973"/>
                  </a:cubicBezTo>
                  <a:cubicBezTo>
                    <a:pt x="2384080" y="86973"/>
                    <a:pt x="2363021" y="85920"/>
                    <a:pt x="2360073" y="85920"/>
                  </a:cubicBezTo>
                  <a:cubicBezTo>
                    <a:pt x="2363863" y="85920"/>
                    <a:pt x="2340909" y="85499"/>
                    <a:pt x="2330169" y="85499"/>
                  </a:cubicBezTo>
                  <a:cubicBezTo>
                    <a:pt x="2318587" y="85499"/>
                    <a:pt x="2316270" y="79181"/>
                    <a:pt x="2304898" y="79181"/>
                  </a:cubicBezTo>
                  <a:cubicBezTo>
                    <a:pt x="2281734" y="79181"/>
                    <a:pt x="2266992" y="74970"/>
                    <a:pt x="2258779" y="74970"/>
                  </a:cubicBezTo>
                  <a:cubicBezTo>
                    <a:pt x="2253515" y="69705"/>
                    <a:pt x="2241090" y="73917"/>
                    <a:pt x="2229086" y="73917"/>
                  </a:cubicBezTo>
                  <a:cubicBezTo>
                    <a:pt x="2217083" y="73917"/>
                    <a:pt x="2205500" y="75391"/>
                    <a:pt x="2195392" y="75391"/>
                  </a:cubicBezTo>
                  <a:cubicBezTo>
                    <a:pt x="2184862" y="75391"/>
                    <a:pt x="2156854" y="77286"/>
                    <a:pt x="2149694" y="77286"/>
                  </a:cubicBezTo>
                  <a:cubicBezTo>
                    <a:pt x="2156433" y="77286"/>
                    <a:pt x="2121686" y="78760"/>
                    <a:pt x="2114105" y="78760"/>
                  </a:cubicBezTo>
                  <a:cubicBezTo>
                    <a:pt x="2106312" y="78760"/>
                    <a:pt x="2080831" y="80234"/>
                    <a:pt x="2072829" y="80234"/>
                  </a:cubicBezTo>
                  <a:cubicBezTo>
                    <a:pt x="2064616" y="80234"/>
                    <a:pt x="2057456" y="84025"/>
                    <a:pt x="2048822" y="84025"/>
                  </a:cubicBezTo>
                  <a:cubicBezTo>
                    <a:pt x="2039767" y="84025"/>
                    <a:pt x="2025868" y="92238"/>
                    <a:pt x="2022919" y="85920"/>
                  </a:cubicBezTo>
                  <a:cubicBezTo>
                    <a:pt x="2029237" y="85920"/>
                    <a:pt x="2019550" y="91606"/>
                    <a:pt x="2009863" y="91606"/>
                  </a:cubicBezTo>
                  <a:cubicBezTo>
                    <a:pt x="2000176" y="91606"/>
                    <a:pt x="1984382" y="94976"/>
                    <a:pt x="1974273" y="94976"/>
                  </a:cubicBezTo>
                  <a:cubicBezTo>
                    <a:pt x="1964165" y="94976"/>
                    <a:pt x="1948792" y="86342"/>
                    <a:pt x="1937631" y="86342"/>
                  </a:cubicBezTo>
                  <a:cubicBezTo>
                    <a:pt x="1925627" y="86342"/>
                    <a:pt x="1929418" y="82130"/>
                    <a:pt x="1938684" y="82130"/>
                  </a:cubicBezTo>
                  <a:cubicBezTo>
                    <a:pt x="1946897" y="82130"/>
                    <a:pt x="1936788" y="79181"/>
                    <a:pt x="1947739" y="79181"/>
                  </a:cubicBezTo>
                  <a:cubicBezTo>
                    <a:pt x="1958268" y="79181"/>
                    <a:pt x="1965007" y="81077"/>
                    <a:pt x="1974062" y="81077"/>
                  </a:cubicBezTo>
                  <a:cubicBezTo>
                    <a:pt x="1983118" y="81077"/>
                    <a:pt x="1989436" y="74338"/>
                    <a:pt x="1983750" y="74338"/>
                  </a:cubicBezTo>
                  <a:cubicBezTo>
                    <a:pt x="1990067" y="74338"/>
                    <a:pt x="1979749" y="66125"/>
                    <a:pt x="1952583" y="66125"/>
                  </a:cubicBezTo>
                  <a:cubicBezTo>
                    <a:pt x="1925206" y="66125"/>
                    <a:pt x="1915098" y="62334"/>
                    <a:pt x="1903094" y="62334"/>
                  </a:cubicBezTo>
                  <a:cubicBezTo>
                    <a:pt x="1895302" y="54121"/>
                    <a:pt x="1883509" y="58544"/>
                    <a:pt x="1873191" y="58544"/>
                  </a:cubicBezTo>
                  <a:cubicBezTo>
                    <a:pt x="1862661" y="58544"/>
                    <a:pt x="1864977" y="62966"/>
                    <a:pt x="1873822" y="62966"/>
                  </a:cubicBezTo>
                  <a:cubicBezTo>
                    <a:pt x="1883509" y="62966"/>
                    <a:pt x="1897198" y="69073"/>
                    <a:pt x="1893407" y="69073"/>
                  </a:cubicBezTo>
                  <a:cubicBezTo>
                    <a:pt x="1897198" y="69073"/>
                    <a:pt x="1890459" y="81498"/>
                    <a:pt x="1885615" y="81498"/>
                  </a:cubicBezTo>
                  <a:cubicBezTo>
                    <a:pt x="1889617" y="81498"/>
                    <a:pt x="1873191" y="82340"/>
                    <a:pt x="1866873" y="82340"/>
                  </a:cubicBezTo>
                  <a:cubicBezTo>
                    <a:pt x="1872559" y="82340"/>
                    <a:pt x="1901831" y="87184"/>
                    <a:pt x="1894250" y="87184"/>
                  </a:cubicBezTo>
                  <a:cubicBezTo>
                    <a:pt x="1901410" y="87184"/>
                    <a:pt x="1905200" y="96239"/>
                    <a:pt x="1899514" y="96239"/>
                  </a:cubicBezTo>
                  <a:cubicBezTo>
                    <a:pt x="1905832" y="96239"/>
                    <a:pt x="1881825" y="98135"/>
                    <a:pt x="1862871" y="98135"/>
                  </a:cubicBezTo>
                  <a:cubicBezTo>
                    <a:pt x="1844550" y="98135"/>
                    <a:pt x="1831705" y="95818"/>
                    <a:pt x="1819280" y="95818"/>
                  </a:cubicBezTo>
                  <a:cubicBezTo>
                    <a:pt x="1806223" y="95818"/>
                    <a:pt x="1794430" y="103399"/>
                    <a:pt x="1785586" y="103399"/>
                  </a:cubicBezTo>
                  <a:cubicBezTo>
                    <a:pt x="1776951" y="103399"/>
                    <a:pt x="1763052" y="107822"/>
                    <a:pt x="1756735" y="107822"/>
                  </a:cubicBezTo>
                  <a:cubicBezTo>
                    <a:pt x="1763473" y="107822"/>
                    <a:pt x="1768949" y="118351"/>
                    <a:pt x="1764105" y="118351"/>
                  </a:cubicBezTo>
                  <a:cubicBezTo>
                    <a:pt x="1768528" y="118351"/>
                    <a:pt x="1754418" y="124669"/>
                    <a:pt x="1741993" y="124669"/>
                  </a:cubicBezTo>
                  <a:cubicBezTo>
                    <a:pt x="1729569" y="124669"/>
                    <a:pt x="1702192" y="118772"/>
                    <a:pt x="1695032" y="118772"/>
                  </a:cubicBezTo>
                  <a:cubicBezTo>
                    <a:pt x="1702192" y="118772"/>
                    <a:pt x="1666603" y="112665"/>
                    <a:pt x="1659021" y="112665"/>
                  </a:cubicBezTo>
                  <a:cubicBezTo>
                    <a:pt x="1650387" y="112665"/>
                    <a:pt x="1654599" y="117509"/>
                    <a:pt x="1648071" y="117509"/>
                  </a:cubicBezTo>
                  <a:cubicBezTo>
                    <a:pt x="1654388" y="117509"/>
                    <a:pt x="1645544" y="124248"/>
                    <a:pt x="1653757" y="124248"/>
                  </a:cubicBezTo>
                  <a:cubicBezTo>
                    <a:pt x="1663023" y="124248"/>
                    <a:pt x="1693347" y="130565"/>
                    <a:pt x="1685556" y="130565"/>
                  </a:cubicBezTo>
                  <a:cubicBezTo>
                    <a:pt x="1693768" y="130565"/>
                    <a:pt x="1699033" y="136251"/>
                    <a:pt x="1680712" y="136251"/>
                  </a:cubicBezTo>
                  <a:cubicBezTo>
                    <a:pt x="1664497" y="136251"/>
                    <a:pt x="1648913" y="129933"/>
                    <a:pt x="1636067" y="129933"/>
                  </a:cubicBezTo>
                  <a:cubicBezTo>
                    <a:pt x="1622589" y="129933"/>
                    <a:pt x="1620273" y="125090"/>
                    <a:pt x="1608269" y="125090"/>
                  </a:cubicBezTo>
                  <a:cubicBezTo>
                    <a:pt x="1595213" y="125090"/>
                    <a:pt x="1595845" y="119404"/>
                    <a:pt x="1589106" y="119404"/>
                  </a:cubicBezTo>
                  <a:cubicBezTo>
                    <a:pt x="1595845" y="119404"/>
                    <a:pt x="1580050" y="107400"/>
                    <a:pt x="1575628" y="107400"/>
                  </a:cubicBezTo>
                  <a:cubicBezTo>
                    <a:pt x="1580471" y="107400"/>
                    <a:pt x="1589106" y="103189"/>
                    <a:pt x="1584683" y="103189"/>
                  </a:cubicBezTo>
                  <a:cubicBezTo>
                    <a:pt x="1588474" y="103189"/>
                    <a:pt x="1599635" y="97503"/>
                    <a:pt x="1587421" y="97503"/>
                  </a:cubicBezTo>
                  <a:cubicBezTo>
                    <a:pt x="1575839" y="97503"/>
                    <a:pt x="1545092" y="84446"/>
                    <a:pt x="1536458" y="84446"/>
                  </a:cubicBezTo>
                  <a:cubicBezTo>
                    <a:pt x="1527403" y="84446"/>
                    <a:pt x="1507608" y="73285"/>
                    <a:pt x="1503185" y="73285"/>
                  </a:cubicBezTo>
                  <a:cubicBezTo>
                    <a:pt x="1509082" y="73285"/>
                    <a:pt x="1527192" y="78971"/>
                    <a:pt x="1536037" y="78971"/>
                  </a:cubicBezTo>
                  <a:cubicBezTo>
                    <a:pt x="1545092" y="78971"/>
                    <a:pt x="1560466" y="83814"/>
                    <a:pt x="1569100" y="83814"/>
                  </a:cubicBezTo>
                  <a:cubicBezTo>
                    <a:pt x="1576260" y="83814"/>
                    <a:pt x="1575417" y="86763"/>
                    <a:pt x="1584052" y="86763"/>
                  </a:cubicBezTo>
                  <a:cubicBezTo>
                    <a:pt x="1592686" y="86763"/>
                    <a:pt x="1597530" y="90132"/>
                    <a:pt x="1613324" y="90132"/>
                  </a:cubicBezTo>
                  <a:cubicBezTo>
                    <a:pt x="1628696" y="90132"/>
                    <a:pt x="1640700" y="92870"/>
                    <a:pt x="1650177" y="92870"/>
                  </a:cubicBezTo>
                  <a:cubicBezTo>
                    <a:pt x="1659864" y="92870"/>
                    <a:pt x="1670393" y="96660"/>
                    <a:pt x="1680923" y="96660"/>
                  </a:cubicBezTo>
                  <a:cubicBezTo>
                    <a:pt x="1692084" y="96660"/>
                    <a:pt x="1714196" y="99609"/>
                    <a:pt x="1725147" y="99609"/>
                  </a:cubicBezTo>
                  <a:cubicBezTo>
                    <a:pt x="1735676" y="99609"/>
                    <a:pt x="1754840" y="95186"/>
                    <a:pt x="1764105" y="95186"/>
                  </a:cubicBezTo>
                  <a:cubicBezTo>
                    <a:pt x="1774214" y="95186"/>
                    <a:pt x="1784111" y="88447"/>
                    <a:pt x="1792325" y="88447"/>
                  </a:cubicBezTo>
                  <a:cubicBezTo>
                    <a:pt x="1801169" y="88447"/>
                    <a:pt x="1814857" y="82762"/>
                    <a:pt x="1807697" y="82762"/>
                  </a:cubicBezTo>
                  <a:cubicBezTo>
                    <a:pt x="1814015" y="82762"/>
                    <a:pt x="1793798" y="73074"/>
                    <a:pt x="1789587" y="73074"/>
                  </a:cubicBezTo>
                  <a:cubicBezTo>
                    <a:pt x="1793377" y="73074"/>
                    <a:pt x="1784743" y="65283"/>
                    <a:pt x="1760736" y="65283"/>
                  </a:cubicBezTo>
                  <a:cubicBezTo>
                    <a:pt x="1735676" y="65283"/>
                    <a:pt x="1723251" y="56227"/>
                    <a:pt x="1708931" y="56227"/>
                  </a:cubicBezTo>
                  <a:cubicBezTo>
                    <a:pt x="1695453" y="56227"/>
                    <a:pt x="1637752" y="40012"/>
                    <a:pt x="1619009" y="40012"/>
                  </a:cubicBezTo>
                  <a:cubicBezTo>
                    <a:pt x="1599846" y="40012"/>
                    <a:pt x="1577102" y="37695"/>
                    <a:pt x="1568047" y="37695"/>
                  </a:cubicBezTo>
                  <a:cubicBezTo>
                    <a:pt x="1559834" y="37695"/>
                    <a:pt x="1548883" y="33905"/>
                    <a:pt x="1534563" y="33905"/>
                  </a:cubicBezTo>
                  <a:cubicBezTo>
                    <a:pt x="1520664" y="33905"/>
                    <a:pt x="1490761" y="30114"/>
                    <a:pt x="1499816" y="30114"/>
                  </a:cubicBezTo>
                  <a:cubicBezTo>
                    <a:pt x="1508450" y="30114"/>
                    <a:pt x="1532036" y="30114"/>
                    <a:pt x="1524244" y="30114"/>
                  </a:cubicBezTo>
                  <a:cubicBezTo>
                    <a:pt x="1532036" y="30114"/>
                    <a:pt x="1504028" y="24007"/>
                    <a:pt x="1488655" y="24007"/>
                  </a:cubicBezTo>
                  <a:cubicBezTo>
                    <a:pt x="1472861" y="24007"/>
                    <a:pt x="1472861" y="27377"/>
                    <a:pt x="1464647" y="27377"/>
                  </a:cubicBezTo>
                  <a:cubicBezTo>
                    <a:pt x="1457277" y="27377"/>
                    <a:pt x="1429900" y="22954"/>
                    <a:pt x="1420845" y="22954"/>
                  </a:cubicBezTo>
                  <a:cubicBezTo>
                    <a:pt x="1411790" y="22954"/>
                    <a:pt x="1386730" y="19164"/>
                    <a:pt x="1383992" y="19164"/>
                  </a:cubicBezTo>
                  <a:cubicBezTo>
                    <a:pt x="1386940" y="19164"/>
                    <a:pt x="1409052" y="18742"/>
                    <a:pt x="1417055" y="18742"/>
                  </a:cubicBezTo>
                  <a:cubicBezTo>
                    <a:pt x="1424846" y="18742"/>
                    <a:pt x="1427162" y="16426"/>
                    <a:pt x="1437692" y="16426"/>
                  </a:cubicBezTo>
                  <a:cubicBezTo>
                    <a:pt x="1448221" y="16426"/>
                    <a:pt x="1458751" y="16847"/>
                    <a:pt x="1457277" y="16847"/>
                  </a:cubicBezTo>
                  <a:cubicBezTo>
                    <a:pt x="1458751" y="16847"/>
                    <a:pt x="1431795" y="10529"/>
                    <a:pt x="1416423" y="10529"/>
                  </a:cubicBezTo>
                  <a:cubicBezTo>
                    <a:pt x="1401050" y="10529"/>
                    <a:pt x="1379780" y="5686"/>
                    <a:pt x="1371356" y="5686"/>
                  </a:cubicBezTo>
                  <a:cubicBezTo>
                    <a:pt x="1363565" y="5686"/>
                    <a:pt x="1354088" y="7581"/>
                    <a:pt x="1351140" y="7581"/>
                  </a:cubicBezTo>
                  <a:cubicBezTo>
                    <a:pt x="1353878" y="7581"/>
                    <a:pt x="1368829" y="1895"/>
                    <a:pt x="1360195" y="1895"/>
                  </a:cubicBezTo>
                  <a:cubicBezTo>
                    <a:pt x="1351983" y="1895"/>
                    <a:pt x="1326080" y="0"/>
                    <a:pt x="1320815" y="0"/>
                  </a:cubicBezTo>
                  <a:cubicBezTo>
                    <a:pt x="1326501" y="0"/>
                    <a:pt x="1331345" y="6739"/>
                    <a:pt x="1321868" y="6739"/>
                  </a:cubicBezTo>
                  <a:cubicBezTo>
                    <a:pt x="1313234" y="6739"/>
                    <a:pt x="1302283" y="11582"/>
                    <a:pt x="1298282" y="11582"/>
                  </a:cubicBezTo>
                  <a:cubicBezTo>
                    <a:pt x="1302073" y="11582"/>
                    <a:pt x="1311338" y="1895"/>
                    <a:pt x="1302705" y="1895"/>
                  </a:cubicBezTo>
                  <a:cubicBezTo>
                    <a:pt x="1293649" y="1895"/>
                    <a:pt x="1280593" y="8213"/>
                    <a:pt x="1275328" y="8213"/>
                  </a:cubicBezTo>
                  <a:cubicBezTo>
                    <a:pt x="1282067" y="8213"/>
                    <a:pt x="1259955" y="17900"/>
                    <a:pt x="1252374" y="17900"/>
                  </a:cubicBezTo>
                  <a:cubicBezTo>
                    <a:pt x="1260165" y="17900"/>
                    <a:pt x="1250058" y="8845"/>
                    <a:pt x="1258059" y="8845"/>
                  </a:cubicBezTo>
                  <a:cubicBezTo>
                    <a:pt x="1266273" y="8845"/>
                    <a:pt x="1286489" y="2106"/>
                    <a:pt x="1282067" y="2106"/>
                  </a:cubicBezTo>
                  <a:cubicBezTo>
                    <a:pt x="1286911" y="2106"/>
                    <a:pt x="1259534" y="632"/>
                    <a:pt x="1252795" y="632"/>
                  </a:cubicBezTo>
                  <a:cubicBezTo>
                    <a:pt x="1259534" y="632"/>
                    <a:pt x="1248372" y="632"/>
                    <a:pt x="1236369" y="632"/>
                  </a:cubicBezTo>
                  <a:cubicBezTo>
                    <a:pt x="1224787" y="632"/>
                    <a:pt x="1224366" y="5475"/>
                    <a:pt x="1219101" y="5475"/>
                  </a:cubicBezTo>
                  <a:cubicBezTo>
                    <a:pt x="1225839" y="5475"/>
                    <a:pt x="1207518" y="5475"/>
                    <a:pt x="1200358" y="5475"/>
                  </a:cubicBezTo>
                  <a:cubicBezTo>
                    <a:pt x="1193198" y="5475"/>
                    <a:pt x="1183932" y="7792"/>
                    <a:pt x="1179299" y="7792"/>
                  </a:cubicBezTo>
                  <a:cubicBezTo>
                    <a:pt x="1183721" y="7792"/>
                    <a:pt x="1191303" y="14531"/>
                    <a:pt x="1187513" y="14531"/>
                  </a:cubicBezTo>
                  <a:cubicBezTo>
                    <a:pt x="1191724" y="14531"/>
                    <a:pt x="1190460" y="17479"/>
                    <a:pt x="1181194" y="17479"/>
                  </a:cubicBezTo>
                  <a:cubicBezTo>
                    <a:pt x="1172139" y="17479"/>
                    <a:pt x="1173403" y="11161"/>
                    <a:pt x="1162873" y="11161"/>
                  </a:cubicBezTo>
                  <a:cubicBezTo>
                    <a:pt x="1151291" y="11161"/>
                    <a:pt x="1153186" y="13057"/>
                    <a:pt x="1142657" y="13057"/>
                  </a:cubicBezTo>
                  <a:cubicBezTo>
                    <a:pt x="1131706" y="13057"/>
                    <a:pt x="1129179" y="13899"/>
                    <a:pt x="1124968" y="13899"/>
                  </a:cubicBezTo>
                  <a:cubicBezTo>
                    <a:pt x="1129390" y="13899"/>
                    <a:pt x="1148132" y="18742"/>
                    <a:pt x="1134023" y="18742"/>
                  </a:cubicBezTo>
                  <a:cubicBezTo>
                    <a:pt x="1119703" y="18742"/>
                    <a:pt x="1116754" y="13478"/>
                    <a:pt x="1109594" y="13478"/>
                  </a:cubicBezTo>
                  <a:cubicBezTo>
                    <a:pt x="1102434" y="13478"/>
                    <a:pt x="1098012" y="16215"/>
                    <a:pt x="1093379" y="16215"/>
                  </a:cubicBezTo>
                  <a:cubicBezTo>
                    <a:pt x="1097591" y="16215"/>
                    <a:pt x="1093800" y="26745"/>
                    <a:pt x="1091484" y="26745"/>
                  </a:cubicBezTo>
                  <a:cubicBezTo>
                    <a:pt x="1093800" y="26745"/>
                    <a:pt x="1094853" y="19585"/>
                    <a:pt x="1086640" y="19585"/>
                  </a:cubicBezTo>
                  <a:cubicBezTo>
                    <a:pt x="1093800" y="19585"/>
                    <a:pt x="1074215" y="14741"/>
                    <a:pt x="1070214" y="14741"/>
                  </a:cubicBezTo>
                  <a:cubicBezTo>
                    <a:pt x="1074005" y="14741"/>
                    <a:pt x="1060106" y="14741"/>
                    <a:pt x="1048734" y="14741"/>
                  </a:cubicBezTo>
                  <a:cubicBezTo>
                    <a:pt x="1037152" y="14741"/>
                    <a:pt x="1036309" y="21901"/>
                    <a:pt x="1028517" y="21901"/>
                  </a:cubicBezTo>
                  <a:cubicBezTo>
                    <a:pt x="1020305" y="21901"/>
                    <a:pt x="1005352" y="25692"/>
                    <a:pt x="998192" y="25692"/>
                  </a:cubicBezTo>
                  <a:cubicBezTo>
                    <a:pt x="991032" y="25692"/>
                    <a:pt x="977976" y="30535"/>
                    <a:pt x="973764" y="30535"/>
                  </a:cubicBezTo>
                  <a:cubicBezTo>
                    <a:pt x="977976" y="30535"/>
                    <a:pt x="1000298" y="34326"/>
                    <a:pt x="994402" y="34326"/>
                  </a:cubicBezTo>
                  <a:cubicBezTo>
                    <a:pt x="999667" y="34326"/>
                    <a:pt x="979029" y="38117"/>
                    <a:pt x="973764" y="38117"/>
                  </a:cubicBezTo>
                  <a:cubicBezTo>
                    <a:pt x="978608" y="38117"/>
                    <a:pt x="964077" y="41065"/>
                    <a:pt x="961339" y="41065"/>
                  </a:cubicBezTo>
                  <a:cubicBezTo>
                    <a:pt x="963656" y="41065"/>
                    <a:pt x="966183" y="34747"/>
                    <a:pt x="957970" y="34747"/>
                  </a:cubicBezTo>
                  <a:cubicBezTo>
                    <a:pt x="950810" y="34747"/>
                    <a:pt x="947440" y="38117"/>
                    <a:pt x="941544" y="38117"/>
                  </a:cubicBezTo>
                  <a:cubicBezTo>
                    <a:pt x="941544" y="32431"/>
                    <a:pt x="958391" y="30535"/>
                    <a:pt x="950178" y="30535"/>
                  </a:cubicBezTo>
                  <a:cubicBezTo>
                    <a:pt x="941544" y="30535"/>
                    <a:pt x="928067" y="34747"/>
                    <a:pt x="924697" y="34747"/>
                  </a:cubicBezTo>
                  <a:cubicBezTo>
                    <a:pt x="927645" y="34747"/>
                    <a:pt x="922802" y="42539"/>
                    <a:pt x="919853" y="42539"/>
                  </a:cubicBezTo>
                  <a:cubicBezTo>
                    <a:pt x="922802" y="42539"/>
                    <a:pt x="915010" y="37695"/>
                    <a:pt x="908903" y="37695"/>
                  </a:cubicBezTo>
                  <a:cubicBezTo>
                    <a:pt x="901743" y="37695"/>
                    <a:pt x="890582" y="43381"/>
                    <a:pt x="888265" y="43381"/>
                  </a:cubicBezTo>
                  <a:cubicBezTo>
                    <a:pt x="891634" y="43381"/>
                    <a:pt x="891634" y="48225"/>
                    <a:pt x="883000" y="48225"/>
                  </a:cubicBezTo>
                  <a:cubicBezTo>
                    <a:pt x="874366" y="48225"/>
                    <a:pt x="851412" y="52437"/>
                    <a:pt x="844673" y="52437"/>
                  </a:cubicBezTo>
                  <a:cubicBezTo>
                    <a:pt x="851412" y="52437"/>
                    <a:pt x="846990" y="53490"/>
                    <a:pt x="858572" y="53490"/>
                  </a:cubicBezTo>
                  <a:cubicBezTo>
                    <a:pt x="869733" y="53490"/>
                    <a:pt x="877735" y="52016"/>
                    <a:pt x="889318" y="52016"/>
                  </a:cubicBezTo>
                  <a:cubicBezTo>
                    <a:pt x="901321" y="52016"/>
                    <a:pt x="909956" y="48225"/>
                    <a:pt x="923013" y="48225"/>
                  </a:cubicBezTo>
                  <a:cubicBezTo>
                    <a:pt x="934595" y="48225"/>
                    <a:pt x="952284" y="47172"/>
                    <a:pt x="948494" y="47172"/>
                  </a:cubicBezTo>
                  <a:cubicBezTo>
                    <a:pt x="952916" y="47172"/>
                    <a:pt x="935016" y="51384"/>
                    <a:pt x="923434" y="51384"/>
                  </a:cubicBezTo>
                  <a:cubicBezTo>
                    <a:pt x="911430" y="51384"/>
                    <a:pt x="904270" y="57701"/>
                    <a:pt x="899426" y="57701"/>
                  </a:cubicBezTo>
                  <a:cubicBezTo>
                    <a:pt x="904691" y="57701"/>
                    <a:pt x="923434" y="59597"/>
                    <a:pt x="910377" y="59597"/>
                  </a:cubicBezTo>
                  <a:cubicBezTo>
                    <a:pt x="897321" y="59597"/>
                    <a:pt x="883422" y="67389"/>
                    <a:pt x="874366" y="67389"/>
                  </a:cubicBezTo>
                  <a:cubicBezTo>
                    <a:pt x="865732" y="67389"/>
                    <a:pt x="852254" y="78971"/>
                    <a:pt x="840672" y="78971"/>
                  </a:cubicBezTo>
                  <a:cubicBezTo>
                    <a:pt x="829721" y="78971"/>
                    <a:pt x="834986" y="90132"/>
                    <a:pt x="824878" y="90132"/>
                  </a:cubicBezTo>
                  <a:cubicBezTo>
                    <a:pt x="815190" y="90132"/>
                    <a:pt x="819613" y="103610"/>
                    <a:pt x="806556" y="103610"/>
                  </a:cubicBezTo>
                  <a:cubicBezTo>
                    <a:pt x="794131" y="103610"/>
                    <a:pt x="790762" y="109928"/>
                    <a:pt x="780233" y="109928"/>
                  </a:cubicBezTo>
                  <a:cubicBezTo>
                    <a:pt x="769703" y="109928"/>
                    <a:pt x="761069" y="109928"/>
                    <a:pt x="755805" y="109928"/>
                  </a:cubicBezTo>
                  <a:cubicBezTo>
                    <a:pt x="760648" y="109928"/>
                    <a:pt x="782128" y="113718"/>
                    <a:pt x="776021" y="113718"/>
                  </a:cubicBezTo>
                  <a:cubicBezTo>
                    <a:pt x="782128" y="113718"/>
                    <a:pt x="770756" y="120457"/>
                    <a:pt x="759174" y="120457"/>
                  </a:cubicBezTo>
                  <a:cubicBezTo>
                    <a:pt x="747591" y="120457"/>
                    <a:pt x="739379" y="130565"/>
                    <a:pt x="729481" y="130565"/>
                  </a:cubicBezTo>
                  <a:cubicBezTo>
                    <a:pt x="718952" y="130565"/>
                    <a:pt x="718952" y="135409"/>
                    <a:pt x="710738" y="135409"/>
                  </a:cubicBezTo>
                  <a:cubicBezTo>
                    <a:pt x="702104" y="135409"/>
                    <a:pt x="685257" y="133513"/>
                    <a:pt x="679571" y="133513"/>
                  </a:cubicBezTo>
                  <a:cubicBezTo>
                    <a:pt x="685257" y="133513"/>
                    <a:pt x="680413" y="142779"/>
                    <a:pt x="673254" y="142779"/>
                  </a:cubicBezTo>
                  <a:cubicBezTo>
                    <a:pt x="679993" y="142779"/>
                    <a:pt x="656407" y="146570"/>
                    <a:pt x="643982" y="146570"/>
                  </a:cubicBezTo>
                  <a:cubicBezTo>
                    <a:pt x="630925" y="146570"/>
                    <a:pt x="627766" y="154362"/>
                    <a:pt x="622291" y="154362"/>
                  </a:cubicBezTo>
                  <a:cubicBezTo>
                    <a:pt x="627555" y="154362"/>
                    <a:pt x="606496" y="159627"/>
                    <a:pt x="597863" y="159627"/>
                  </a:cubicBezTo>
                  <a:cubicBezTo>
                    <a:pt x="589650" y="159627"/>
                    <a:pt x="582911" y="167840"/>
                    <a:pt x="574698" y="167840"/>
                  </a:cubicBezTo>
                  <a:cubicBezTo>
                    <a:pt x="566064" y="167840"/>
                    <a:pt x="561220" y="172262"/>
                    <a:pt x="556587" y="172262"/>
                  </a:cubicBezTo>
                  <a:cubicBezTo>
                    <a:pt x="561431" y="172262"/>
                    <a:pt x="565221" y="181949"/>
                    <a:pt x="560799" y="181949"/>
                  </a:cubicBezTo>
                  <a:cubicBezTo>
                    <a:pt x="565011" y="181949"/>
                    <a:pt x="558904" y="189109"/>
                    <a:pt x="553639" y="189109"/>
                  </a:cubicBezTo>
                  <a:cubicBezTo>
                    <a:pt x="558904" y="189109"/>
                    <a:pt x="540161" y="196269"/>
                    <a:pt x="549427" y="196269"/>
                  </a:cubicBezTo>
                  <a:cubicBezTo>
                    <a:pt x="559114" y="196269"/>
                    <a:pt x="566695" y="209326"/>
                    <a:pt x="561010" y="209326"/>
                  </a:cubicBezTo>
                  <a:cubicBezTo>
                    <a:pt x="566695" y="209326"/>
                    <a:pt x="569222" y="219855"/>
                    <a:pt x="565221" y="219855"/>
                  </a:cubicBezTo>
                  <a:cubicBezTo>
                    <a:pt x="568591" y="219855"/>
                    <a:pt x="569643" y="227015"/>
                    <a:pt x="564379" y="227015"/>
                  </a:cubicBezTo>
                  <a:cubicBezTo>
                    <a:pt x="569222" y="227015"/>
                    <a:pt x="583121" y="224067"/>
                    <a:pt x="576804" y="224067"/>
                  </a:cubicBezTo>
                  <a:cubicBezTo>
                    <a:pt x="582911" y="224067"/>
                    <a:pt x="579752" y="234175"/>
                    <a:pt x="573855" y="234175"/>
                  </a:cubicBezTo>
                  <a:cubicBezTo>
                    <a:pt x="580173" y="234175"/>
                    <a:pt x="586912" y="239440"/>
                    <a:pt x="596389" y="239440"/>
                  </a:cubicBezTo>
                  <a:cubicBezTo>
                    <a:pt x="605444" y="239440"/>
                    <a:pt x="601653" y="244705"/>
                    <a:pt x="612604" y="244705"/>
                  </a:cubicBezTo>
                  <a:cubicBezTo>
                    <a:pt x="622712" y="244705"/>
                    <a:pt x="646719" y="245126"/>
                    <a:pt x="656407" y="245126"/>
                  </a:cubicBezTo>
                  <a:cubicBezTo>
                    <a:pt x="666094" y="245126"/>
                    <a:pt x="686732" y="234175"/>
                    <a:pt x="696208" y="234175"/>
                  </a:cubicBezTo>
                  <a:cubicBezTo>
                    <a:pt x="706316" y="234175"/>
                    <a:pt x="706316" y="224488"/>
                    <a:pt x="721268" y="224488"/>
                  </a:cubicBezTo>
                  <a:cubicBezTo>
                    <a:pt x="737062" y="224488"/>
                    <a:pt x="751382" y="222171"/>
                    <a:pt x="743801" y="222171"/>
                  </a:cubicBezTo>
                  <a:cubicBezTo>
                    <a:pt x="750961" y="222171"/>
                    <a:pt x="756226" y="209747"/>
                    <a:pt x="750961" y="209747"/>
                  </a:cubicBezTo>
                  <a:cubicBezTo>
                    <a:pt x="756226" y="209747"/>
                    <a:pt x="761490" y="216486"/>
                    <a:pt x="757700" y="216486"/>
                  </a:cubicBezTo>
                  <a:cubicBezTo>
                    <a:pt x="761490" y="216486"/>
                    <a:pt x="775389" y="226594"/>
                    <a:pt x="769282" y="226594"/>
                  </a:cubicBezTo>
                  <a:cubicBezTo>
                    <a:pt x="776021" y="226594"/>
                    <a:pt x="772652" y="250601"/>
                    <a:pt x="789499" y="250601"/>
                  </a:cubicBezTo>
                  <a:cubicBezTo>
                    <a:pt x="806767" y="250601"/>
                    <a:pt x="823614" y="265974"/>
                    <a:pt x="815401" y="265974"/>
                  </a:cubicBezTo>
                  <a:cubicBezTo>
                    <a:pt x="824035" y="265974"/>
                    <a:pt x="835618" y="271239"/>
                    <a:pt x="831827" y="271239"/>
                  </a:cubicBezTo>
                  <a:cubicBezTo>
                    <a:pt x="835618" y="271239"/>
                    <a:pt x="823614" y="277556"/>
                    <a:pt x="819402" y="277556"/>
                  </a:cubicBezTo>
                  <a:cubicBezTo>
                    <a:pt x="823614" y="277556"/>
                    <a:pt x="833301" y="286191"/>
                    <a:pt x="829089" y="286191"/>
                  </a:cubicBezTo>
                  <a:cubicBezTo>
                    <a:pt x="833933" y="286191"/>
                    <a:pt x="815612" y="295878"/>
                    <a:pt x="829089" y="295878"/>
                  </a:cubicBezTo>
                  <a:cubicBezTo>
                    <a:pt x="843620" y="295878"/>
                    <a:pt x="858362" y="296299"/>
                    <a:pt x="869523" y="296299"/>
                  </a:cubicBezTo>
                  <a:cubicBezTo>
                    <a:pt x="879631" y="296299"/>
                    <a:pt x="884895" y="288718"/>
                    <a:pt x="879210" y="288718"/>
                  </a:cubicBezTo>
                  <a:cubicBezTo>
                    <a:pt x="884895" y="288718"/>
                    <a:pt x="883000" y="280505"/>
                    <a:pt x="892688" y="280505"/>
                  </a:cubicBezTo>
                  <a:cubicBezTo>
                    <a:pt x="902375" y="280505"/>
                    <a:pt x="915642" y="281558"/>
                    <a:pt x="923434" y="281558"/>
                  </a:cubicBezTo>
                  <a:cubicBezTo>
                    <a:pt x="930173" y="281558"/>
                    <a:pt x="945967" y="275872"/>
                    <a:pt x="939649" y="275872"/>
                  </a:cubicBezTo>
                  <a:cubicBezTo>
                    <a:pt x="945335" y="275872"/>
                    <a:pt x="950810" y="258182"/>
                    <a:pt x="959866" y="258182"/>
                  </a:cubicBezTo>
                  <a:cubicBezTo>
                    <a:pt x="968921" y="258182"/>
                    <a:pt x="968499" y="249969"/>
                    <a:pt x="968499" y="241967"/>
                  </a:cubicBezTo>
                  <a:cubicBezTo>
                    <a:pt x="976713" y="241967"/>
                    <a:pt x="961339" y="227436"/>
                    <a:pt x="974607" y="227436"/>
                  </a:cubicBezTo>
                  <a:cubicBezTo>
                    <a:pt x="987663" y="227436"/>
                    <a:pt x="992296" y="223014"/>
                    <a:pt x="1003879" y="223014"/>
                  </a:cubicBezTo>
                  <a:cubicBezTo>
                    <a:pt x="1014829" y="223014"/>
                    <a:pt x="1020094" y="218802"/>
                    <a:pt x="1030834" y="218802"/>
                  </a:cubicBezTo>
                  <a:cubicBezTo>
                    <a:pt x="1041995" y="218802"/>
                    <a:pt x="1056315" y="212063"/>
                    <a:pt x="1045154" y="212063"/>
                  </a:cubicBezTo>
                  <a:cubicBezTo>
                    <a:pt x="1035046" y="212063"/>
                    <a:pt x="1050419" y="205324"/>
                    <a:pt x="1046628" y="205324"/>
                  </a:cubicBezTo>
                  <a:cubicBezTo>
                    <a:pt x="1050419" y="205324"/>
                    <a:pt x="1046207" y="197111"/>
                    <a:pt x="1038415" y="197111"/>
                  </a:cubicBezTo>
                  <a:cubicBezTo>
                    <a:pt x="1030623" y="197111"/>
                    <a:pt x="1026833" y="190373"/>
                    <a:pt x="1019673" y="190373"/>
                  </a:cubicBezTo>
                  <a:cubicBezTo>
                    <a:pt x="1027465" y="190373"/>
                    <a:pt x="1010617" y="188898"/>
                    <a:pt x="1000930" y="188898"/>
                  </a:cubicBezTo>
                  <a:cubicBezTo>
                    <a:pt x="990401" y="188898"/>
                    <a:pt x="988926" y="182160"/>
                    <a:pt x="982820" y="182160"/>
                  </a:cubicBezTo>
                  <a:cubicBezTo>
                    <a:pt x="982820" y="175842"/>
                    <a:pt x="979029" y="164470"/>
                    <a:pt x="987663" y="164470"/>
                  </a:cubicBezTo>
                  <a:cubicBezTo>
                    <a:pt x="996719" y="164470"/>
                    <a:pt x="1009354" y="154362"/>
                    <a:pt x="1001984" y="154362"/>
                  </a:cubicBezTo>
                  <a:cubicBezTo>
                    <a:pt x="1008722" y="154362"/>
                    <a:pt x="1029781" y="147623"/>
                    <a:pt x="1024516" y="147623"/>
                  </a:cubicBezTo>
                  <a:cubicBezTo>
                    <a:pt x="1029781" y="147623"/>
                    <a:pt x="1027465" y="141305"/>
                    <a:pt x="1035677" y="141305"/>
                  </a:cubicBezTo>
                  <a:cubicBezTo>
                    <a:pt x="1044311" y="141305"/>
                    <a:pt x="1056736" y="138357"/>
                    <a:pt x="1051893" y="138357"/>
                  </a:cubicBezTo>
                  <a:cubicBezTo>
                    <a:pt x="1056736" y="138357"/>
                    <a:pt x="1065370" y="134988"/>
                    <a:pt x="1062423" y="134988"/>
                  </a:cubicBezTo>
                  <a:cubicBezTo>
                    <a:pt x="1066845" y="134988"/>
                    <a:pt x="1068740" y="130565"/>
                    <a:pt x="1084534" y="130565"/>
                  </a:cubicBezTo>
                  <a:cubicBezTo>
                    <a:pt x="1100749" y="130565"/>
                    <a:pt x="1124968" y="123405"/>
                    <a:pt x="1117597" y="123405"/>
                  </a:cubicBezTo>
                  <a:cubicBezTo>
                    <a:pt x="1123704" y="123405"/>
                    <a:pt x="1121387" y="117719"/>
                    <a:pt x="1130021" y="117719"/>
                  </a:cubicBezTo>
                  <a:cubicBezTo>
                    <a:pt x="1139708" y="117719"/>
                    <a:pt x="1133812" y="113508"/>
                    <a:pt x="1126652" y="113508"/>
                  </a:cubicBezTo>
                  <a:cubicBezTo>
                    <a:pt x="1133812" y="113508"/>
                    <a:pt x="1119913" y="106347"/>
                    <a:pt x="1128126" y="106347"/>
                  </a:cubicBezTo>
                  <a:cubicBezTo>
                    <a:pt x="1136339" y="106347"/>
                    <a:pt x="1144973" y="100030"/>
                    <a:pt x="1140130" y="100030"/>
                  </a:cubicBezTo>
                  <a:cubicBezTo>
                    <a:pt x="1144973" y="100030"/>
                    <a:pt x="1162663" y="99609"/>
                    <a:pt x="1155503" y="99609"/>
                  </a:cubicBezTo>
                  <a:cubicBezTo>
                    <a:pt x="1163716" y="99609"/>
                    <a:pt x="1155503" y="92027"/>
                    <a:pt x="1169822" y="92027"/>
                  </a:cubicBezTo>
                  <a:cubicBezTo>
                    <a:pt x="1184143" y="92027"/>
                    <a:pt x="1195304" y="93502"/>
                    <a:pt x="1208782" y="93502"/>
                  </a:cubicBezTo>
                  <a:cubicBezTo>
                    <a:pt x="1221206" y="93502"/>
                    <a:pt x="1231315" y="97292"/>
                    <a:pt x="1243319" y="97292"/>
                  </a:cubicBezTo>
                  <a:cubicBezTo>
                    <a:pt x="1254901" y="97292"/>
                    <a:pt x="1265852" y="103610"/>
                    <a:pt x="1260587" y="103610"/>
                  </a:cubicBezTo>
                  <a:cubicBezTo>
                    <a:pt x="1265852" y="103610"/>
                    <a:pt x="1263535" y="108032"/>
                    <a:pt x="1250058" y="108032"/>
                  </a:cubicBezTo>
                  <a:cubicBezTo>
                    <a:pt x="1237211" y="108032"/>
                    <a:pt x="1235105" y="110770"/>
                    <a:pt x="1230894" y="110770"/>
                  </a:cubicBezTo>
                  <a:cubicBezTo>
                    <a:pt x="1235316" y="110770"/>
                    <a:pt x="1220364" y="121931"/>
                    <a:pt x="1207940" y="121931"/>
                  </a:cubicBezTo>
                  <a:cubicBezTo>
                    <a:pt x="1195514" y="121931"/>
                    <a:pt x="1186249" y="128670"/>
                    <a:pt x="1177193" y="128670"/>
                  </a:cubicBezTo>
                  <a:cubicBezTo>
                    <a:pt x="1167717" y="128670"/>
                    <a:pt x="1168138" y="135409"/>
                    <a:pt x="1158872" y="135409"/>
                  </a:cubicBezTo>
                  <a:cubicBezTo>
                    <a:pt x="1149817" y="135409"/>
                    <a:pt x="1144973" y="140252"/>
                    <a:pt x="1139287" y="140252"/>
                  </a:cubicBezTo>
                  <a:cubicBezTo>
                    <a:pt x="1146026" y="140252"/>
                    <a:pt x="1125388" y="140674"/>
                    <a:pt x="1119492" y="140674"/>
                  </a:cubicBezTo>
                  <a:cubicBezTo>
                    <a:pt x="1125178" y="140674"/>
                    <a:pt x="1106436" y="152677"/>
                    <a:pt x="1117597" y="152677"/>
                  </a:cubicBezTo>
                  <a:cubicBezTo>
                    <a:pt x="1117597" y="163207"/>
                    <a:pt x="1129179" y="164259"/>
                    <a:pt x="1129179" y="172262"/>
                  </a:cubicBezTo>
                  <a:cubicBezTo>
                    <a:pt x="1129179" y="180475"/>
                    <a:pt x="1124336" y="187635"/>
                    <a:pt x="1119071" y="187635"/>
                  </a:cubicBezTo>
                  <a:cubicBezTo>
                    <a:pt x="1124968" y="187635"/>
                    <a:pt x="1091694" y="196690"/>
                    <a:pt x="1101381" y="196690"/>
                  </a:cubicBezTo>
                  <a:cubicBezTo>
                    <a:pt x="1111910" y="196690"/>
                    <a:pt x="1136971" y="194374"/>
                    <a:pt x="1129811" y="194374"/>
                  </a:cubicBezTo>
                  <a:cubicBezTo>
                    <a:pt x="1136971" y="194374"/>
                    <a:pt x="1150449" y="196690"/>
                    <a:pt x="1147500" y="196690"/>
                  </a:cubicBezTo>
                  <a:cubicBezTo>
                    <a:pt x="1150238" y="196690"/>
                    <a:pt x="1164769" y="200481"/>
                    <a:pt x="1159925" y="200481"/>
                  </a:cubicBezTo>
                  <a:cubicBezTo>
                    <a:pt x="1163716" y="200481"/>
                    <a:pt x="1160346" y="202376"/>
                    <a:pt x="1168138" y="202376"/>
                  </a:cubicBezTo>
                  <a:cubicBezTo>
                    <a:pt x="1174877" y="202376"/>
                    <a:pt x="1194462" y="202376"/>
                    <a:pt x="1188354" y="202376"/>
                  </a:cubicBezTo>
                  <a:cubicBezTo>
                    <a:pt x="1193619" y="202376"/>
                    <a:pt x="1203307" y="200060"/>
                    <a:pt x="1220575" y="200060"/>
                  </a:cubicBezTo>
                  <a:cubicBezTo>
                    <a:pt x="1237843" y="200060"/>
                    <a:pt x="1261850" y="196690"/>
                    <a:pt x="1273012" y="196690"/>
                  </a:cubicBezTo>
                  <a:cubicBezTo>
                    <a:pt x="1284594" y="196690"/>
                    <a:pt x="1298493" y="195216"/>
                    <a:pt x="1306705" y="195216"/>
                  </a:cubicBezTo>
                  <a:cubicBezTo>
                    <a:pt x="1313866" y="195216"/>
                    <a:pt x="1327343" y="192268"/>
                    <a:pt x="1324816" y="192268"/>
                  </a:cubicBezTo>
                  <a:cubicBezTo>
                    <a:pt x="1328186" y="192268"/>
                    <a:pt x="1346507" y="193742"/>
                    <a:pt x="1340190" y="193742"/>
                  </a:cubicBezTo>
                  <a:cubicBezTo>
                    <a:pt x="1348823" y="193742"/>
                    <a:pt x="1364196" y="193321"/>
                    <a:pt x="1361249" y="193321"/>
                  </a:cubicBezTo>
                  <a:cubicBezTo>
                    <a:pt x="1363776" y="193321"/>
                    <a:pt x="1376200" y="192268"/>
                    <a:pt x="1373252" y="192268"/>
                  </a:cubicBezTo>
                  <a:cubicBezTo>
                    <a:pt x="1376621" y="192268"/>
                    <a:pt x="1378938" y="197111"/>
                    <a:pt x="1373252" y="197111"/>
                  </a:cubicBezTo>
                  <a:cubicBezTo>
                    <a:pt x="1378938" y="197111"/>
                    <a:pt x="1390520" y="198164"/>
                    <a:pt x="1387151" y="198164"/>
                  </a:cubicBezTo>
                  <a:cubicBezTo>
                    <a:pt x="1390941" y="198164"/>
                    <a:pt x="1402103" y="201955"/>
                    <a:pt x="1397680" y="201955"/>
                  </a:cubicBezTo>
                  <a:cubicBezTo>
                    <a:pt x="1402524" y="201955"/>
                    <a:pt x="1426531" y="202376"/>
                    <a:pt x="1421688" y="202376"/>
                  </a:cubicBezTo>
                  <a:cubicBezTo>
                    <a:pt x="1425899" y="202376"/>
                    <a:pt x="1433270" y="206588"/>
                    <a:pt x="1426952" y="206588"/>
                  </a:cubicBezTo>
                  <a:cubicBezTo>
                    <a:pt x="1433270" y="206588"/>
                    <a:pt x="1410105" y="204271"/>
                    <a:pt x="1405472" y="204271"/>
                  </a:cubicBezTo>
                  <a:cubicBezTo>
                    <a:pt x="1410316" y="204271"/>
                    <a:pt x="1391573" y="206167"/>
                    <a:pt x="1389046" y="206167"/>
                  </a:cubicBezTo>
                  <a:cubicBezTo>
                    <a:pt x="1390941" y="206167"/>
                    <a:pt x="1380412" y="207641"/>
                    <a:pt x="1377885" y="207641"/>
                  </a:cubicBezTo>
                  <a:cubicBezTo>
                    <a:pt x="1380201" y="207641"/>
                    <a:pt x="1361038" y="207220"/>
                    <a:pt x="1358300" y="207220"/>
                  </a:cubicBezTo>
                  <a:cubicBezTo>
                    <a:pt x="1361038" y="207220"/>
                    <a:pt x="1358300" y="216275"/>
                    <a:pt x="1353456" y="216275"/>
                  </a:cubicBezTo>
                  <a:cubicBezTo>
                    <a:pt x="1357668" y="216275"/>
                    <a:pt x="1333872" y="213327"/>
                    <a:pt x="1327975" y="213327"/>
                  </a:cubicBezTo>
                  <a:cubicBezTo>
                    <a:pt x="1315550" y="213327"/>
                    <a:pt x="1286700" y="210379"/>
                    <a:pt x="1275117" y="210379"/>
                  </a:cubicBezTo>
                  <a:cubicBezTo>
                    <a:pt x="1263956" y="210379"/>
                    <a:pt x="1249215" y="211853"/>
                    <a:pt x="1237632" y="211853"/>
                  </a:cubicBezTo>
                  <a:cubicBezTo>
                    <a:pt x="1226050" y="211853"/>
                    <a:pt x="1212573" y="216064"/>
                    <a:pt x="1205412" y="216064"/>
                  </a:cubicBezTo>
                  <a:cubicBezTo>
                    <a:pt x="1197620" y="216064"/>
                    <a:pt x="1190039" y="220908"/>
                    <a:pt x="1188144" y="220908"/>
                  </a:cubicBezTo>
                  <a:cubicBezTo>
                    <a:pt x="1189618" y="220908"/>
                    <a:pt x="1200569" y="225120"/>
                    <a:pt x="1197831" y="225120"/>
                  </a:cubicBezTo>
                  <a:cubicBezTo>
                    <a:pt x="1201201" y="225120"/>
                    <a:pt x="1192146" y="228489"/>
                    <a:pt x="1184985" y="228489"/>
                  </a:cubicBezTo>
                  <a:cubicBezTo>
                    <a:pt x="1192146" y="228489"/>
                    <a:pt x="1166664" y="230384"/>
                    <a:pt x="1157188" y="230384"/>
                  </a:cubicBezTo>
                  <a:cubicBezTo>
                    <a:pt x="1147922" y="230384"/>
                    <a:pt x="1148553" y="233333"/>
                    <a:pt x="1142235" y="233333"/>
                  </a:cubicBezTo>
                  <a:cubicBezTo>
                    <a:pt x="1147922" y="233333"/>
                    <a:pt x="1154661" y="240072"/>
                    <a:pt x="1151923" y="240072"/>
                  </a:cubicBezTo>
                  <a:cubicBezTo>
                    <a:pt x="1154871" y="240072"/>
                    <a:pt x="1160978" y="241967"/>
                    <a:pt x="1156766" y="241967"/>
                  </a:cubicBezTo>
                  <a:cubicBezTo>
                    <a:pt x="1162031" y="241967"/>
                    <a:pt x="1159715" y="236281"/>
                    <a:pt x="1167927" y="236281"/>
                  </a:cubicBezTo>
                  <a:cubicBezTo>
                    <a:pt x="1176561" y="236281"/>
                    <a:pt x="1200990" y="231016"/>
                    <a:pt x="1194883" y="231016"/>
                  </a:cubicBezTo>
                  <a:cubicBezTo>
                    <a:pt x="1201201" y="231016"/>
                    <a:pt x="1213204" y="231437"/>
                    <a:pt x="1208782" y="231437"/>
                  </a:cubicBezTo>
                  <a:cubicBezTo>
                    <a:pt x="1213625" y="231437"/>
                    <a:pt x="1231315" y="236281"/>
                    <a:pt x="1224155" y="236281"/>
                  </a:cubicBezTo>
                  <a:cubicBezTo>
                    <a:pt x="1231947" y="236281"/>
                    <a:pt x="1233842" y="243862"/>
                    <a:pt x="1230472" y="243862"/>
                  </a:cubicBezTo>
                  <a:cubicBezTo>
                    <a:pt x="1233842" y="243862"/>
                    <a:pt x="1234684" y="254392"/>
                    <a:pt x="1230894" y="254392"/>
                  </a:cubicBezTo>
                  <a:cubicBezTo>
                    <a:pt x="1234684" y="254392"/>
                    <a:pt x="1224155" y="259656"/>
                    <a:pt x="1216363" y="259656"/>
                  </a:cubicBezTo>
                  <a:cubicBezTo>
                    <a:pt x="1208571" y="259656"/>
                    <a:pt x="1208150" y="259235"/>
                    <a:pt x="1199516" y="259235"/>
                  </a:cubicBezTo>
                  <a:cubicBezTo>
                    <a:pt x="1191303" y="259235"/>
                    <a:pt x="1182248" y="250601"/>
                    <a:pt x="1177825" y="250601"/>
                  </a:cubicBezTo>
                  <a:cubicBezTo>
                    <a:pt x="1182037" y="250601"/>
                    <a:pt x="1172560" y="245757"/>
                    <a:pt x="1169191" y="245757"/>
                  </a:cubicBezTo>
                  <a:cubicBezTo>
                    <a:pt x="1172560" y="245757"/>
                    <a:pt x="1160136" y="245757"/>
                    <a:pt x="1153397" y="245757"/>
                  </a:cubicBezTo>
                  <a:cubicBezTo>
                    <a:pt x="1160557" y="245757"/>
                    <a:pt x="1141393" y="250601"/>
                    <a:pt x="1135075" y="250601"/>
                  </a:cubicBezTo>
                  <a:cubicBezTo>
                    <a:pt x="1141393" y="250601"/>
                    <a:pt x="1131706" y="259235"/>
                    <a:pt x="1125388" y="259235"/>
                  </a:cubicBezTo>
                  <a:cubicBezTo>
                    <a:pt x="1131074" y="259235"/>
                    <a:pt x="1114438" y="260288"/>
                    <a:pt x="1114438" y="267448"/>
                  </a:cubicBezTo>
                  <a:cubicBezTo>
                    <a:pt x="1122019" y="267448"/>
                    <a:pt x="1118649" y="286612"/>
                    <a:pt x="1114859" y="286612"/>
                  </a:cubicBezTo>
                  <a:cubicBezTo>
                    <a:pt x="1118649" y="286612"/>
                    <a:pt x="1113385" y="298615"/>
                    <a:pt x="1103909" y="298615"/>
                  </a:cubicBezTo>
                  <a:cubicBezTo>
                    <a:pt x="1093800" y="298615"/>
                    <a:pt x="1087483" y="302406"/>
                    <a:pt x="1079901" y="302406"/>
                  </a:cubicBezTo>
                  <a:cubicBezTo>
                    <a:pt x="1071267" y="302406"/>
                    <a:pt x="1075057" y="310198"/>
                    <a:pt x="1066424" y="310198"/>
                  </a:cubicBezTo>
                  <a:cubicBezTo>
                    <a:pt x="1058842" y="310198"/>
                    <a:pt x="1042416" y="313988"/>
                    <a:pt x="1035256" y="313988"/>
                  </a:cubicBezTo>
                  <a:cubicBezTo>
                    <a:pt x="1041574" y="313988"/>
                    <a:pt x="1026201" y="305354"/>
                    <a:pt x="1016514" y="305354"/>
                  </a:cubicBezTo>
                  <a:cubicBezTo>
                    <a:pt x="1006827" y="305354"/>
                    <a:pt x="986821" y="307250"/>
                    <a:pt x="974607" y="307250"/>
                  </a:cubicBezTo>
                  <a:cubicBezTo>
                    <a:pt x="961550" y="307250"/>
                    <a:pt x="950600" y="315884"/>
                    <a:pt x="941965" y="315884"/>
                  </a:cubicBezTo>
                  <a:cubicBezTo>
                    <a:pt x="933331" y="315884"/>
                    <a:pt x="913747" y="320727"/>
                    <a:pt x="901743" y="320727"/>
                  </a:cubicBezTo>
                  <a:cubicBezTo>
                    <a:pt x="888686" y="320727"/>
                    <a:pt x="884053" y="323044"/>
                    <a:pt x="872471" y="323044"/>
                  </a:cubicBezTo>
                  <a:cubicBezTo>
                    <a:pt x="861520" y="323044"/>
                    <a:pt x="863836" y="319253"/>
                    <a:pt x="855624" y="319253"/>
                  </a:cubicBezTo>
                  <a:cubicBezTo>
                    <a:pt x="847411" y="319253"/>
                    <a:pt x="851202" y="316305"/>
                    <a:pt x="845515" y="316305"/>
                  </a:cubicBezTo>
                  <a:cubicBezTo>
                    <a:pt x="850780" y="316305"/>
                    <a:pt x="861309" y="312514"/>
                    <a:pt x="855624" y="312514"/>
                  </a:cubicBezTo>
                  <a:cubicBezTo>
                    <a:pt x="860468" y="312514"/>
                    <a:pt x="846358" y="310198"/>
                    <a:pt x="840672" y="310198"/>
                  </a:cubicBezTo>
                  <a:cubicBezTo>
                    <a:pt x="846358" y="310198"/>
                    <a:pt x="832459" y="314410"/>
                    <a:pt x="825299" y="314410"/>
                  </a:cubicBezTo>
                  <a:cubicBezTo>
                    <a:pt x="832459" y="314410"/>
                    <a:pt x="811400" y="317358"/>
                    <a:pt x="803187" y="317358"/>
                  </a:cubicBezTo>
                  <a:cubicBezTo>
                    <a:pt x="810768" y="317358"/>
                    <a:pt x="788867" y="322623"/>
                    <a:pt x="779180" y="322623"/>
                  </a:cubicBezTo>
                  <a:cubicBezTo>
                    <a:pt x="770125" y="322623"/>
                    <a:pt x="768650" y="322623"/>
                    <a:pt x="761911" y="322623"/>
                  </a:cubicBezTo>
                  <a:cubicBezTo>
                    <a:pt x="768650" y="322623"/>
                    <a:pt x="773494" y="315041"/>
                    <a:pt x="770546" y="315041"/>
                  </a:cubicBezTo>
                  <a:cubicBezTo>
                    <a:pt x="773494" y="315041"/>
                    <a:pt x="756647" y="318411"/>
                    <a:pt x="748012" y="318411"/>
                  </a:cubicBezTo>
                  <a:cubicBezTo>
                    <a:pt x="738536" y="318411"/>
                    <a:pt x="735588" y="312093"/>
                    <a:pt x="730323" y="312093"/>
                  </a:cubicBezTo>
                  <a:cubicBezTo>
                    <a:pt x="736219" y="312093"/>
                    <a:pt x="731376" y="304512"/>
                    <a:pt x="724216" y="304512"/>
                  </a:cubicBezTo>
                  <a:cubicBezTo>
                    <a:pt x="716424" y="304512"/>
                    <a:pt x="709264" y="299247"/>
                    <a:pt x="717056" y="299247"/>
                  </a:cubicBezTo>
                  <a:cubicBezTo>
                    <a:pt x="723795" y="299247"/>
                    <a:pt x="746749" y="304933"/>
                    <a:pt x="740642" y="304933"/>
                  </a:cubicBezTo>
                  <a:cubicBezTo>
                    <a:pt x="747381" y="304933"/>
                    <a:pt x="759384" y="308302"/>
                    <a:pt x="754120" y="308302"/>
                  </a:cubicBezTo>
                  <a:cubicBezTo>
                    <a:pt x="759384" y="308302"/>
                    <a:pt x="764649" y="294825"/>
                    <a:pt x="758963" y="294825"/>
                  </a:cubicBezTo>
                  <a:cubicBezTo>
                    <a:pt x="764228" y="294825"/>
                    <a:pt x="743169" y="292929"/>
                    <a:pt x="734956" y="292929"/>
                  </a:cubicBezTo>
                  <a:cubicBezTo>
                    <a:pt x="726743" y="292929"/>
                    <a:pt x="740642" y="287244"/>
                    <a:pt x="735378" y="287244"/>
                  </a:cubicBezTo>
                  <a:cubicBezTo>
                    <a:pt x="741274" y="287244"/>
                    <a:pt x="730534" y="278609"/>
                    <a:pt x="741274" y="278609"/>
                  </a:cubicBezTo>
                  <a:cubicBezTo>
                    <a:pt x="750961" y="278609"/>
                    <a:pt x="762754" y="279662"/>
                    <a:pt x="757700" y="279662"/>
                  </a:cubicBezTo>
                  <a:cubicBezTo>
                    <a:pt x="763386" y="279662"/>
                    <a:pt x="765281" y="273976"/>
                    <a:pt x="758542" y="273976"/>
                  </a:cubicBezTo>
                  <a:cubicBezTo>
                    <a:pt x="765281" y="273976"/>
                    <a:pt x="744222" y="270607"/>
                    <a:pt x="740221" y="270607"/>
                  </a:cubicBezTo>
                  <a:cubicBezTo>
                    <a:pt x="743590" y="270607"/>
                    <a:pt x="750329" y="256708"/>
                    <a:pt x="746960" y="256708"/>
                  </a:cubicBezTo>
                  <a:cubicBezTo>
                    <a:pt x="750750" y="256708"/>
                    <a:pt x="747381" y="249969"/>
                    <a:pt x="742538" y="249969"/>
                  </a:cubicBezTo>
                  <a:cubicBezTo>
                    <a:pt x="747802" y="249969"/>
                    <a:pt x="730113" y="256076"/>
                    <a:pt x="724848" y="256076"/>
                  </a:cubicBezTo>
                  <a:cubicBezTo>
                    <a:pt x="730113" y="256076"/>
                    <a:pt x="713265" y="262394"/>
                    <a:pt x="701894" y="262394"/>
                  </a:cubicBezTo>
                  <a:cubicBezTo>
                    <a:pt x="690311" y="262394"/>
                    <a:pt x="679782" y="265342"/>
                    <a:pt x="673043" y="265342"/>
                  </a:cubicBezTo>
                  <a:cubicBezTo>
                    <a:pt x="679782" y="265342"/>
                    <a:pt x="667778" y="280294"/>
                    <a:pt x="662935" y="280294"/>
                  </a:cubicBezTo>
                  <a:cubicBezTo>
                    <a:pt x="668200" y="280294"/>
                    <a:pt x="673885" y="299037"/>
                    <a:pt x="666304" y="299037"/>
                  </a:cubicBezTo>
                  <a:cubicBezTo>
                    <a:pt x="673043" y="299037"/>
                    <a:pt x="675991" y="307671"/>
                    <a:pt x="670095" y="307671"/>
                  </a:cubicBezTo>
                  <a:cubicBezTo>
                    <a:pt x="675360" y="307671"/>
                    <a:pt x="675780" y="320095"/>
                    <a:pt x="671990" y="320095"/>
                  </a:cubicBezTo>
                  <a:cubicBezTo>
                    <a:pt x="676412" y="320095"/>
                    <a:pt x="673885" y="320517"/>
                    <a:pt x="666725" y="327255"/>
                  </a:cubicBezTo>
                  <a:cubicBezTo>
                    <a:pt x="656617" y="327255"/>
                    <a:pt x="645245" y="333363"/>
                    <a:pt x="634084" y="333363"/>
                  </a:cubicBezTo>
                  <a:cubicBezTo>
                    <a:pt x="623976" y="333363"/>
                    <a:pt x="610498" y="336311"/>
                    <a:pt x="600390" y="336311"/>
                  </a:cubicBezTo>
                  <a:cubicBezTo>
                    <a:pt x="590281" y="336311"/>
                    <a:pt x="580805" y="341576"/>
                    <a:pt x="573013" y="341576"/>
                  </a:cubicBezTo>
                  <a:cubicBezTo>
                    <a:pt x="565853" y="341576"/>
                    <a:pt x="548584" y="347261"/>
                    <a:pt x="539529" y="347261"/>
                  </a:cubicBezTo>
                  <a:cubicBezTo>
                    <a:pt x="548164" y="347261"/>
                    <a:pt x="534265" y="363687"/>
                    <a:pt x="528368" y="363687"/>
                  </a:cubicBezTo>
                  <a:cubicBezTo>
                    <a:pt x="534686" y="363687"/>
                    <a:pt x="507309" y="381377"/>
                    <a:pt x="494674" y="381377"/>
                  </a:cubicBezTo>
                  <a:cubicBezTo>
                    <a:pt x="482249" y="381377"/>
                    <a:pt x="467297" y="393380"/>
                    <a:pt x="460137" y="393380"/>
                  </a:cubicBezTo>
                  <a:cubicBezTo>
                    <a:pt x="467297" y="393380"/>
                    <a:pt x="437604" y="399066"/>
                    <a:pt x="426654" y="399066"/>
                  </a:cubicBezTo>
                  <a:cubicBezTo>
                    <a:pt x="418862" y="407279"/>
                    <a:pt x="422863" y="416756"/>
                    <a:pt x="416124" y="416756"/>
                  </a:cubicBezTo>
                  <a:cubicBezTo>
                    <a:pt x="423284" y="416756"/>
                    <a:pt x="397803" y="424337"/>
                    <a:pt x="387695" y="424337"/>
                  </a:cubicBezTo>
                  <a:cubicBezTo>
                    <a:pt x="376744" y="424337"/>
                    <a:pt x="367899" y="435498"/>
                    <a:pt x="364109" y="435498"/>
                  </a:cubicBezTo>
                  <a:cubicBezTo>
                    <a:pt x="368531" y="435498"/>
                    <a:pt x="342628" y="438868"/>
                    <a:pt x="336732" y="438868"/>
                  </a:cubicBezTo>
                  <a:cubicBezTo>
                    <a:pt x="341576" y="438868"/>
                    <a:pt x="325781" y="431708"/>
                    <a:pt x="314199" y="431708"/>
                  </a:cubicBezTo>
                  <a:cubicBezTo>
                    <a:pt x="303248" y="431708"/>
                    <a:pt x="303670" y="435077"/>
                    <a:pt x="298405" y="435077"/>
                  </a:cubicBezTo>
                  <a:cubicBezTo>
                    <a:pt x="303248" y="435077"/>
                    <a:pt x="313357" y="445607"/>
                    <a:pt x="308513" y="445607"/>
                  </a:cubicBezTo>
                  <a:cubicBezTo>
                    <a:pt x="313778" y="445607"/>
                    <a:pt x="311462" y="454241"/>
                    <a:pt x="300300" y="454241"/>
                  </a:cubicBezTo>
                  <a:cubicBezTo>
                    <a:pt x="288718" y="454241"/>
                    <a:pt x="276293" y="456557"/>
                    <a:pt x="271028" y="456557"/>
                  </a:cubicBezTo>
                  <a:cubicBezTo>
                    <a:pt x="277346" y="456557"/>
                    <a:pt x="261973" y="451714"/>
                    <a:pt x="257129" y="451714"/>
                  </a:cubicBezTo>
                  <a:cubicBezTo>
                    <a:pt x="261973" y="451714"/>
                    <a:pt x="240282" y="455504"/>
                    <a:pt x="231227" y="455504"/>
                  </a:cubicBezTo>
                  <a:cubicBezTo>
                    <a:pt x="221540" y="455504"/>
                    <a:pt x="203850" y="460769"/>
                    <a:pt x="198586" y="460769"/>
                  </a:cubicBezTo>
                  <a:cubicBezTo>
                    <a:pt x="203850" y="460769"/>
                    <a:pt x="202376" y="468350"/>
                    <a:pt x="198164" y="468350"/>
                  </a:cubicBezTo>
                  <a:cubicBezTo>
                    <a:pt x="203008" y="468350"/>
                    <a:pt x="206799" y="475089"/>
                    <a:pt x="201955" y="475089"/>
                  </a:cubicBezTo>
                  <a:cubicBezTo>
                    <a:pt x="206377" y="475089"/>
                    <a:pt x="202797" y="478037"/>
                    <a:pt x="212906" y="478037"/>
                  </a:cubicBezTo>
                  <a:cubicBezTo>
                    <a:pt x="222593" y="478037"/>
                    <a:pt x="221119" y="477616"/>
                    <a:pt x="232491" y="477616"/>
                  </a:cubicBezTo>
                  <a:cubicBezTo>
                    <a:pt x="244494" y="477616"/>
                    <a:pt x="252286" y="483513"/>
                    <a:pt x="261762" y="483513"/>
                  </a:cubicBezTo>
                  <a:cubicBezTo>
                    <a:pt x="270818" y="483513"/>
                    <a:pt x="268501" y="491094"/>
                    <a:pt x="279031" y="491094"/>
                  </a:cubicBezTo>
                  <a:cubicBezTo>
                    <a:pt x="289560" y="491094"/>
                    <a:pt x="286191" y="504150"/>
                    <a:pt x="300090" y="504150"/>
                  </a:cubicBezTo>
                  <a:cubicBezTo>
                    <a:pt x="312936" y="504150"/>
                    <a:pt x="319885" y="511942"/>
                    <a:pt x="313988" y="511942"/>
                  </a:cubicBezTo>
                  <a:cubicBezTo>
                    <a:pt x="319885" y="511942"/>
                    <a:pt x="313568" y="526894"/>
                    <a:pt x="313568" y="534054"/>
                  </a:cubicBezTo>
                  <a:cubicBezTo>
                    <a:pt x="313568" y="540793"/>
                    <a:pt x="306407" y="568591"/>
                    <a:pt x="300510" y="568591"/>
                  </a:cubicBezTo>
                  <a:cubicBezTo>
                    <a:pt x="305354" y="568591"/>
                    <a:pt x="287454" y="577646"/>
                    <a:pt x="278820" y="577646"/>
                  </a:cubicBezTo>
                  <a:cubicBezTo>
                    <a:pt x="270607" y="577646"/>
                    <a:pt x="260499" y="575329"/>
                    <a:pt x="251865" y="575329"/>
                  </a:cubicBezTo>
                  <a:cubicBezTo>
                    <a:pt x="243231" y="575329"/>
                    <a:pt x="204693" y="577646"/>
                    <a:pt x="185950" y="577646"/>
                  </a:cubicBezTo>
                  <a:cubicBezTo>
                    <a:pt x="166787" y="577646"/>
                    <a:pt x="149939" y="576593"/>
                    <a:pt x="135619" y="576593"/>
                  </a:cubicBezTo>
                  <a:cubicBezTo>
                    <a:pt x="120667" y="576593"/>
                    <a:pt x="105295" y="578909"/>
                    <a:pt x="98135" y="578909"/>
                  </a:cubicBezTo>
                  <a:cubicBezTo>
                    <a:pt x="105295" y="578909"/>
                    <a:pt x="89922" y="578067"/>
                    <a:pt x="77497" y="578067"/>
                  </a:cubicBezTo>
                  <a:cubicBezTo>
                    <a:pt x="65493" y="578067"/>
                    <a:pt x="57702" y="585648"/>
                    <a:pt x="51594" y="585648"/>
                  </a:cubicBezTo>
                  <a:cubicBezTo>
                    <a:pt x="58755" y="585648"/>
                    <a:pt x="31799" y="591334"/>
                    <a:pt x="26534" y="591334"/>
                  </a:cubicBezTo>
                  <a:cubicBezTo>
                    <a:pt x="32220" y="591334"/>
                    <a:pt x="28851" y="599547"/>
                    <a:pt x="22112" y="599547"/>
                  </a:cubicBezTo>
                  <a:cubicBezTo>
                    <a:pt x="29272" y="599547"/>
                    <a:pt x="35590" y="617868"/>
                    <a:pt x="30746" y="617868"/>
                  </a:cubicBezTo>
                  <a:cubicBezTo>
                    <a:pt x="35590" y="617868"/>
                    <a:pt x="38959" y="635558"/>
                    <a:pt x="33063" y="635558"/>
                  </a:cubicBezTo>
                  <a:cubicBezTo>
                    <a:pt x="38748" y="635558"/>
                    <a:pt x="28851" y="640401"/>
                    <a:pt x="28851" y="652826"/>
                  </a:cubicBezTo>
                  <a:cubicBezTo>
                    <a:pt x="22954" y="664409"/>
                    <a:pt x="21691" y="675359"/>
                    <a:pt x="15794" y="675359"/>
                  </a:cubicBezTo>
                  <a:cubicBezTo>
                    <a:pt x="21059" y="675359"/>
                    <a:pt x="4212" y="696418"/>
                    <a:pt x="0" y="696418"/>
                  </a:cubicBezTo>
                  <a:cubicBezTo>
                    <a:pt x="4212" y="696418"/>
                    <a:pt x="22954" y="706526"/>
                    <a:pt x="16847" y="706526"/>
                  </a:cubicBezTo>
                  <a:cubicBezTo>
                    <a:pt x="23586" y="706526"/>
                    <a:pt x="20217" y="716214"/>
                    <a:pt x="20217" y="727164"/>
                  </a:cubicBezTo>
                  <a:cubicBezTo>
                    <a:pt x="20217" y="737694"/>
                    <a:pt x="27377" y="740642"/>
                    <a:pt x="36432" y="740642"/>
                  </a:cubicBezTo>
                  <a:cubicBezTo>
                    <a:pt x="45066" y="740642"/>
                    <a:pt x="39380" y="743590"/>
                    <a:pt x="52226" y="743590"/>
                  </a:cubicBezTo>
                  <a:cubicBezTo>
                    <a:pt x="64651" y="743590"/>
                    <a:pt x="83814" y="733482"/>
                    <a:pt x="77707" y="733482"/>
                  </a:cubicBezTo>
                  <a:cubicBezTo>
                    <a:pt x="84025" y="733482"/>
                    <a:pt x="108454" y="740221"/>
                    <a:pt x="99819" y="740221"/>
                  </a:cubicBezTo>
                  <a:cubicBezTo>
                    <a:pt x="108032" y="740221"/>
                    <a:pt x="111823" y="760437"/>
                    <a:pt x="120878" y="760437"/>
                  </a:cubicBezTo>
                  <a:cubicBezTo>
                    <a:pt x="130565" y="760437"/>
                    <a:pt x="133303" y="767176"/>
                    <a:pt x="141937" y="758963"/>
                  </a:cubicBezTo>
                  <a:cubicBezTo>
                    <a:pt x="152045" y="758963"/>
                    <a:pt x="160680" y="756647"/>
                    <a:pt x="165102" y="747802"/>
                  </a:cubicBezTo>
                  <a:cubicBezTo>
                    <a:pt x="174579" y="747802"/>
                    <a:pt x="178580" y="742958"/>
                    <a:pt x="190583" y="742958"/>
                  </a:cubicBezTo>
                  <a:cubicBezTo>
                    <a:pt x="202587" y="742958"/>
                    <a:pt x="216907" y="739589"/>
                    <a:pt x="226594" y="739589"/>
                  </a:cubicBezTo>
                  <a:cubicBezTo>
                    <a:pt x="235649" y="739589"/>
                    <a:pt x="255445" y="739168"/>
                    <a:pt x="249127" y="739168"/>
                  </a:cubicBezTo>
                  <a:cubicBezTo>
                    <a:pt x="255234" y="739168"/>
                    <a:pt x="267448" y="737272"/>
                    <a:pt x="260078" y="737272"/>
                  </a:cubicBezTo>
                  <a:cubicBezTo>
                    <a:pt x="267238" y="737272"/>
                    <a:pt x="284085" y="730534"/>
                    <a:pt x="273977" y="730534"/>
                  </a:cubicBezTo>
                  <a:cubicBezTo>
                    <a:pt x="284085" y="730534"/>
                    <a:pt x="283032" y="716214"/>
                    <a:pt x="297563" y="716214"/>
                  </a:cubicBezTo>
                  <a:cubicBezTo>
                    <a:pt x="311462" y="716214"/>
                    <a:pt x="316726" y="697471"/>
                    <a:pt x="325992" y="697471"/>
                  </a:cubicBezTo>
                  <a:cubicBezTo>
                    <a:pt x="336100" y="697471"/>
                    <a:pt x="355264" y="689258"/>
                    <a:pt x="348104" y="689258"/>
                  </a:cubicBezTo>
                  <a:cubicBezTo>
                    <a:pt x="355264" y="689258"/>
                    <a:pt x="347683" y="675359"/>
                    <a:pt x="338417" y="675359"/>
                  </a:cubicBezTo>
                  <a:cubicBezTo>
                    <a:pt x="347051" y="675359"/>
                    <a:pt x="336522" y="666304"/>
                    <a:pt x="347472" y="655564"/>
                  </a:cubicBezTo>
                  <a:cubicBezTo>
                    <a:pt x="358002" y="644613"/>
                    <a:pt x="360529" y="645877"/>
                    <a:pt x="369163" y="636821"/>
                  </a:cubicBezTo>
                  <a:cubicBezTo>
                    <a:pt x="378640" y="627766"/>
                    <a:pt x="378218" y="626292"/>
                    <a:pt x="395486" y="626292"/>
                  </a:cubicBezTo>
                  <a:cubicBezTo>
                    <a:pt x="412334" y="626292"/>
                    <a:pt x="411912" y="620606"/>
                    <a:pt x="427707" y="620606"/>
                  </a:cubicBezTo>
                  <a:cubicBezTo>
                    <a:pt x="444554" y="620606"/>
                    <a:pt x="466245" y="604391"/>
                    <a:pt x="461822" y="604391"/>
                  </a:cubicBezTo>
                  <a:cubicBezTo>
                    <a:pt x="466245" y="604391"/>
                    <a:pt x="471930" y="587965"/>
                    <a:pt x="466245" y="587965"/>
                  </a:cubicBezTo>
                  <a:cubicBezTo>
                    <a:pt x="471509" y="587965"/>
                    <a:pt x="468140" y="569854"/>
                    <a:pt x="480143" y="569854"/>
                  </a:cubicBezTo>
                  <a:cubicBezTo>
                    <a:pt x="491726" y="569854"/>
                    <a:pt x="513837" y="566485"/>
                    <a:pt x="529211" y="566485"/>
                  </a:cubicBezTo>
                  <a:cubicBezTo>
                    <a:pt x="544584" y="566485"/>
                    <a:pt x="546479" y="570907"/>
                    <a:pt x="556587" y="570907"/>
                  </a:cubicBezTo>
                  <a:cubicBezTo>
                    <a:pt x="565643" y="570907"/>
                    <a:pt x="576804" y="572381"/>
                    <a:pt x="588175" y="572381"/>
                  </a:cubicBezTo>
                  <a:cubicBezTo>
                    <a:pt x="599758" y="572381"/>
                    <a:pt x="599337" y="559325"/>
                    <a:pt x="613657" y="559325"/>
                  </a:cubicBezTo>
                  <a:cubicBezTo>
                    <a:pt x="627134" y="559325"/>
                    <a:pt x="630504" y="553428"/>
                    <a:pt x="641454" y="553428"/>
                  </a:cubicBezTo>
                  <a:cubicBezTo>
                    <a:pt x="653037" y="553428"/>
                    <a:pt x="658723" y="539529"/>
                    <a:pt x="668831" y="539529"/>
                  </a:cubicBezTo>
                  <a:cubicBezTo>
                    <a:pt x="678518" y="539529"/>
                    <a:pt x="687995" y="542478"/>
                    <a:pt x="696208" y="542478"/>
                  </a:cubicBezTo>
                  <a:cubicBezTo>
                    <a:pt x="704421" y="542478"/>
                    <a:pt x="716846" y="537213"/>
                    <a:pt x="721268" y="546268"/>
                  </a:cubicBezTo>
                  <a:cubicBezTo>
                    <a:pt x="728849" y="553849"/>
                    <a:pt x="724216" y="559114"/>
                    <a:pt x="735167" y="570275"/>
                  </a:cubicBezTo>
                  <a:cubicBezTo>
                    <a:pt x="750961" y="570275"/>
                    <a:pt x="755805" y="585648"/>
                    <a:pt x="770756" y="585648"/>
                  </a:cubicBezTo>
                  <a:cubicBezTo>
                    <a:pt x="785076" y="585648"/>
                    <a:pt x="811611" y="602917"/>
                    <a:pt x="804451" y="602917"/>
                  </a:cubicBezTo>
                  <a:cubicBezTo>
                    <a:pt x="811189" y="602917"/>
                    <a:pt x="821298" y="610498"/>
                    <a:pt x="830353" y="610498"/>
                  </a:cubicBezTo>
                  <a:cubicBezTo>
                    <a:pt x="839409" y="610498"/>
                    <a:pt x="845305" y="613446"/>
                    <a:pt x="858151" y="613446"/>
                  </a:cubicBezTo>
                  <a:cubicBezTo>
                    <a:pt x="870154" y="613446"/>
                    <a:pt x="869312" y="623554"/>
                    <a:pt x="877946" y="623554"/>
                  </a:cubicBezTo>
                  <a:cubicBezTo>
                    <a:pt x="885527" y="623554"/>
                    <a:pt x="900900" y="628398"/>
                    <a:pt x="893319" y="628398"/>
                  </a:cubicBezTo>
                  <a:cubicBezTo>
                    <a:pt x="901532" y="628398"/>
                    <a:pt x="905323" y="639980"/>
                    <a:pt x="915852" y="639980"/>
                  </a:cubicBezTo>
                  <a:cubicBezTo>
                    <a:pt x="925960" y="639980"/>
                    <a:pt x="932699" y="646719"/>
                    <a:pt x="926803" y="646719"/>
                  </a:cubicBezTo>
                  <a:cubicBezTo>
                    <a:pt x="932699" y="646719"/>
                    <a:pt x="942176" y="661671"/>
                    <a:pt x="936911" y="661671"/>
                  </a:cubicBezTo>
                  <a:cubicBezTo>
                    <a:pt x="942176" y="661671"/>
                    <a:pt x="929751" y="673253"/>
                    <a:pt x="924908" y="673253"/>
                  </a:cubicBezTo>
                  <a:cubicBezTo>
                    <a:pt x="929751" y="673253"/>
                    <a:pt x="925750" y="681466"/>
                    <a:pt x="919221" y="681466"/>
                  </a:cubicBezTo>
                  <a:cubicBezTo>
                    <a:pt x="925960" y="681466"/>
                    <a:pt x="912904" y="685257"/>
                    <a:pt x="901532" y="685257"/>
                  </a:cubicBezTo>
                  <a:cubicBezTo>
                    <a:pt x="890371" y="685257"/>
                    <a:pt x="889107" y="687995"/>
                    <a:pt x="874156" y="687995"/>
                  </a:cubicBezTo>
                  <a:cubicBezTo>
                    <a:pt x="859836" y="687995"/>
                    <a:pt x="854571" y="687573"/>
                    <a:pt x="843831" y="687573"/>
                  </a:cubicBezTo>
                  <a:cubicBezTo>
                    <a:pt x="832880" y="687573"/>
                    <a:pt x="835197" y="684836"/>
                    <a:pt x="824035" y="684836"/>
                  </a:cubicBezTo>
                  <a:cubicBezTo>
                    <a:pt x="812453" y="684836"/>
                    <a:pt x="809084" y="688626"/>
                    <a:pt x="801502" y="688626"/>
                  </a:cubicBezTo>
                  <a:cubicBezTo>
                    <a:pt x="809294" y="688626"/>
                    <a:pt x="793921" y="699577"/>
                    <a:pt x="802345" y="699577"/>
                  </a:cubicBezTo>
                  <a:cubicBezTo>
                    <a:pt x="812032" y="699577"/>
                    <a:pt x="835407" y="703368"/>
                    <a:pt x="827405" y="703368"/>
                  </a:cubicBezTo>
                  <a:cubicBezTo>
                    <a:pt x="835197" y="703368"/>
                    <a:pt x="841304" y="712423"/>
                    <a:pt x="849517" y="712423"/>
                  </a:cubicBezTo>
                  <a:cubicBezTo>
                    <a:pt x="858151" y="712423"/>
                    <a:pt x="855624" y="712423"/>
                    <a:pt x="864890" y="712423"/>
                  </a:cubicBezTo>
                  <a:cubicBezTo>
                    <a:pt x="873945" y="712423"/>
                    <a:pt x="870154" y="721689"/>
                    <a:pt x="884053" y="721689"/>
                  </a:cubicBezTo>
                  <a:cubicBezTo>
                    <a:pt x="898373" y="721689"/>
                    <a:pt x="907008" y="725058"/>
                    <a:pt x="907008" y="713897"/>
                  </a:cubicBezTo>
                  <a:cubicBezTo>
                    <a:pt x="907008" y="702946"/>
                    <a:pt x="908903" y="697050"/>
                    <a:pt x="903217" y="697050"/>
                  </a:cubicBezTo>
                  <a:cubicBezTo>
                    <a:pt x="908903" y="697050"/>
                    <a:pt x="919011" y="686942"/>
                    <a:pt x="914168" y="686942"/>
                  </a:cubicBezTo>
                  <a:cubicBezTo>
                    <a:pt x="919432" y="686942"/>
                    <a:pt x="921328" y="692628"/>
                    <a:pt x="930383" y="692628"/>
                  </a:cubicBezTo>
                  <a:cubicBezTo>
                    <a:pt x="939649" y="692628"/>
                    <a:pt x="946809" y="682519"/>
                    <a:pt x="940912" y="682519"/>
                  </a:cubicBezTo>
                  <a:cubicBezTo>
                    <a:pt x="947651" y="682519"/>
                    <a:pt x="960708" y="676412"/>
                    <a:pt x="954811" y="676412"/>
                  </a:cubicBezTo>
                  <a:cubicBezTo>
                    <a:pt x="960918" y="676412"/>
                    <a:pt x="951863" y="666304"/>
                    <a:pt x="960076" y="666304"/>
                  </a:cubicBezTo>
                  <a:cubicBezTo>
                    <a:pt x="967868" y="666304"/>
                    <a:pt x="985136" y="662513"/>
                    <a:pt x="975870" y="662513"/>
                  </a:cubicBezTo>
                  <a:cubicBezTo>
                    <a:pt x="975870" y="652826"/>
                    <a:pt x="967657" y="649457"/>
                    <a:pt x="956706" y="649457"/>
                  </a:cubicBezTo>
                  <a:cubicBezTo>
                    <a:pt x="946177" y="649457"/>
                    <a:pt x="957760" y="637453"/>
                    <a:pt x="951021" y="637453"/>
                  </a:cubicBezTo>
                  <a:cubicBezTo>
                    <a:pt x="957760" y="637453"/>
                    <a:pt x="973554" y="627977"/>
                    <a:pt x="968289" y="627977"/>
                  </a:cubicBezTo>
                  <a:cubicBezTo>
                    <a:pt x="973554" y="627977"/>
                    <a:pt x="977976" y="631767"/>
                    <a:pt x="987031" y="631767"/>
                  </a:cubicBezTo>
                  <a:cubicBezTo>
                    <a:pt x="995244" y="631767"/>
                    <a:pt x="1009143" y="635558"/>
                    <a:pt x="1001984" y="635558"/>
                  </a:cubicBezTo>
                  <a:cubicBezTo>
                    <a:pt x="1008722" y="635558"/>
                    <a:pt x="1019673" y="643350"/>
                    <a:pt x="1015040" y="643350"/>
                  </a:cubicBezTo>
                  <a:cubicBezTo>
                    <a:pt x="1019883" y="643350"/>
                    <a:pt x="1029571" y="641033"/>
                    <a:pt x="1019251" y="630925"/>
                  </a:cubicBezTo>
                  <a:cubicBezTo>
                    <a:pt x="1004300" y="630925"/>
                    <a:pt x="983241" y="613657"/>
                    <a:pt x="974607" y="613657"/>
                  </a:cubicBezTo>
                  <a:cubicBezTo>
                    <a:pt x="966394" y="613657"/>
                    <a:pt x="947230" y="606918"/>
                    <a:pt x="939649" y="606918"/>
                  </a:cubicBezTo>
                  <a:cubicBezTo>
                    <a:pt x="946809" y="606918"/>
                    <a:pt x="934384" y="600179"/>
                    <a:pt x="928487" y="600179"/>
                  </a:cubicBezTo>
                  <a:cubicBezTo>
                    <a:pt x="934174" y="600179"/>
                    <a:pt x="946598" y="593861"/>
                    <a:pt x="941965" y="593861"/>
                  </a:cubicBezTo>
                  <a:cubicBezTo>
                    <a:pt x="947230" y="593861"/>
                    <a:pt x="932278" y="592387"/>
                    <a:pt x="919432" y="592387"/>
                  </a:cubicBezTo>
                  <a:cubicBezTo>
                    <a:pt x="906376" y="592387"/>
                    <a:pt x="891003" y="587122"/>
                    <a:pt x="882368" y="587122"/>
                  </a:cubicBezTo>
                  <a:cubicBezTo>
                    <a:pt x="874156" y="587122"/>
                    <a:pt x="868891" y="574698"/>
                    <a:pt x="862152" y="574698"/>
                  </a:cubicBezTo>
                  <a:cubicBezTo>
                    <a:pt x="869312" y="574698"/>
                    <a:pt x="859203" y="554902"/>
                    <a:pt x="845726" y="554902"/>
                  </a:cubicBezTo>
                  <a:cubicBezTo>
                    <a:pt x="832880" y="554902"/>
                    <a:pt x="821298" y="544794"/>
                    <a:pt x="814980" y="544794"/>
                  </a:cubicBezTo>
                  <a:cubicBezTo>
                    <a:pt x="821719" y="544794"/>
                    <a:pt x="804029" y="534265"/>
                    <a:pt x="799186" y="534265"/>
                  </a:cubicBezTo>
                  <a:cubicBezTo>
                    <a:pt x="803397" y="534265"/>
                    <a:pt x="808873" y="524999"/>
                    <a:pt x="806346" y="524999"/>
                  </a:cubicBezTo>
                  <a:cubicBezTo>
                    <a:pt x="808241" y="524999"/>
                    <a:pt x="806346" y="518260"/>
                    <a:pt x="801081" y="518260"/>
                  </a:cubicBezTo>
                  <a:cubicBezTo>
                    <a:pt x="805293" y="518260"/>
                    <a:pt x="793500" y="511521"/>
                    <a:pt x="806346" y="511521"/>
                  </a:cubicBezTo>
                  <a:cubicBezTo>
                    <a:pt x="817928" y="511521"/>
                    <a:pt x="837092" y="505203"/>
                    <a:pt x="832248" y="505203"/>
                  </a:cubicBezTo>
                  <a:cubicBezTo>
                    <a:pt x="837092" y="505203"/>
                    <a:pt x="848042" y="503729"/>
                    <a:pt x="843831" y="503729"/>
                  </a:cubicBezTo>
                  <a:cubicBezTo>
                    <a:pt x="848674" y="503729"/>
                    <a:pt x="854992" y="508994"/>
                    <a:pt x="848674" y="508994"/>
                  </a:cubicBezTo>
                  <a:cubicBezTo>
                    <a:pt x="855413" y="508994"/>
                    <a:pt x="852886" y="519944"/>
                    <a:pt x="847200" y="519944"/>
                  </a:cubicBezTo>
                  <a:cubicBezTo>
                    <a:pt x="852465" y="519944"/>
                    <a:pt x="863415" y="526683"/>
                    <a:pt x="855835" y="526683"/>
                  </a:cubicBezTo>
                  <a:cubicBezTo>
                    <a:pt x="863415" y="526683"/>
                    <a:pt x="876472" y="518049"/>
                    <a:pt x="869733" y="518049"/>
                  </a:cubicBezTo>
                  <a:cubicBezTo>
                    <a:pt x="877525" y="518049"/>
                    <a:pt x="889528" y="521419"/>
                    <a:pt x="883211" y="521419"/>
                  </a:cubicBezTo>
                  <a:cubicBezTo>
                    <a:pt x="888897" y="521419"/>
                    <a:pt x="881316" y="535949"/>
                    <a:pt x="890792" y="535949"/>
                  </a:cubicBezTo>
                  <a:cubicBezTo>
                    <a:pt x="900058" y="535949"/>
                    <a:pt x="903217" y="549427"/>
                    <a:pt x="917115" y="549427"/>
                  </a:cubicBezTo>
                  <a:cubicBezTo>
                    <a:pt x="930593" y="549427"/>
                    <a:pt x="933963" y="556587"/>
                    <a:pt x="943018" y="556587"/>
                  </a:cubicBezTo>
                  <a:cubicBezTo>
                    <a:pt x="951652" y="556587"/>
                    <a:pt x="978187" y="562273"/>
                    <a:pt x="971869" y="562273"/>
                  </a:cubicBezTo>
                  <a:cubicBezTo>
                    <a:pt x="977555" y="562273"/>
                    <a:pt x="986399" y="570907"/>
                    <a:pt x="995876" y="570907"/>
                  </a:cubicBezTo>
                  <a:cubicBezTo>
                    <a:pt x="1005563" y="570907"/>
                    <a:pt x="1032939" y="582068"/>
                    <a:pt x="1027043" y="582068"/>
                  </a:cubicBezTo>
                  <a:cubicBezTo>
                    <a:pt x="1032308" y="582068"/>
                    <a:pt x="1036731" y="589860"/>
                    <a:pt x="1046838" y="589860"/>
                  </a:cubicBezTo>
                  <a:cubicBezTo>
                    <a:pt x="1056526" y="589860"/>
                    <a:pt x="1060737" y="598494"/>
                    <a:pt x="1057368" y="598494"/>
                  </a:cubicBezTo>
                  <a:cubicBezTo>
                    <a:pt x="1060106" y="598494"/>
                    <a:pt x="1048313" y="615341"/>
                    <a:pt x="1053157" y="625450"/>
                  </a:cubicBezTo>
                  <a:cubicBezTo>
                    <a:pt x="1064739" y="625450"/>
                    <a:pt x="1077163" y="640401"/>
                    <a:pt x="1073373" y="640401"/>
                  </a:cubicBezTo>
                  <a:cubicBezTo>
                    <a:pt x="1076742" y="640401"/>
                    <a:pt x="1100328" y="659144"/>
                    <a:pt x="1092537" y="659144"/>
                  </a:cubicBezTo>
                  <a:cubicBezTo>
                    <a:pt x="1101803" y="659144"/>
                    <a:pt x="1113175" y="667778"/>
                    <a:pt x="1106014" y="667778"/>
                  </a:cubicBezTo>
                  <a:cubicBezTo>
                    <a:pt x="1113806" y="667778"/>
                    <a:pt x="1100749" y="680835"/>
                    <a:pt x="1095485" y="680835"/>
                  </a:cubicBezTo>
                  <a:cubicBezTo>
                    <a:pt x="1100749" y="680835"/>
                    <a:pt x="1112332" y="686099"/>
                    <a:pt x="1105593" y="686099"/>
                  </a:cubicBezTo>
                  <a:cubicBezTo>
                    <a:pt x="1112332" y="686099"/>
                    <a:pt x="1119071" y="673043"/>
                    <a:pt x="1114227" y="673043"/>
                  </a:cubicBezTo>
                  <a:cubicBezTo>
                    <a:pt x="1118439" y="673043"/>
                    <a:pt x="1131496" y="681256"/>
                    <a:pt x="1124336" y="681256"/>
                  </a:cubicBezTo>
                  <a:cubicBezTo>
                    <a:pt x="1131496" y="681256"/>
                    <a:pt x="1142657" y="683572"/>
                    <a:pt x="1136760" y="683572"/>
                  </a:cubicBezTo>
                  <a:cubicBezTo>
                    <a:pt x="1143078" y="683572"/>
                    <a:pt x="1125599" y="691785"/>
                    <a:pt x="1121387" y="691785"/>
                  </a:cubicBezTo>
                  <a:cubicBezTo>
                    <a:pt x="1125599" y="691785"/>
                    <a:pt x="1141604" y="700841"/>
                    <a:pt x="1134865" y="700841"/>
                  </a:cubicBezTo>
                  <a:cubicBezTo>
                    <a:pt x="1140972" y="700841"/>
                    <a:pt x="1147922" y="713265"/>
                    <a:pt x="1138656" y="713265"/>
                  </a:cubicBezTo>
                  <a:cubicBezTo>
                    <a:pt x="1147711" y="713265"/>
                    <a:pt x="1167506" y="717056"/>
                    <a:pt x="1159293" y="717056"/>
                  </a:cubicBezTo>
                  <a:cubicBezTo>
                    <a:pt x="1167506" y="717056"/>
                    <a:pt x="1168349" y="725690"/>
                    <a:pt x="1161610" y="725690"/>
                  </a:cubicBezTo>
                  <a:cubicBezTo>
                    <a:pt x="1167927" y="725690"/>
                    <a:pt x="1182248" y="724637"/>
                    <a:pt x="1175930" y="724637"/>
                  </a:cubicBezTo>
                  <a:cubicBezTo>
                    <a:pt x="1181616" y="724637"/>
                    <a:pt x="1183090" y="713055"/>
                    <a:pt x="1183090" y="723163"/>
                  </a:cubicBezTo>
                  <a:cubicBezTo>
                    <a:pt x="1183090" y="733271"/>
                    <a:pt x="1201411" y="736641"/>
                    <a:pt x="1192777" y="736641"/>
                  </a:cubicBezTo>
                  <a:cubicBezTo>
                    <a:pt x="1201411" y="736641"/>
                    <a:pt x="1202885" y="716845"/>
                    <a:pt x="1194672" y="716845"/>
                  </a:cubicBezTo>
                  <a:cubicBezTo>
                    <a:pt x="1202885" y="716845"/>
                    <a:pt x="1184564" y="699577"/>
                    <a:pt x="1178457" y="699577"/>
                  </a:cubicBezTo>
                  <a:cubicBezTo>
                    <a:pt x="1185196" y="699577"/>
                    <a:pt x="1203517" y="704842"/>
                    <a:pt x="1196778" y="704842"/>
                  </a:cubicBezTo>
                  <a:cubicBezTo>
                    <a:pt x="1203517" y="704842"/>
                    <a:pt x="1202043" y="696629"/>
                    <a:pt x="1196778" y="696629"/>
                  </a:cubicBezTo>
                  <a:cubicBezTo>
                    <a:pt x="1202043" y="696629"/>
                    <a:pt x="1202885" y="686520"/>
                    <a:pt x="1185196" y="686520"/>
                  </a:cubicBezTo>
                  <a:cubicBezTo>
                    <a:pt x="1167085" y="686520"/>
                    <a:pt x="1158872" y="678729"/>
                    <a:pt x="1155503" y="678729"/>
                  </a:cubicBezTo>
                  <a:cubicBezTo>
                    <a:pt x="1160346" y="678729"/>
                    <a:pt x="1185196" y="683572"/>
                    <a:pt x="1193409" y="683572"/>
                  </a:cubicBezTo>
                  <a:cubicBezTo>
                    <a:pt x="1201201" y="683572"/>
                    <a:pt x="1202043" y="691364"/>
                    <a:pt x="1211098" y="691364"/>
                  </a:cubicBezTo>
                  <a:cubicBezTo>
                    <a:pt x="1219733" y="691364"/>
                    <a:pt x="1230262" y="705263"/>
                    <a:pt x="1230262" y="697682"/>
                  </a:cubicBezTo>
                  <a:cubicBezTo>
                    <a:pt x="1230262" y="689890"/>
                    <a:pt x="1227524" y="683783"/>
                    <a:pt x="1222049" y="683783"/>
                  </a:cubicBezTo>
                  <a:cubicBezTo>
                    <a:pt x="1227314" y="683783"/>
                    <a:pt x="1237843" y="681888"/>
                    <a:pt x="1235105" y="681888"/>
                  </a:cubicBezTo>
                  <a:cubicBezTo>
                    <a:pt x="1237422" y="681888"/>
                    <a:pt x="1229420" y="669463"/>
                    <a:pt x="1221206" y="669463"/>
                  </a:cubicBezTo>
                  <a:cubicBezTo>
                    <a:pt x="1228367" y="669463"/>
                    <a:pt x="1209203" y="667567"/>
                    <a:pt x="1198674" y="667567"/>
                  </a:cubicBezTo>
                  <a:cubicBezTo>
                    <a:pt x="1188144" y="667567"/>
                    <a:pt x="1176561" y="659776"/>
                    <a:pt x="1185827" y="659776"/>
                  </a:cubicBezTo>
                  <a:cubicBezTo>
                    <a:pt x="1194883" y="659776"/>
                    <a:pt x="1201201" y="647772"/>
                    <a:pt x="1189618" y="647772"/>
                  </a:cubicBezTo>
                  <a:cubicBezTo>
                    <a:pt x="1180563" y="647772"/>
                    <a:pt x="1176561" y="637664"/>
                    <a:pt x="1172350" y="637664"/>
                  </a:cubicBezTo>
                  <a:cubicBezTo>
                    <a:pt x="1177193" y="637664"/>
                    <a:pt x="1186881" y="627134"/>
                    <a:pt x="1179510" y="627134"/>
                  </a:cubicBezTo>
                  <a:cubicBezTo>
                    <a:pt x="1186670" y="627134"/>
                    <a:pt x="1205834" y="632820"/>
                    <a:pt x="1198674" y="632820"/>
                  </a:cubicBezTo>
                  <a:cubicBezTo>
                    <a:pt x="1205834" y="632820"/>
                    <a:pt x="1209203" y="636611"/>
                    <a:pt x="1218890" y="636611"/>
                  </a:cubicBezTo>
                  <a:cubicBezTo>
                    <a:pt x="1227524" y="636611"/>
                    <a:pt x="1225208" y="630925"/>
                    <a:pt x="1220785" y="630925"/>
                  </a:cubicBezTo>
                  <a:cubicBezTo>
                    <a:pt x="1225208" y="630925"/>
                    <a:pt x="1209203" y="621238"/>
                    <a:pt x="1218890" y="621238"/>
                  </a:cubicBezTo>
                  <a:cubicBezTo>
                    <a:pt x="1227945" y="621238"/>
                    <a:pt x="1245214" y="617868"/>
                    <a:pt x="1239949" y="617868"/>
                  </a:cubicBezTo>
                  <a:cubicBezTo>
                    <a:pt x="1245214" y="617868"/>
                    <a:pt x="1248583" y="616394"/>
                    <a:pt x="1261640" y="616394"/>
                  </a:cubicBezTo>
                  <a:cubicBezTo>
                    <a:pt x="1274064" y="616394"/>
                    <a:pt x="1287542" y="617868"/>
                    <a:pt x="1283751" y="617868"/>
                  </a:cubicBezTo>
                  <a:cubicBezTo>
                    <a:pt x="1288174" y="617868"/>
                    <a:pt x="1303547" y="622291"/>
                    <a:pt x="1300177" y="622291"/>
                  </a:cubicBezTo>
                  <a:cubicBezTo>
                    <a:pt x="1303547" y="622291"/>
                    <a:pt x="1314498" y="625239"/>
                    <a:pt x="1307759" y="625239"/>
                  </a:cubicBezTo>
                  <a:cubicBezTo>
                    <a:pt x="1313444" y="625239"/>
                    <a:pt x="1324606" y="626292"/>
                    <a:pt x="1332819" y="626292"/>
                  </a:cubicBezTo>
                  <a:cubicBezTo>
                    <a:pt x="1341874" y="626292"/>
                    <a:pt x="1363986" y="616184"/>
                    <a:pt x="1356826" y="616184"/>
                  </a:cubicBezTo>
                  <a:cubicBezTo>
                    <a:pt x="1364407" y="616184"/>
                    <a:pt x="1365882" y="616184"/>
                    <a:pt x="1380412" y="616184"/>
                  </a:cubicBezTo>
                  <a:cubicBezTo>
                    <a:pt x="1394732" y="616184"/>
                    <a:pt x="1418739" y="619974"/>
                    <a:pt x="1412632" y="619974"/>
                  </a:cubicBezTo>
                  <a:cubicBezTo>
                    <a:pt x="1418950" y="619974"/>
                    <a:pt x="1415580" y="628608"/>
                    <a:pt x="1407789" y="628608"/>
                  </a:cubicBezTo>
                  <a:cubicBezTo>
                    <a:pt x="1399154" y="628608"/>
                    <a:pt x="1385255" y="630504"/>
                    <a:pt x="1373673" y="630504"/>
                  </a:cubicBezTo>
                  <a:cubicBezTo>
                    <a:pt x="1363565" y="630504"/>
                    <a:pt x="1354510" y="632820"/>
                    <a:pt x="1348823" y="632820"/>
                  </a:cubicBezTo>
                  <a:cubicBezTo>
                    <a:pt x="1354510" y="632820"/>
                    <a:pt x="1335767" y="630925"/>
                    <a:pt x="1327554" y="630925"/>
                  </a:cubicBezTo>
                  <a:cubicBezTo>
                    <a:pt x="1318920" y="630925"/>
                    <a:pt x="1312813" y="633663"/>
                    <a:pt x="1304600" y="633663"/>
                  </a:cubicBezTo>
                  <a:cubicBezTo>
                    <a:pt x="1312813" y="633663"/>
                    <a:pt x="1284805" y="650089"/>
                    <a:pt x="1298914" y="650089"/>
                  </a:cubicBezTo>
                  <a:cubicBezTo>
                    <a:pt x="1311760" y="650089"/>
                    <a:pt x="1332397" y="648614"/>
                    <a:pt x="1325869" y="648614"/>
                  </a:cubicBezTo>
                  <a:cubicBezTo>
                    <a:pt x="1331555" y="648614"/>
                    <a:pt x="1335978" y="656196"/>
                    <a:pt x="1329660" y="656196"/>
                  </a:cubicBezTo>
                  <a:cubicBezTo>
                    <a:pt x="1334503" y="656196"/>
                    <a:pt x="1333029" y="669673"/>
                    <a:pt x="1330502" y="669673"/>
                  </a:cubicBezTo>
                  <a:cubicBezTo>
                    <a:pt x="1333029" y="669673"/>
                    <a:pt x="1330081" y="676412"/>
                    <a:pt x="1324185" y="676412"/>
                  </a:cubicBezTo>
                  <a:cubicBezTo>
                    <a:pt x="1330081" y="676412"/>
                    <a:pt x="1318499" y="686520"/>
                    <a:pt x="1329449" y="686520"/>
                  </a:cubicBezTo>
                  <a:cubicBezTo>
                    <a:pt x="1340400" y="686520"/>
                    <a:pt x="1347139" y="694733"/>
                    <a:pt x="1343980" y="694733"/>
                  </a:cubicBezTo>
                  <a:cubicBezTo>
                    <a:pt x="1347771" y="694733"/>
                    <a:pt x="1339558" y="706737"/>
                    <a:pt x="1347771" y="706737"/>
                  </a:cubicBezTo>
                  <a:cubicBezTo>
                    <a:pt x="1357037" y="706737"/>
                    <a:pt x="1371356" y="714950"/>
                    <a:pt x="1368409" y="714950"/>
                  </a:cubicBezTo>
                  <a:cubicBezTo>
                    <a:pt x="1371356" y="714950"/>
                    <a:pt x="1379991" y="722531"/>
                    <a:pt x="1372831" y="722531"/>
                  </a:cubicBezTo>
                  <a:cubicBezTo>
                    <a:pt x="1381044" y="722531"/>
                    <a:pt x="1385255" y="719162"/>
                    <a:pt x="1394521" y="719162"/>
                  </a:cubicBezTo>
                  <a:cubicBezTo>
                    <a:pt x="1404208" y="719162"/>
                    <a:pt x="1423372" y="731165"/>
                    <a:pt x="1416633" y="731165"/>
                  </a:cubicBezTo>
                  <a:cubicBezTo>
                    <a:pt x="1424214" y="731165"/>
                    <a:pt x="1452223" y="734956"/>
                    <a:pt x="1444431" y="734956"/>
                  </a:cubicBezTo>
                  <a:cubicBezTo>
                    <a:pt x="1452644" y="734956"/>
                    <a:pt x="1473281" y="736009"/>
                    <a:pt x="1468859" y="727164"/>
                  </a:cubicBezTo>
                  <a:cubicBezTo>
                    <a:pt x="1468859" y="717056"/>
                    <a:pt x="1473703" y="720425"/>
                    <a:pt x="1488023" y="720425"/>
                  </a:cubicBezTo>
                  <a:cubicBezTo>
                    <a:pt x="1501922" y="720425"/>
                    <a:pt x="1523192" y="736219"/>
                    <a:pt x="1533089" y="736219"/>
                  </a:cubicBezTo>
                  <a:cubicBezTo>
                    <a:pt x="1543618" y="736219"/>
                    <a:pt x="1568678" y="741905"/>
                    <a:pt x="1562361" y="741905"/>
                  </a:cubicBezTo>
                  <a:cubicBezTo>
                    <a:pt x="1568678" y="741905"/>
                    <a:pt x="1605953" y="734114"/>
                    <a:pt x="1598371" y="734114"/>
                  </a:cubicBezTo>
                  <a:cubicBezTo>
                    <a:pt x="1606585" y="734114"/>
                    <a:pt x="1608480" y="724637"/>
                    <a:pt x="1621326" y="724637"/>
                  </a:cubicBezTo>
                  <a:cubicBezTo>
                    <a:pt x="1634172" y="724637"/>
                    <a:pt x="1655863" y="730744"/>
                    <a:pt x="1649124" y="730744"/>
                  </a:cubicBezTo>
                  <a:cubicBezTo>
                    <a:pt x="1655863" y="730744"/>
                    <a:pt x="1677974" y="723163"/>
                    <a:pt x="1670604" y="723163"/>
                  </a:cubicBezTo>
                  <a:cubicBezTo>
                    <a:pt x="1677342" y="723163"/>
                    <a:pt x="1668708" y="737694"/>
                    <a:pt x="1663023" y="737694"/>
                  </a:cubicBezTo>
                  <a:cubicBezTo>
                    <a:pt x="1668287" y="737694"/>
                    <a:pt x="1664497" y="748223"/>
                    <a:pt x="1664497" y="758331"/>
                  </a:cubicBezTo>
                  <a:cubicBezTo>
                    <a:pt x="1674184" y="758331"/>
                    <a:pt x="1671236" y="781496"/>
                    <a:pt x="1667866" y="781496"/>
                  </a:cubicBezTo>
                  <a:cubicBezTo>
                    <a:pt x="1670604" y="781496"/>
                    <a:pt x="1664918" y="796448"/>
                    <a:pt x="1655863" y="796448"/>
                  </a:cubicBezTo>
                  <a:cubicBezTo>
                    <a:pt x="1665549" y="796448"/>
                    <a:pt x="1637541" y="814769"/>
                    <a:pt x="1637541" y="826773"/>
                  </a:cubicBezTo>
                  <a:cubicBezTo>
                    <a:pt x="1637541" y="839198"/>
                    <a:pt x="1613956" y="869101"/>
                    <a:pt x="1600478" y="869101"/>
                  </a:cubicBezTo>
                  <a:cubicBezTo>
                    <a:pt x="1587210" y="869101"/>
                    <a:pt x="1553516" y="869522"/>
                    <a:pt x="1545724" y="869522"/>
                  </a:cubicBezTo>
                  <a:cubicBezTo>
                    <a:pt x="1549515" y="869522"/>
                    <a:pt x="1538564" y="865732"/>
                    <a:pt x="1534563" y="865732"/>
                  </a:cubicBezTo>
                  <a:cubicBezTo>
                    <a:pt x="1539828" y="865732"/>
                    <a:pt x="1538564" y="878788"/>
                    <a:pt x="1535195" y="878788"/>
                  </a:cubicBezTo>
                  <a:cubicBezTo>
                    <a:pt x="1541302" y="878788"/>
                    <a:pt x="1549094" y="894161"/>
                    <a:pt x="1544882" y="894161"/>
                  </a:cubicBezTo>
                  <a:cubicBezTo>
                    <a:pt x="1547198" y="894161"/>
                    <a:pt x="1550147" y="903217"/>
                    <a:pt x="1546778" y="903217"/>
                  </a:cubicBezTo>
                  <a:cubicBezTo>
                    <a:pt x="1553516" y="903217"/>
                    <a:pt x="1564467" y="918590"/>
                    <a:pt x="1559202" y="918590"/>
                  </a:cubicBezTo>
                  <a:cubicBezTo>
                    <a:pt x="1565099" y="918590"/>
                    <a:pt x="1577944" y="932489"/>
                    <a:pt x="1572259" y="932489"/>
                  </a:cubicBezTo>
                  <a:cubicBezTo>
                    <a:pt x="1577523" y="932489"/>
                    <a:pt x="1586158" y="942597"/>
                    <a:pt x="1578998" y="942597"/>
                  </a:cubicBezTo>
                  <a:cubicBezTo>
                    <a:pt x="1586579" y="942597"/>
                    <a:pt x="1616061" y="961760"/>
                    <a:pt x="1605742" y="961760"/>
                  </a:cubicBezTo>
                  <a:cubicBezTo>
                    <a:pt x="1615008" y="961760"/>
                    <a:pt x="1627433" y="959865"/>
                    <a:pt x="1619641" y="959865"/>
                  </a:cubicBezTo>
                  <a:cubicBezTo>
                    <a:pt x="1627433" y="959865"/>
                    <a:pt x="1633540" y="939227"/>
                    <a:pt x="1625959" y="939227"/>
                  </a:cubicBezTo>
                  <a:cubicBezTo>
                    <a:pt x="1633540" y="939227"/>
                    <a:pt x="1636067" y="921538"/>
                    <a:pt x="1631645" y="921538"/>
                  </a:cubicBezTo>
                  <a:cubicBezTo>
                    <a:pt x="1636910" y="921538"/>
                    <a:pt x="1645965" y="915852"/>
                    <a:pt x="1640700" y="915852"/>
                  </a:cubicBezTo>
                  <a:cubicBezTo>
                    <a:pt x="1646597" y="915852"/>
                    <a:pt x="1639226" y="932699"/>
                    <a:pt x="1634804" y="932699"/>
                  </a:cubicBezTo>
                  <a:cubicBezTo>
                    <a:pt x="1639226" y="932699"/>
                    <a:pt x="1637331" y="947019"/>
                    <a:pt x="1629539" y="947019"/>
                  </a:cubicBezTo>
                  <a:cubicBezTo>
                    <a:pt x="1636699" y="947019"/>
                    <a:pt x="1619852" y="957127"/>
                    <a:pt x="1628065" y="957127"/>
                  </a:cubicBezTo>
                  <a:cubicBezTo>
                    <a:pt x="1636278" y="957127"/>
                    <a:pt x="1661338" y="959444"/>
                    <a:pt x="1650598" y="959444"/>
                  </a:cubicBezTo>
                  <a:cubicBezTo>
                    <a:pt x="1660285" y="959444"/>
                    <a:pt x="1684292" y="985346"/>
                    <a:pt x="1676501" y="985346"/>
                  </a:cubicBezTo>
                  <a:cubicBezTo>
                    <a:pt x="1685345" y="985346"/>
                    <a:pt x="1714406" y="1012723"/>
                    <a:pt x="1706825" y="1012723"/>
                  </a:cubicBezTo>
                  <a:cubicBezTo>
                    <a:pt x="1713985" y="1012723"/>
                    <a:pt x="1720724" y="1028096"/>
                    <a:pt x="1713564" y="1028096"/>
                  </a:cubicBezTo>
                  <a:cubicBezTo>
                    <a:pt x="1721355" y="1028096"/>
                    <a:pt x="1734202" y="1036730"/>
                    <a:pt x="1727042" y="1036730"/>
                  </a:cubicBezTo>
                  <a:cubicBezTo>
                    <a:pt x="1734202" y="1036730"/>
                    <a:pt x="1730411" y="1039678"/>
                    <a:pt x="1730411" y="1051682"/>
                  </a:cubicBezTo>
                  <a:cubicBezTo>
                    <a:pt x="1739046" y="1060948"/>
                    <a:pt x="1736097" y="1065581"/>
                    <a:pt x="1745784" y="1065581"/>
                  </a:cubicBezTo>
                  <a:cubicBezTo>
                    <a:pt x="1754418" y="1065581"/>
                    <a:pt x="1764527" y="1064107"/>
                    <a:pt x="1771687" y="1078637"/>
                  </a:cubicBezTo>
                  <a:cubicBezTo>
                    <a:pt x="1782848" y="1089588"/>
                    <a:pt x="1806855" y="1112753"/>
                    <a:pt x="1799695" y="1112753"/>
                  </a:cubicBezTo>
                  <a:cubicBezTo>
                    <a:pt x="1807276" y="1112753"/>
                    <a:pt x="1808750" y="1129600"/>
                    <a:pt x="1803907" y="1129600"/>
                  </a:cubicBezTo>
                  <a:cubicBezTo>
                    <a:pt x="1808750" y="1129600"/>
                    <a:pt x="1811277" y="1142656"/>
                    <a:pt x="1805381" y="1142656"/>
                  </a:cubicBezTo>
                  <a:cubicBezTo>
                    <a:pt x="1811698" y="1142656"/>
                    <a:pt x="1819280" y="1156977"/>
                    <a:pt x="1809171" y="1156977"/>
                  </a:cubicBezTo>
                  <a:cubicBezTo>
                    <a:pt x="1819280" y="1156977"/>
                    <a:pt x="1818437" y="1180141"/>
                    <a:pt x="1831283" y="1180141"/>
                  </a:cubicBezTo>
                  <a:cubicBezTo>
                    <a:pt x="1844761" y="1180141"/>
                    <a:pt x="1847288" y="1192566"/>
                    <a:pt x="1861187" y="1192566"/>
                  </a:cubicBezTo>
                  <a:cubicBezTo>
                    <a:pt x="1875507" y="1192566"/>
                    <a:pt x="1904989" y="1234894"/>
                    <a:pt x="1904989" y="1248793"/>
                  </a:cubicBezTo>
                  <a:cubicBezTo>
                    <a:pt x="1904989" y="1262692"/>
                    <a:pt x="1919942" y="1270484"/>
                    <a:pt x="1932366" y="1270484"/>
                  </a:cubicBezTo>
                  <a:cubicBezTo>
                    <a:pt x="1944791" y="1270484"/>
                    <a:pt x="1932366" y="1285857"/>
                    <a:pt x="1942474" y="1285857"/>
                  </a:cubicBezTo>
                  <a:cubicBezTo>
                    <a:pt x="1952583" y="1285857"/>
                    <a:pt x="1968377" y="1302704"/>
                    <a:pt x="1956373" y="1302704"/>
                  </a:cubicBezTo>
                  <a:cubicBezTo>
                    <a:pt x="1956373" y="1314708"/>
                    <a:pt x="1965007" y="1326711"/>
                    <a:pt x="1958479" y="1326711"/>
                  </a:cubicBezTo>
                  <a:cubicBezTo>
                    <a:pt x="1964165" y="1326711"/>
                    <a:pt x="1966692" y="1342506"/>
                    <a:pt x="1960796" y="1342506"/>
                  </a:cubicBezTo>
                  <a:cubicBezTo>
                    <a:pt x="1967113" y="1342506"/>
                    <a:pt x="1965639" y="1354088"/>
                    <a:pt x="1970483" y="1363143"/>
                  </a:cubicBezTo>
                  <a:cubicBezTo>
                    <a:pt x="1981644" y="1363143"/>
                    <a:pt x="1990699" y="1387572"/>
                    <a:pt x="1981644" y="1387572"/>
                  </a:cubicBezTo>
                  <a:cubicBezTo>
                    <a:pt x="1991331" y="1387572"/>
                    <a:pt x="1971535" y="1407156"/>
                    <a:pt x="1983960" y="1407156"/>
                  </a:cubicBezTo>
                  <a:cubicBezTo>
                    <a:pt x="1997017" y="1407156"/>
                    <a:pt x="1988804" y="1425899"/>
                    <a:pt x="2006072" y="1425899"/>
                  </a:cubicBezTo>
                  <a:cubicBezTo>
                    <a:pt x="2021867" y="1425899"/>
                    <a:pt x="2031133" y="1425899"/>
                    <a:pt x="2041662" y="1425899"/>
                  </a:cubicBezTo>
                  <a:cubicBezTo>
                    <a:pt x="2052823" y="1425899"/>
                    <a:pt x="2046927" y="1419581"/>
                    <a:pt x="2062299" y="1419581"/>
                  </a:cubicBezTo>
                  <a:cubicBezTo>
                    <a:pt x="2078515" y="1419581"/>
                    <a:pt x="2077673" y="1404208"/>
                    <a:pt x="2089255" y="1404208"/>
                  </a:cubicBezTo>
                  <a:cubicBezTo>
                    <a:pt x="2101679" y="1404208"/>
                    <a:pt x="2135374" y="1406525"/>
                    <a:pt x="2129688" y="1406525"/>
                  </a:cubicBezTo>
                  <a:cubicBezTo>
                    <a:pt x="2135374" y="1406525"/>
                    <a:pt x="2139797" y="1399365"/>
                    <a:pt x="2150115" y="1399365"/>
                  </a:cubicBezTo>
                  <a:cubicBezTo>
                    <a:pt x="2160645" y="1399365"/>
                    <a:pt x="2154538" y="1389256"/>
                    <a:pt x="2165067" y="1389256"/>
                  </a:cubicBezTo>
                  <a:cubicBezTo>
                    <a:pt x="2175596" y="1389256"/>
                    <a:pt x="2186968" y="1390309"/>
                    <a:pt x="2197287" y="1390309"/>
                  </a:cubicBezTo>
                  <a:cubicBezTo>
                    <a:pt x="2207396" y="1390309"/>
                    <a:pt x="2228033" y="1367144"/>
                    <a:pt x="2241511" y="1367144"/>
                  </a:cubicBezTo>
                  <a:cubicBezTo>
                    <a:pt x="2254989" y="1367144"/>
                    <a:pt x="2282786" y="1361880"/>
                    <a:pt x="2274784" y="1361880"/>
                  </a:cubicBezTo>
                  <a:cubicBezTo>
                    <a:pt x="2282997" y="1361880"/>
                    <a:pt x="2306372" y="1356615"/>
                    <a:pt x="2301950" y="1356615"/>
                  </a:cubicBezTo>
                  <a:cubicBezTo>
                    <a:pt x="2307215" y="1356615"/>
                    <a:pt x="2328484" y="1346086"/>
                    <a:pt x="2323220" y="1346086"/>
                  </a:cubicBezTo>
                  <a:cubicBezTo>
                    <a:pt x="2328905" y="1346086"/>
                    <a:pt x="2323220" y="1323974"/>
                    <a:pt x="2336276" y="1323974"/>
                  </a:cubicBezTo>
                  <a:cubicBezTo>
                    <a:pt x="2348701" y="1323974"/>
                    <a:pt x="2363652" y="1313865"/>
                    <a:pt x="2377130" y="1313865"/>
                  </a:cubicBezTo>
                  <a:cubicBezTo>
                    <a:pt x="2390187" y="1313865"/>
                    <a:pt x="2406402" y="1311549"/>
                    <a:pt x="2416931" y="1311549"/>
                  </a:cubicBezTo>
                  <a:cubicBezTo>
                    <a:pt x="2427882" y="1311549"/>
                    <a:pt x="2447678" y="1303336"/>
                    <a:pt x="2439465" y="1303336"/>
                  </a:cubicBezTo>
                  <a:cubicBezTo>
                    <a:pt x="2448099" y="1303336"/>
                    <a:pt x="2429357" y="1286489"/>
                    <a:pt x="2446204" y="1286489"/>
                  </a:cubicBezTo>
                  <a:cubicBezTo>
                    <a:pt x="2461577" y="1286489"/>
                    <a:pt x="2466842" y="1286489"/>
                    <a:pt x="2476318" y="1286489"/>
                  </a:cubicBezTo>
                  <a:cubicBezTo>
                    <a:pt x="2483688" y="1293649"/>
                    <a:pt x="2481582" y="1263956"/>
                    <a:pt x="2493586" y="1263956"/>
                  </a:cubicBezTo>
                  <a:cubicBezTo>
                    <a:pt x="2504747" y="1263956"/>
                    <a:pt x="2516540" y="1260586"/>
                    <a:pt x="2524754" y="1260586"/>
                  </a:cubicBezTo>
                  <a:cubicBezTo>
                    <a:pt x="2533387" y="1260586"/>
                    <a:pt x="2531071" y="1245213"/>
                    <a:pt x="2525385" y="1245213"/>
                  </a:cubicBezTo>
                  <a:cubicBezTo>
                    <a:pt x="2531071" y="1245213"/>
                    <a:pt x="2535493" y="1222049"/>
                    <a:pt x="2529808" y="1222049"/>
                  </a:cubicBezTo>
                  <a:cubicBezTo>
                    <a:pt x="2535493" y="1222049"/>
                    <a:pt x="2550024" y="1216363"/>
                    <a:pt x="2540337" y="1216363"/>
                  </a:cubicBezTo>
                  <a:cubicBezTo>
                    <a:pt x="2548971" y="1216363"/>
                    <a:pt x="2563923" y="1213625"/>
                    <a:pt x="2558026" y="1213625"/>
                  </a:cubicBezTo>
                  <a:cubicBezTo>
                    <a:pt x="2563923" y="1213625"/>
                    <a:pt x="2562449" y="1194461"/>
                    <a:pt x="2572978" y="1194461"/>
                  </a:cubicBezTo>
                  <a:cubicBezTo>
                    <a:pt x="2583087" y="1194461"/>
                    <a:pt x="2599933" y="1174666"/>
                    <a:pt x="2592142" y="1174666"/>
                  </a:cubicBezTo>
                  <a:cubicBezTo>
                    <a:pt x="2600355" y="1174666"/>
                    <a:pt x="2600776" y="1158451"/>
                    <a:pt x="2589194" y="1158451"/>
                  </a:cubicBezTo>
                  <a:cubicBezTo>
                    <a:pt x="2580138" y="1158451"/>
                    <a:pt x="2578664" y="1147500"/>
                    <a:pt x="2570451" y="1147500"/>
                  </a:cubicBezTo>
                  <a:cubicBezTo>
                    <a:pt x="2579085" y="1147500"/>
                    <a:pt x="2557395" y="1126231"/>
                    <a:pt x="2547286" y="1126231"/>
                  </a:cubicBezTo>
                  <a:cubicBezTo>
                    <a:pt x="2536757" y="1126231"/>
                    <a:pt x="2513171" y="1115701"/>
                    <a:pt x="2502220" y="1115701"/>
                  </a:cubicBezTo>
                  <a:cubicBezTo>
                    <a:pt x="2492533" y="1115701"/>
                    <a:pt x="2459892" y="1102223"/>
                    <a:pt x="2459892" y="1088325"/>
                  </a:cubicBezTo>
                  <a:cubicBezTo>
                    <a:pt x="2459892" y="1075268"/>
                    <a:pt x="2454206" y="1053788"/>
                    <a:pt x="2450205" y="1053788"/>
                  </a:cubicBezTo>
                  <a:cubicBezTo>
                    <a:pt x="2454206" y="1053788"/>
                    <a:pt x="2456944" y="1041784"/>
                    <a:pt x="2449784" y="1041784"/>
                  </a:cubicBezTo>
                  <a:cubicBezTo>
                    <a:pt x="2456101" y="1041784"/>
                    <a:pt x="2438201" y="1058210"/>
                    <a:pt x="2431673" y="1058210"/>
                  </a:cubicBezTo>
                  <a:cubicBezTo>
                    <a:pt x="2438833" y="1058210"/>
                    <a:pt x="2421564" y="1068740"/>
                    <a:pt x="2412088" y="1068740"/>
                  </a:cubicBezTo>
                  <a:cubicBezTo>
                    <a:pt x="2421775" y="1068740"/>
                    <a:pt x="2400927" y="1080322"/>
                    <a:pt x="2392925" y="1080322"/>
                  </a:cubicBezTo>
                  <a:cubicBezTo>
                    <a:pt x="2399664" y="1080322"/>
                    <a:pt x="2384711" y="1091904"/>
                    <a:pt x="2376078" y="1091904"/>
                  </a:cubicBezTo>
                  <a:cubicBezTo>
                    <a:pt x="2366390" y="1091904"/>
                    <a:pt x="2361125" y="1097590"/>
                    <a:pt x="2348280" y="1097590"/>
                  </a:cubicBezTo>
                  <a:cubicBezTo>
                    <a:pt x="2341962" y="1086008"/>
                    <a:pt x="2320903" y="1093168"/>
                    <a:pt x="2313111" y="1093168"/>
                  </a:cubicBezTo>
                  <a:cubicBezTo>
                    <a:pt x="2304898" y="1093168"/>
                    <a:pt x="2309321" y="1096959"/>
                    <a:pt x="2296264" y="1096959"/>
                  </a:cubicBezTo>
                  <a:cubicBezTo>
                    <a:pt x="2282786" y="1096959"/>
                    <a:pt x="2286156" y="1087903"/>
                    <a:pt x="2278996" y="1087903"/>
                  </a:cubicBezTo>
                  <a:cubicBezTo>
                    <a:pt x="2286787" y="1087903"/>
                    <a:pt x="2275626" y="1081586"/>
                    <a:pt x="2267835" y="1081586"/>
                  </a:cubicBezTo>
                  <a:cubicBezTo>
                    <a:pt x="2274574" y="1081586"/>
                    <a:pt x="2284681" y="1064738"/>
                    <a:pt x="2276469" y="1064738"/>
                  </a:cubicBezTo>
                  <a:cubicBezTo>
                    <a:pt x="2284681" y="1064738"/>
                    <a:pt x="2278785" y="1051682"/>
                    <a:pt x="2273099" y="1051682"/>
                  </a:cubicBezTo>
                  <a:cubicBezTo>
                    <a:pt x="2278364" y="1051682"/>
                    <a:pt x="2271204" y="1038625"/>
                    <a:pt x="2265939" y="1038625"/>
                  </a:cubicBezTo>
                  <a:cubicBezTo>
                    <a:pt x="2271204" y="1038625"/>
                    <a:pt x="2248250" y="1025569"/>
                    <a:pt x="2248250" y="1035677"/>
                  </a:cubicBezTo>
                  <a:cubicBezTo>
                    <a:pt x="2248250" y="1046838"/>
                    <a:pt x="2247828" y="1055894"/>
                    <a:pt x="2240037" y="1055894"/>
                  </a:cubicBezTo>
                  <a:cubicBezTo>
                    <a:pt x="2248250" y="1055894"/>
                    <a:pt x="2244460" y="1069371"/>
                    <a:pt x="2240037" y="1069371"/>
                  </a:cubicBezTo>
                  <a:cubicBezTo>
                    <a:pt x="2244460" y="1069371"/>
                    <a:pt x="2237721" y="1049155"/>
                    <a:pt x="2229929" y="1049155"/>
                  </a:cubicBezTo>
                  <a:cubicBezTo>
                    <a:pt x="2237089" y="1049155"/>
                    <a:pt x="2218768" y="1036730"/>
                    <a:pt x="2214556" y="1036730"/>
                  </a:cubicBezTo>
                  <a:cubicBezTo>
                    <a:pt x="2218557" y="1036730"/>
                    <a:pt x="2231402" y="1033361"/>
                    <a:pt x="2218978" y="1021357"/>
                  </a:cubicBezTo>
                  <a:cubicBezTo>
                    <a:pt x="2211186" y="1005984"/>
                    <a:pt x="2198340" y="1004089"/>
                    <a:pt x="2192654" y="1004089"/>
                  </a:cubicBezTo>
                  <a:cubicBezTo>
                    <a:pt x="2197919" y="1004089"/>
                    <a:pt x="2193497" y="995455"/>
                    <a:pt x="2181493" y="995455"/>
                  </a:cubicBezTo>
                  <a:cubicBezTo>
                    <a:pt x="2168647" y="995455"/>
                    <a:pt x="2166541" y="982398"/>
                    <a:pt x="2158960" y="982398"/>
                  </a:cubicBezTo>
                  <a:cubicBezTo>
                    <a:pt x="2166120" y="982398"/>
                    <a:pt x="2152642" y="964709"/>
                    <a:pt x="2145482" y="964709"/>
                  </a:cubicBezTo>
                  <a:cubicBezTo>
                    <a:pt x="2152642" y="964709"/>
                    <a:pt x="2134532" y="941754"/>
                    <a:pt x="2128214" y="941754"/>
                  </a:cubicBezTo>
                  <a:cubicBezTo>
                    <a:pt x="2134953" y="941754"/>
                    <a:pt x="2133058" y="933541"/>
                    <a:pt x="2141270" y="933541"/>
                  </a:cubicBezTo>
                  <a:cubicBezTo>
                    <a:pt x="2149484" y="933541"/>
                    <a:pt x="2148430" y="924907"/>
                    <a:pt x="2160013" y="924907"/>
                  </a:cubicBezTo>
                  <a:cubicBezTo>
                    <a:pt x="2171595" y="924907"/>
                    <a:pt x="2188443" y="927224"/>
                    <a:pt x="2182125" y="927224"/>
                  </a:cubicBezTo>
                  <a:cubicBezTo>
                    <a:pt x="2188443" y="927224"/>
                    <a:pt x="2188021" y="911430"/>
                    <a:pt x="2197919" y="921538"/>
                  </a:cubicBezTo>
                  <a:cubicBezTo>
                    <a:pt x="2204658" y="935016"/>
                    <a:pt x="2204658" y="937332"/>
                    <a:pt x="2217503" y="937332"/>
                  </a:cubicBezTo>
                  <a:cubicBezTo>
                    <a:pt x="2229507" y="937332"/>
                    <a:pt x="2216451" y="956074"/>
                    <a:pt x="2230561" y="956074"/>
                  </a:cubicBezTo>
                  <a:cubicBezTo>
                    <a:pt x="2240247" y="965762"/>
                    <a:pt x="2254567" y="975238"/>
                    <a:pt x="2246986" y="975238"/>
                  </a:cubicBezTo>
                  <a:cubicBezTo>
                    <a:pt x="2254567" y="975238"/>
                    <a:pt x="2252251" y="989558"/>
                    <a:pt x="2264676" y="989558"/>
                  </a:cubicBezTo>
                  <a:cubicBezTo>
                    <a:pt x="2272889" y="998192"/>
                    <a:pt x="2286787" y="986610"/>
                    <a:pt x="2297949" y="998192"/>
                  </a:cubicBezTo>
                  <a:cubicBezTo>
                    <a:pt x="2305109" y="1012091"/>
                    <a:pt x="2307636" y="1015461"/>
                    <a:pt x="2325326" y="1015461"/>
                  </a:cubicBezTo>
                  <a:cubicBezTo>
                    <a:pt x="2343436" y="1015461"/>
                    <a:pt x="2346385" y="1027464"/>
                    <a:pt x="2356492" y="1027464"/>
                  </a:cubicBezTo>
                  <a:cubicBezTo>
                    <a:pt x="2366601" y="1027464"/>
                    <a:pt x="2362810" y="1029360"/>
                    <a:pt x="2377130" y="1029360"/>
                  </a:cubicBezTo>
                  <a:cubicBezTo>
                    <a:pt x="2392082" y="1029360"/>
                    <a:pt x="2394399" y="1022200"/>
                    <a:pt x="2401559" y="1029360"/>
                  </a:cubicBezTo>
                  <a:cubicBezTo>
                    <a:pt x="2411667" y="1029360"/>
                    <a:pt x="2401559" y="1029781"/>
                    <a:pt x="2420301" y="1029781"/>
                  </a:cubicBezTo>
                  <a:cubicBezTo>
                    <a:pt x="2439044" y="1029781"/>
                    <a:pt x="2434621" y="1022200"/>
                    <a:pt x="2442202" y="1022200"/>
                  </a:cubicBezTo>
                  <a:cubicBezTo>
                    <a:pt x="2450837" y="1022200"/>
                    <a:pt x="2453364" y="1009775"/>
                    <a:pt x="2465367" y="1022200"/>
                  </a:cubicBezTo>
                  <a:cubicBezTo>
                    <a:pt x="2482636" y="1022200"/>
                    <a:pt x="2474002" y="1053367"/>
                    <a:pt x="2484531" y="1053367"/>
                  </a:cubicBezTo>
                  <a:cubicBezTo>
                    <a:pt x="2495060" y="1053367"/>
                    <a:pt x="2491691" y="1068319"/>
                    <a:pt x="2519067" y="1068319"/>
                  </a:cubicBezTo>
                  <a:cubicBezTo>
                    <a:pt x="2546023" y="1068319"/>
                    <a:pt x="2554657" y="1075900"/>
                    <a:pt x="2573400" y="1075900"/>
                  </a:cubicBezTo>
                  <a:cubicBezTo>
                    <a:pt x="2592142" y="1075900"/>
                    <a:pt x="2604988" y="1086008"/>
                    <a:pt x="2619519" y="1086008"/>
                  </a:cubicBezTo>
                  <a:cubicBezTo>
                    <a:pt x="2634891" y="1086008"/>
                    <a:pt x="2634470" y="1092326"/>
                    <a:pt x="2651739" y="1092326"/>
                  </a:cubicBezTo>
                  <a:cubicBezTo>
                    <a:pt x="2668586" y="1092326"/>
                    <a:pt x="2663321" y="1088956"/>
                    <a:pt x="2682906" y="1088956"/>
                  </a:cubicBezTo>
                  <a:cubicBezTo>
                    <a:pt x="2702701" y="1088956"/>
                    <a:pt x="2713652" y="1092326"/>
                    <a:pt x="2723760" y="1092326"/>
                  </a:cubicBezTo>
                  <a:cubicBezTo>
                    <a:pt x="2732815" y="1092326"/>
                    <a:pt x="2731341" y="1093800"/>
                    <a:pt x="2747136" y="1093800"/>
                  </a:cubicBezTo>
                  <a:cubicBezTo>
                    <a:pt x="2763351" y="1093800"/>
                    <a:pt x="2771143" y="1095274"/>
                    <a:pt x="2785673" y="1095274"/>
                  </a:cubicBezTo>
                  <a:cubicBezTo>
                    <a:pt x="2800204" y="1095274"/>
                    <a:pt x="2806311" y="1096327"/>
                    <a:pt x="2820842" y="1096327"/>
                  </a:cubicBezTo>
                  <a:cubicBezTo>
                    <a:pt x="2835794" y="1096327"/>
                    <a:pt x="2830529" y="1113595"/>
                    <a:pt x="2841479" y="1113595"/>
                  </a:cubicBezTo>
                  <a:cubicBezTo>
                    <a:pt x="2852430" y="1113595"/>
                    <a:pt x="2852430" y="1111279"/>
                    <a:pt x="2856852" y="1119913"/>
                  </a:cubicBezTo>
                  <a:cubicBezTo>
                    <a:pt x="2856852" y="1130442"/>
                    <a:pt x="2886124" y="1142025"/>
                    <a:pt x="2876016" y="1142025"/>
                  </a:cubicBezTo>
                  <a:cubicBezTo>
                    <a:pt x="2886124" y="1142025"/>
                    <a:pt x="2895601" y="1152133"/>
                    <a:pt x="2909711" y="1166032"/>
                  </a:cubicBezTo>
                  <a:cubicBezTo>
                    <a:pt x="2924030" y="1180352"/>
                    <a:pt x="2937929" y="1193408"/>
                    <a:pt x="2931190" y="1193408"/>
                  </a:cubicBezTo>
                  <a:cubicBezTo>
                    <a:pt x="2937929" y="1193408"/>
                    <a:pt x="2943615" y="1203095"/>
                    <a:pt x="2956251" y="1215520"/>
                  </a:cubicBezTo>
                  <a:cubicBezTo>
                    <a:pt x="2968675" y="1227945"/>
                    <a:pt x="2980257" y="1241423"/>
                    <a:pt x="2995631" y="1241423"/>
                  </a:cubicBezTo>
                  <a:cubicBezTo>
                    <a:pt x="3011425" y="1241423"/>
                    <a:pt x="3009109" y="1238053"/>
                    <a:pt x="3023007" y="1251952"/>
                  </a:cubicBezTo>
                  <a:cubicBezTo>
                    <a:pt x="3036906" y="1265430"/>
                    <a:pt x="3044066" y="1266904"/>
                    <a:pt x="3055649" y="1266904"/>
                  </a:cubicBezTo>
                  <a:cubicBezTo>
                    <a:pt x="3067231" y="1266904"/>
                    <a:pt x="3085974" y="1264588"/>
                    <a:pt x="3076708" y="1264588"/>
                  </a:cubicBezTo>
                  <a:cubicBezTo>
                    <a:pt x="3076708" y="1273643"/>
                    <a:pt x="3089764" y="1295755"/>
                    <a:pt x="3079655" y="1295755"/>
                  </a:cubicBezTo>
                  <a:cubicBezTo>
                    <a:pt x="3089764" y="1295755"/>
                    <a:pt x="3093133" y="1304389"/>
                    <a:pt x="3097977" y="1314076"/>
                  </a:cubicBezTo>
                  <a:cubicBezTo>
                    <a:pt x="3097977" y="1326080"/>
                    <a:pt x="3123879" y="1341031"/>
                    <a:pt x="3115245" y="1341031"/>
                  </a:cubicBezTo>
                  <a:cubicBezTo>
                    <a:pt x="3123879" y="1341031"/>
                    <a:pt x="3122405" y="1354930"/>
                    <a:pt x="3122405" y="1371356"/>
                  </a:cubicBezTo>
                  <a:cubicBezTo>
                    <a:pt x="3129566" y="1386308"/>
                    <a:pt x="3129987" y="1394942"/>
                    <a:pt x="3143464" y="1407788"/>
                  </a:cubicBezTo>
                  <a:cubicBezTo>
                    <a:pt x="3151677" y="1424635"/>
                    <a:pt x="3173579" y="1436639"/>
                    <a:pt x="3173579" y="1452854"/>
                  </a:cubicBezTo>
                  <a:cubicBezTo>
                    <a:pt x="3180739" y="1466753"/>
                    <a:pt x="3196111" y="1476440"/>
                    <a:pt x="3196111" y="1489918"/>
                  </a:cubicBezTo>
                  <a:cubicBezTo>
                    <a:pt x="3196111" y="1503396"/>
                    <a:pt x="3226436" y="1522980"/>
                    <a:pt x="3214433" y="1522980"/>
                  </a:cubicBezTo>
                  <a:cubicBezTo>
                    <a:pt x="3226436" y="1522980"/>
                    <a:pt x="3225383" y="1536037"/>
                    <a:pt x="3238440" y="1548462"/>
                  </a:cubicBezTo>
                  <a:cubicBezTo>
                    <a:pt x="3251496" y="1561518"/>
                    <a:pt x="3256761" y="1563413"/>
                    <a:pt x="3256761" y="1576891"/>
                  </a:cubicBezTo>
                  <a:cubicBezTo>
                    <a:pt x="3256761" y="1589948"/>
                    <a:pt x="3283716" y="1607216"/>
                    <a:pt x="3272977" y="1607216"/>
                  </a:cubicBezTo>
                  <a:cubicBezTo>
                    <a:pt x="3283927" y="1607216"/>
                    <a:pt x="3272977" y="1641753"/>
                    <a:pt x="3291298" y="1641753"/>
                  </a:cubicBezTo>
                  <a:cubicBezTo>
                    <a:pt x="3308987" y="1641753"/>
                    <a:pt x="3319728" y="1667655"/>
                    <a:pt x="3331099" y="1667655"/>
                  </a:cubicBezTo>
                  <a:cubicBezTo>
                    <a:pt x="3342471" y="1667655"/>
                    <a:pt x="3350263" y="1668708"/>
                    <a:pt x="3350263" y="1655230"/>
                  </a:cubicBezTo>
                  <a:cubicBezTo>
                    <a:pt x="3350263" y="1642174"/>
                    <a:pt x="3354685" y="1628275"/>
                    <a:pt x="3359318" y="1638383"/>
                  </a:cubicBezTo>
                  <a:cubicBezTo>
                    <a:pt x="3370901" y="1638383"/>
                    <a:pt x="3378481" y="1633961"/>
                    <a:pt x="3387116" y="1633961"/>
                  </a:cubicBezTo>
                  <a:cubicBezTo>
                    <a:pt x="3395750" y="1633961"/>
                    <a:pt x="3382694" y="1625748"/>
                    <a:pt x="3377640" y="1625748"/>
                  </a:cubicBezTo>
                  <a:cubicBezTo>
                    <a:pt x="3383536" y="1625748"/>
                    <a:pt x="3385852" y="1611428"/>
                    <a:pt x="3379535" y="1611428"/>
                  </a:cubicBezTo>
                  <a:cubicBezTo>
                    <a:pt x="3385852" y="1611428"/>
                    <a:pt x="3383957" y="1605110"/>
                    <a:pt x="3393855" y="1605110"/>
                  </a:cubicBezTo>
                  <a:cubicBezTo>
                    <a:pt x="3404384" y="1605110"/>
                    <a:pt x="3407332" y="1613323"/>
                    <a:pt x="3407332" y="1600688"/>
                  </a:cubicBezTo>
                  <a:cubicBezTo>
                    <a:pt x="3402489" y="1589737"/>
                    <a:pt x="3402489" y="1571837"/>
                    <a:pt x="3397224" y="1561308"/>
                  </a:cubicBezTo>
                  <a:cubicBezTo>
                    <a:pt x="3397224" y="1548251"/>
                    <a:pt x="3415966" y="1526139"/>
                    <a:pt x="3410281" y="1526139"/>
                  </a:cubicBezTo>
                  <a:cubicBezTo>
                    <a:pt x="3416177" y="1526139"/>
                    <a:pt x="3400594" y="1507397"/>
                    <a:pt x="3400594" y="1491181"/>
                  </a:cubicBezTo>
                  <a:cubicBezTo>
                    <a:pt x="3392802" y="1476651"/>
                    <a:pt x="3394276" y="1455592"/>
                    <a:pt x="3388169" y="1455592"/>
                  </a:cubicBezTo>
                  <a:cubicBezTo>
                    <a:pt x="3394276" y="1455592"/>
                    <a:pt x="3383746" y="1430953"/>
                    <a:pt x="3393855" y="1430953"/>
                  </a:cubicBezTo>
                  <a:cubicBezTo>
                    <a:pt x="3403542" y="1430953"/>
                    <a:pt x="3402489" y="1430953"/>
                    <a:pt x="3414914" y="1430953"/>
                  </a:cubicBezTo>
                  <a:cubicBezTo>
                    <a:pt x="3425443" y="1430953"/>
                    <a:pt x="3423548" y="1418528"/>
                    <a:pt x="3431129" y="1418528"/>
                  </a:cubicBezTo>
                  <a:cubicBezTo>
                    <a:pt x="3438920" y="1418528"/>
                    <a:pt x="3451346" y="1417054"/>
                    <a:pt x="3461033" y="1417054"/>
                  </a:cubicBezTo>
                  <a:cubicBezTo>
                    <a:pt x="3470720" y="1417054"/>
                    <a:pt x="3472405" y="1395363"/>
                    <a:pt x="3467772" y="1395363"/>
                  </a:cubicBezTo>
                  <a:cubicBezTo>
                    <a:pt x="3472615" y="1395363"/>
                    <a:pt x="3482302" y="1385676"/>
                    <a:pt x="3492621" y="1385676"/>
                  </a:cubicBezTo>
                  <a:cubicBezTo>
                    <a:pt x="3504203" y="1385676"/>
                    <a:pt x="3523367" y="1359353"/>
                    <a:pt x="3532212" y="1359353"/>
                  </a:cubicBezTo>
                  <a:cubicBezTo>
                    <a:pt x="3540846" y="1359353"/>
                    <a:pt x="3551376" y="1338083"/>
                    <a:pt x="3558957" y="1338083"/>
                  </a:cubicBezTo>
                  <a:cubicBezTo>
                    <a:pt x="3565696" y="1338083"/>
                    <a:pt x="3572435" y="1331344"/>
                    <a:pt x="3585069" y="1331344"/>
                  </a:cubicBezTo>
                  <a:cubicBezTo>
                    <a:pt x="3596652" y="1331344"/>
                    <a:pt x="3612025" y="1318919"/>
                    <a:pt x="3606128" y="1318919"/>
                  </a:cubicBezTo>
                  <a:cubicBezTo>
                    <a:pt x="3611815" y="1318919"/>
                    <a:pt x="3621502" y="1312181"/>
                    <a:pt x="3616658" y="1312181"/>
                  </a:cubicBezTo>
                  <a:cubicBezTo>
                    <a:pt x="3621502" y="1312181"/>
                    <a:pt x="3608866" y="1295965"/>
                    <a:pt x="3606128" y="1295965"/>
                  </a:cubicBezTo>
                  <a:cubicBezTo>
                    <a:pt x="3608866" y="1295965"/>
                    <a:pt x="3606971" y="1288384"/>
                    <a:pt x="3621502" y="1288384"/>
                  </a:cubicBezTo>
                  <a:cubicBezTo>
                    <a:pt x="3634980" y="1288384"/>
                    <a:pt x="3636875" y="1299966"/>
                    <a:pt x="3644456" y="1299966"/>
                  </a:cubicBezTo>
                  <a:cubicBezTo>
                    <a:pt x="3652247" y="1299966"/>
                    <a:pt x="3648457" y="1301441"/>
                    <a:pt x="3664672" y="1301441"/>
                  </a:cubicBezTo>
                  <a:cubicBezTo>
                    <a:pt x="3681941" y="1301441"/>
                    <a:pt x="3683836" y="1307758"/>
                    <a:pt x="3692470" y="1307758"/>
                  </a:cubicBezTo>
                  <a:cubicBezTo>
                    <a:pt x="3702157" y="1307758"/>
                    <a:pt x="3707843" y="1304810"/>
                    <a:pt x="3725112" y="1304810"/>
                  </a:cubicBezTo>
                  <a:cubicBezTo>
                    <a:pt x="3743433" y="1304810"/>
                    <a:pt x="3745328" y="1310496"/>
                    <a:pt x="3757964" y="1310496"/>
                  </a:cubicBezTo>
                  <a:cubicBezTo>
                    <a:pt x="3770388" y="1310496"/>
                    <a:pt x="3773336" y="1300809"/>
                    <a:pt x="3784708" y="1312812"/>
                  </a:cubicBezTo>
                  <a:cubicBezTo>
                    <a:pt x="3796290" y="1324395"/>
                    <a:pt x="3803029" y="1333029"/>
                    <a:pt x="3814612" y="1344401"/>
                  </a:cubicBezTo>
                  <a:cubicBezTo>
                    <a:pt x="3826194" y="1355983"/>
                    <a:pt x="3829985" y="1362090"/>
                    <a:pt x="3841357" y="1362090"/>
                  </a:cubicBezTo>
                  <a:cubicBezTo>
                    <a:pt x="3851886" y="1362090"/>
                    <a:pt x="3865363" y="1375147"/>
                    <a:pt x="3857783" y="1375147"/>
                  </a:cubicBezTo>
                  <a:cubicBezTo>
                    <a:pt x="3864522" y="1375147"/>
                    <a:pt x="3876104" y="1397680"/>
                    <a:pt x="3863468" y="1397680"/>
                  </a:cubicBezTo>
                  <a:cubicBezTo>
                    <a:pt x="3863468" y="1411158"/>
                    <a:pt x="3873998" y="1386729"/>
                    <a:pt x="3881579" y="1403366"/>
                  </a:cubicBezTo>
                  <a:cubicBezTo>
                    <a:pt x="3900743" y="1403366"/>
                    <a:pt x="3902638" y="1424425"/>
                    <a:pt x="3902638" y="1434112"/>
                  </a:cubicBezTo>
                  <a:cubicBezTo>
                    <a:pt x="3902638" y="1444220"/>
                    <a:pt x="3913168" y="1461910"/>
                    <a:pt x="3905586" y="1469280"/>
                  </a:cubicBezTo>
                  <a:cubicBezTo>
                    <a:pt x="3893161" y="1469280"/>
                    <a:pt x="3904744" y="1492866"/>
                    <a:pt x="3913378" y="1492866"/>
                  </a:cubicBezTo>
                  <a:cubicBezTo>
                    <a:pt x="3918222" y="1501500"/>
                    <a:pt x="3925803" y="1507186"/>
                    <a:pt x="3941176" y="1507186"/>
                  </a:cubicBezTo>
                  <a:cubicBezTo>
                    <a:pt x="3957602" y="1507186"/>
                    <a:pt x="3957602" y="1503396"/>
                    <a:pt x="3966236" y="1503396"/>
                  </a:cubicBezTo>
                  <a:cubicBezTo>
                    <a:pt x="3974870" y="1503396"/>
                    <a:pt x="3981609" y="1485706"/>
                    <a:pt x="3989190" y="1500026"/>
                  </a:cubicBezTo>
                  <a:cubicBezTo>
                    <a:pt x="4004563" y="1500026"/>
                    <a:pt x="4013197" y="1501921"/>
                    <a:pt x="4008354" y="1501921"/>
                  </a:cubicBezTo>
                  <a:cubicBezTo>
                    <a:pt x="4013197" y="1501921"/>
                    <a:pt x="4020778" y="1498552"/>
                    <a:pt x="4027517" y="1513083"/>
                  </a:cubicBezTo>
                  <a:cubicBezTo>
                    <a:pt x="4027517" y="1526982"/>
                    <a:pt x="4057211" y="1550567"/>
                    <a:pt x="4048576" y="1550567"/>
                  </a:cubicBezTo>
                  <a:cubicBezTo>
                    <a:pt x="4057211" y="1550567"/>
                    <a:pt x="4071530" y="1576049"/>
                    <a:pt x="4063107" y="1576049"/>
                  </a:cubicBezTo>
                  <a:cubicBezTo>
                    <a:pt x="4071741" y="1576049"/>
                    <a:pt x="4081217" y="1584683"/>
                    <a:pt x="4074479" y="1584683"/>
                  </a:cubicBezTo>
                  <a:cubicBezTo>
                    <a:pt x="4081217" y="1584683"/>
                    <a:pt x="4089852" y="1603425"/>
                    <a:pt x="4083113" y="1603425"/>
                  </a:cubicBezTo>
                  <a:cubicBezTo>
                    <a:pt x="4089852" y="1603425"/>
                    <a:pt x="4089852" y="1622589"/>
                    <a:pt x="4084166" y="1616271"/>
                  </a:cubicBezTo>
                  <a:cubicBezTo>
                    <a:pt x="4075532" y="1616271"/>
                    <a:pt x="4072584" y="1619641"/>
                    <a:pt x="4069846" y="1619641"/>
                  </a:cubicBezTo>
                  <a:cubicBezTo>
                    <a:pt x="4073636" y="1619641"/>
                    <a:pt x="4086061" y="1629328"/>
                    <a:pt x="4080375" y="1629328"/>
                  </a:cubicBezTo>
                  <a:cubicBezTo>
                    <a:pt x="4086061" y="1629328"/>
                    <a:pt x="4087956" y="1640278"/>
                    <a:pt x="4086061" y="1640278"/>
                  </a:cubicBezTo>
                  <a:cubicBezTo>
                    <a:pt x="4089010" y="1640278"/>
                    <a:pt x="4095748" y="1648913"/>
                    <a:pt x="4091958" y="1648913"/>
                  </a:cubicBezTo>
                  <a:cubicBezTo>
                    <a:pt x="4095748" y="1648913"/>
                    <a:pt x="4104382" y="1651861"/>
                    <a:pt x="4098697" y="1651861"/>
                  </a:cubicBezTo>
                  <a:cubicBezTo>
                    <a:pt x="4104593" y="1651861"/>
                    <a:pt x="4102487" y="1669550"/>
                    <a:pt x="4099539" y="1669550"/>
                  </a:cubicBezTo>
                  <a:cubicBezTo>
                    <a:pt x="4102487" y="1669550"/>
                    <a:pt x="4108173" y="1685345"/>
                    <a:pt x="4099539" y="1685345"/>
                  </a:cubicBezTo>
                  <a:cubicBezTo>
                    <a:pt x="4108173" y="1685345"/>
                    <a:pt x="4113017" y="1718407"/>
                    <a:pt x="4104382" y="1718407"/>
                  </a:cubicBezTo>
                  <a:cubicBezTo>
                    <a:pt x="4095748" y="1718407"/>
                    <a:pt x="4113859" y="1747258"/>
                    <a:pt x="4105225" y="1747258"/>
                  </a:cubicBezTo>
                  <a:cubicBezTo>
                    <a:pt x="4113859" y="1747258"/>
                    <a:pt x="4116807" y="1769791"/>
                    <a:pt x="4113017" y="1769791"/>
                  </a:cubicBezTo>
                  <a:cubicBezTo>
                    <a:pt x="4116807" y="1769791"/>
                    <a:pt x="4107120" y="1755892"/>
                    <a:pt x="4121651" y="1755892"/>
                  </a:cubicBezTo>
                  <a:cubicBezTo>
                    <a:pt x="4132180" y="1766421"/>
                    <a:pt x="4159136" y="1779899"/>
                    <a:pt x="4147553" y="1779899"/>
                  </a:cubicBezTo>
                  <a:cubicBezTo>
                    <a:pt x="4159136" y="1779899"/>
                    <a:pt x="4187986" y="1814014"/>
                    <a:pt x="4176404" y="1814014"/>
                  </a:cubicBezTo>
                  <a:cubicBezTo>
                    <a:pt x="4187986" y="1814014"/>
                    <a:pt x="4206307" y="1846235"/>
                    <a:pt x="4199358" y="1846235"/>
                  </a:cubicBezTo>
                  <a:cubicBezTo>
                    <a:pt x="4206097" y="1846235"/>
                    <a:pt x="4212836" y="1868347"/>
                    <a:pt x="4203149" y="1868347"/>
                  </a:cubicBezTo>
                  <a:cubicBezTo>
                    <a:pt x="4212836" y="1868347"/>
                    <a:pt x="4225261" y="1890037"/>
                    <a:pt x="4217679" y="1890037"/>
                  </a:cubicBezTo>
                  <a:cubicBezTo>
                    <a:pt x="4225261" y="1890037"/>
                    <a:pt x="4214732" y="1909201"/>
                    <a:pt x="4228209" y="1909201"/>
                  </a:cubicBezTo>
                  <a:cubicBezTo>
                    <a:pt x="4241687" y="1909201"/>
                    <a:pt x="4250321" y="1922679"/>
                    <a:pt x="4250321" y="1934261"/>
                  </a:cubicBezTo>
                  <a:cubicBezTo>
                    <a:pt x="4250321" y="1945843"/>
                    <a:pt x="4248425" y="1951529"/>
                    <a:pt x="4261903" y="1951529"/>
                  </a:cubicBezTo>
                  <a:cubicBezTo>
                    <a:pt x="4275381" y="1951529"/>
                    <a:pt x="4295598" y="1987119"/>
                    <a:pt x="4309918" y="1987119"/>
                  </a:cubicBezTo>
                  <a:cubicBezTo>
                    <a:pt x="4325291" y="1987119"/>
                    <a:pt x="4348455" y="2006914"/>
                    <a:pt x="4340663" y="2006914"/>
                  </a:cubicBezTo>
                  <a:cubicBezTo>
                    <a:pt x="4347402" y="2006914"/>
                    <a:pt x="4353088" y="2017022"/>
                    <a:pt x="4360880" y="2017022"/>
                  </a:cubicBezTo>
                  <a:cubicBezTo>
                    <a:pt x="4368672" y="2017022"/>
                    <a:pt x="4384887" y="2012811"/>
                    <a:pt x="4374358" y="2012811"/>
                  </a:cubicBezTo>
                  <a:cubicBezTo>
                    <a:pt x="4384045" y="2012811"/>
                    <a:pt x="4367619" y="1978274"/>
                    <a:pt x="4354141" y="1978274"/>
                  </a:cubicBezTo>
                  <a:cubicBezTo>
                    <a:pt x="4366566" y="1978274"/>
                    <a:pt x="4332029" y="1964375"/>
                    <a:pt x="4332029" y="1952372"/>
                  </a:cubicBezTo>
                  <a:cubicBezTo>
                    <a:pt x="4327396" y="1942684"/>
                    <a:pt x="4334135" y="1935524"/>
                    <a:pt x="4327396" y="1921626"/>
                  </a:cubicBezTo>
                  <a:cubicBezTo>
                    <a:pt x="4327396" y="1905831"/>
                    <a:pt x="4326344" y="1880771"/>
                    <a:pt x="4310970" y="1880771"/>
                  </a:cubicBezTo>
                  <a:cubicBezTo>
                    <a:pt x="4293702" y="1880771"/>
                    <a:pt x="4271590" y="1840970"/>
                    <a:pt x="4261061" y="1840970"/>
                  </a:cubicBezTo>
                  <a:cubicBezTo>
                    <a:pt x="4271590" y="1840970"/>
                    <a:pt x="4239159" y="1817805"/>
                    <a:pt x="4232421" y="1817805"/>
                  </a:cubicBezTo>
                  <a:cubicBezTo>
                    <a:pt x="4240002" y="1817805"/>
                    <a:pt x="4227577" y="1811066"/>
                    <a:pt x="4212204" y="1811066"/>
                  </a:cubicBezTo>
                  <a:cubicBezTo>
                    <a:pt x="4201674" y="1800537"/>
                    <a:pt x="4194936" y="1787059"/>
                    <a:pt x="4190092" y="1777372"/>
                  </a:cubicBezTo>
                  <a:cubicBezTo>
                    <a:pt x="4190092" y="1766843"/>
                    <a:pt x="4182511" y="1744731"/>
                    <a:pt x="4170929" y="1744731"/>
                  </a:cubicBezTo>
                  <a:cubicBezTo>
                    <a:pt x="4182511" y="1744731"/>
                    <a:pt x="4167981" y="1727462"/>
                    <a:pt x="4160399" y="1727462"/>
                  </a:cubicBezTo>
                  <a:cubicBezTo>
                    <a:pt x="4168191" y="1727462"/>
                    <a:pt x="4172824" y="1709141"/>
                    <a:pt x="4164190" y="1709141"/>
                  </a:cubicBezTo>
                  <a:cubicBezTo>
                    <a:pt x="4154503" y="1709141"/>
                    <a:pt x="4146922" y="1722619"/>
                    <a:pt x="4142289" y="1722619"/>
                  </a:cubicBezTo>
                  <a:cubicBezTo>
                    <a:pt x="4146079" y="1722619"/>
                    <a:pt x="4134497" y="1708720"/>
                    <a:pt x="4129864" y="1699665"/>
                  </a:cubicBezTo>
                  <a:cubicBezTo>
                    <a:pt x="4129864" y="1689556"/>
                    <a:pt x="4141235" y="1657336"/>
                    <a:pt x="4136602" y="1657336"/>
                  </a:cubicBezTo>
                  <a:cubicBezTo>
                    <a:pt x="4141446" y="1657336"/>
                    <a:pt x="4142499" y="1645754"/>
                    <a:pt x="4142499" y="1630381"/>
                  </a:cubicBezTo>
                  <a:cubicBezTo>
                    <a:pt x="4135760" y="1616903"/>
                    <a:pt x="4125231" y="1599635"/>
                    <a:pt x="4135760" y="1599635"/>
                  </a:cubicBezTo>
                  <a:cubicBezTo>
                    <a:pt x="4146290" y="1599635"/>
                    <a:pt x="4164611" y="1585736"/>
                    <a:pt x="4164611" y="1600056"/>
                  </a:cubicBezTo>
                  <a:cubicBezTo>
                    <a:pt x="4171350" y="1613534"/>
                    <a:pt x="4155977" y="1621536"/>
                    <a:pt x="4166717" y="1621536"/>
                  </a:cubicBezTo>
                  <a:cubicBezTo>
                    <a:pt x="4178299" y="1621536"/>
                    <a:pt x="4185880" y="1625327"/>
                    <a:pt x="4196410" y="1625327"/>
                  </a:cubicBezTo>
                  <a:cubicBezTo>
                    <a:pt x="4201254" y="1635014"/>
                    <a:pt x="4229051" y="1640700"/>
                    <a:pt x="4217469" y="1640700"/>
                  </a:cubicBezTo>
                  <a:cubicBezTo>
                    <a:pt x="4229051" y="1640700"/>
                    <a:pt x="4253058" y="1653756"/>
                    <a:pt x="4241476" y="1653756"/>
                  </a:cubicBezTo>
                  <a:cubicBezTo>
                    <a:pt x="4253058" y="1653756"/>
                    <a:pt x="4255796" y="1674394"/>
                    <a:pt x="4262535" y="1687872"/>
                  </a:cubicBezTo>
                  <a:cubicBezTo>
                    <a:pt x="4262535" y="1701770"/>
                    <a:pt x="4286542" y="1697980"/>
                    <a:pt x="4280856" y="1697980"/>
                  </a:cubicBezTo>
                  <a:cubicBezTo>
                    <a:pt x="4286753" y="1697980"/>
                    <a:pt x="4298125" y="1708509"/>
                    <a:pt x="4291386" y="1708509"/>
                  </a:cubicBezTo>
                  <a:cubicBezTo>
                    <a:pt x="4297071" y="1708509"/>
                    <a:pt x="4311602" y="1716722"/>
                    <a:pt x="4304864" y="1716722"/>
                  </a:cubicBezTo>
                  <a:cubicBezTo>
                    <a:pt x="4310549" y="1716722"/>
                    <a:pt x="4332661" y="1720513"/>
                    <a:pt x="4325080" y="1720513"/>
                  </a:cubicBezTo>
                  <a:cubicBezTo>
                    <a:pt x="4333714" y="1720513"/>
                    <a:pt x="4349087" y="1753154"/>
                    <a:pt x="4341506" y="1753154"/>
                  </a:cubicBezTo>
                  <a:cubicBezTo>
                    <a:pt x="4349298" y="1753154"/>
                    <a:pt x="4343401" y="1772739"/>
                    <a:pt x="4337716" y="1772739"/>
                  </a:cubicBezTo>
                  <a:cubicBezTo>
                    <a:pt x="4343401" y="1772739"/>
                    <a:pt x="4330977" y="1784743"/>
                    <a:pt x="4340453" y="1784743"/>
                  </a:cubicBezTo>
                  <a:cubicBezTo>
                    <a:pt x="4350983" y="1784743"/>
                    <a:pt x="4354773" y="1769370"/>
                    <a:pt x="4358774" y="1778004"/>
                  </a:cubicBezTo>
                  <a:cubicBezTo>
                    <a:pt x="4367409" y="1778004"/>
                    <a:pt x="4366355" y="1766421"/>
                    <a:pt x="4380675" y="1766421"/>
                  </a:cubicBezTo>
                  <a:cubicBezTo>
                    <a:pt x="4394153" y="1766421"/>
                    <a:pt x="4418160" y="1755892"/>
                    <a:pt x="4412474" y="1755892"/>
                  </a:cubicBezTo>
                  <a:cubicBezTo>
                    <a:pt x="4418371" y="1755892"/>
                    <a:pt x="4405735" y="1733359"/>
                    <a:pt x="4415423" y="1733359"/>
                  </a:cubicBezTo>
                  <a:cubicBezTo>
                    <a:pt x="4423004" y="1733359"/>
                    <a:pt x="4454803" y="1725146"/>
                    <a:pt x="4447011" y="1725146"/>
                  </a:cubicBezTo>
                  <a:cubicBezTo>
                    <a:pt x="4453750" y="1725146"/>
                    <a:pt x="4486391" y="1701560"/>
                    <a:pt x="4477757" y="1701560"/>
                  </a:cubicBezTo>
                  <a:cubicBezTo>
                    <a:pt x="4486391" y="1701560"/>
                    <a:pt x="4480705" y="1677974"/>
                    <a:pt x="4472913" y="1660706"/>
                  </a:cubicBezTo>
                  <a:cubicBezTo>
                    <a:pt x="4472913" y="1641963"/>
                    <a:pt x="4451854" y="1622800"/>
                    <a:pt x="4451854" y="1606374"/>
                  </a:cubicBezTo>
                  <a:cubicBezTo>
                    <a:pt x="4440483" y="1594791"/>
                    <a:pt x="4430796" y="1568889"/>
                    <a:pt x="4420266" y="1568889"/>
                  </a:cubicBezTo>
                  <a:cubicBezTo>
                    <a:pt x="4430796" y="1568889"/>
                    <a:pt x="4409737" y="1547198"/>
                    <a:pt x="4399207" y="1547198"/>
                  </a:cubicBezTo>
                  <a:cubicBezTo>
                    <a:pt x="4388678" y="1547198"/>
                    <a:pt x="4387625" y="1530983"/>
                    <a:pt x="4373305" y="1530983"/>
                  </a:cubicBezTo>
                  <a:cubicBezTo>
                    <a:pt x="4386783" y="1530983"/>
                    <a:pt x="4356037" y="1518347"/>
                    <a:pt x="4343401" y="1506344"/>
                  </a:cubicBezTo>
                  <a:cubicBezTo>
                    <a:pt x="4330977" y="1493919"/>
                    <a:pt x="4341506" y="1481916"/>
                    <a:pt x="4326133" y="1481916"/>
                  </a:cubicBezTo>
                  <a:cubicBezTo>
                    <a:pt x="4310760" y="1481916"/>
                    <a:pt x="4308865" y="1475598"/>
                    <a:pt x="4303179" y="1463173"/>
                  </a:cubicBezTo>
                  <a:cubicBezTo>
                    <a:pt x="4303179" y="1449695"/>
                    <a:pt x="4311813" y="1430953"/>
                    <a:pt x="4306127" y="1430953"/>
                  </a:cubicBezTo>
                  <a:cubicBezTo>
                    <a:pt x="4311813" y="1430953"/>
                    <a:pt x="4315814" y="1427162"/>
                    <a:pt x="4324238" y="1427162"/>
                  </a:cubicBezTo>
                  <a:cubicBezTo>
                    <a:pt x="4332029" y="1427162"/>
                    <a:pt x="4335820" y="1414106"/>
                    <a:pt x="4330134" y="1414106"/>
                  </a:cubicBezTo>
                  <a:cubicBezTo>
                    <a:pt x="4335820" y="1414106"/>
                    <a:pt x="4338768" y="1407367"/>
                    <a:pt x="4344454" y="1413263"/>
                  </a:cubicBezTo>
                  <a:cubicBezTo>
                    <a:pt x="4353088" y="1413263"/>
                    <a:pt x="4357932" y="1402734"/>
                    <a:pt x="4353088" y="1402734"/>
                  </a:cubicBezTo>
                  <a:cubicBezTo>
                    <a:pt x="4357932" y="1402734"/>
                    <a:pt x="4363618" y="1396416"/>
                    <a:pt x="4374147" y="1396416"/>
                  </a:cubicBezTo>
                  <a:cubicBezTo>
                    <a:pt x="4378991" y="1406103"/>
                    <a:pt x="4389520" y="1403576"/>
                    <a:pt x="4400050" y="1403576"/>
                  </a:cubicBezTo>
                  <a:cubicBezTo>
                    <a:pt x="4411632" y="1403576"/>
                    <a:pt x="4429954" y="1409894"/>
                    <a:pt x="4421109" y="1409894"/>
                  </a:cubicBezTo>
                  <a:cubicBezTo>
                    <a:pt x="4430796" y="1409894"/>
                    <a:pt x="4432691" y="1428005"/>
                    <a:pt x="4424057" y="1428005"/>
                  </a:cubicBezTo>
                  <a:cubicBezTo>
                    <a:pt x="4432691" y="1428005"/>
                    <a:pt x="4420266" y="1444431"/>
                    <a:pt x="4438377" y="1444431"/>
                  </a:cubicBezTo>
                  <a:cubicBezTo>
                    <a:pt x="4457541" y="1444431"/>
                    <a:pt x="4473967" y="1441061"/>
                    <a:pt x="4464279" y="1441061"/>
                  </a:cubicBezTo>
                  <a:cubicBezTo>
                    <a:pt x="4474809" y="1441061"/>
                    <a:pt x="4452697" y="1426109"/>
                    <a:pt x="4449959" y="1426109"/>
                  </a:cubicBezTo>
                  <a:cubicBezTo>
                    <a:pt x="4452908" y="1426109"/>
                    <a:pt x="4462384" y="1421266"/>
                    <a:pt x="4457751" y="1421266"/>
                  </a:cubicBezTo>
                  <a:cubicBezTo>
                    <a:pt x="4463437" y="1421266"/>
                    <a:pt x="4476072" y="1414527"/>
                    <a:pt x="4487444" y="1414527"/>
                  </a:cubicBezTo>
                  <a:cubicBezTo>
                    <a:pt x="4497974" y="1414527"/>
                    <a:pt x="4502817" y="1417265"/>
                    <a:pt x="4513347" y="1417265"/>
                  </a:cubicBezTo>
                  <a:cubicBezTo>
                    <a:pt x="4521138" y="1425056"/>
                    <a:pt x="4538407" y="1421055"/>
                    <a:pt x="4533563" y="1421055"/>
                  </a:cubicBezTo>
                  <a:cubicBezTo>
                    <a:pt x="4538407" y="1421055"/>
                    <a:pt x="4538407" y="1415369"/>
                    <a:pt x="4549778" y="1415369"/>
                  </a:cubicBezTo>
                  <a:cubicBezTo>
                    <a:pt x="4562204" y="1415369"/>
                    <a:pt x="4578630" y="1405682"/>
                    <a:pt x="4572733" y="1405682"/>
                  </a:cubicBezTo>
                  <a:cubicBezTo>
                    <a:pt x="4578630" y="1405682"/>
                    <a:pt x="4603479" y="1404840"/>
                    <a:pt x="4596740" y="1404840"/>
                  </a:cubicBezTo>
                  <a:cubicBezTo>
                    <a:pt x="4604532" y="1404840"/>
                    <a:pt x="4626644" y="1399575"/>
                    <a:pt x="4633382" y="1405682"/>
                  </a:cubicBezTo>
                  <a:cubicBezTo>
                    <a:pt x="4642016" y="1405682"/>
                    <a:pt x="4652546" y="1395574"/>
                    <a:pt x="4662233" y="1395574"/>
                  </a:cubicBezTo>
                  <a:cubicBezTo>
                    <a:pt x="4671920" y="1395574"/>
                    <a:pt x="4676553" y="1381254"/>
                    <a:pt x="4685188" y="1381254"/>
                  </a:cubicBezTo>
                  <a:cubicBezTo>
                    <a:pt x="4692979" y="1381254"/>
                    <a:pt x="4681397" y="1374936"/>
                    <a:pt x="4697612" y="1374936"/>
                  </a:cubicBezTo>
                  <a:cubicBezTo>
                    <a:pt x="4712985" y="1374936"/>
                    <a:pt x="4711090" y="1358089"/>
                    <a:pt x="4718671" y="1358089"/>
                  </a:cubicBezTo>
                  <a:cubicBezTo>
                    <a:pt x="4726252" y="1358089"/>
                    <a:pt x="4742678" y="1358510"/>
                    <a:pt x="4738677" y="1358510"/>
                  </a:cubicBezTo>
                  <a:cubicBezTo>
                    <a:pt x="4743521" y="1358510"/>
                    <a:pt x="4733834" y="1340189"/>
                    <a:pt x="4728990" y="1340189"/>
                  </a:cubicBezTo>
                  <a:cubicBezTo>
                    <a:pt x="4732991" y="1340189"/>
                    <a:pt x="4744363" y="1326711"/>
                    <a:pt x="4736782" y="1326711"/>
                  </a:cubicBezTo>
                  <a:cubicBezTo>
                    <a:pt x="4744573" y="1326711"/>
                    <a:pt x="4738677" y="1307548"/>
                    <a:pt x="4752155" y="1307548"/>
                  </a:cubicBezTo>
                  <a:cubicBezTo>
                    <a:pt x="4764579" y="1307548"/>
                    <a:pt x="4778057" y="1298492"/>
                    <a:pt x="4775109" y="1291753"/>
                  </a:cubicBezTo>
                  <a:cubicBezTo>
                    <a:pt x="4775109" y="1283962"/>
                    <a:pt x="4778899" y="1281645"/>
                    <a:pt x="4778899" y="1273432"/>
                  </a:cubicBezTo>
                  <a:cubicBezTo>
                    <a:pt x="4775109" y="1266272"/>
                    <a:pt x="4798063" y="1244160"/>
                    <a:pt x="4785638" y="1244160"/>
                  </a:cubicBezTo>
                  <a:cubicBezTo>
                    <a:pt x="4785638" y="1231736"/>
                    <a:pt x="4784796" y="1218679"/>
                    <a:pt x="4778899" y="1218679"/>
                  </a:cubicBezTo>
                  <a:cubicBezTo>
                    <a:pt x="4785638" y="1218679"/>
                    <a:pt x="4774056" y="1201411"/>
                    <a:pt x="4765422" y="1201411"/>
                  </a:cubicBezTo>
                  <a:cubicBezTo>
                    <a:pt x="4772161" y="1201411"/>
                    <a:pt x="4762473" y="1190250"/>
                    <a:pt x="4757630" y="1190250"/>
                  </a:cubicBezTo>
                  <a:cubicBezTo>
                    <a:pt x="4762473" y="1190250"/>
                    <a:pt x="4753839" y="1177193"/>
                    <a:pt x="4747943" y="1177193"/>
                  </a:cubicBezTo>
                  <a:cubicBezTo>
                    <a:pt x="4754682" y="1177193"/>
                    <a:pt x="4744152" y="1171928"/>
                    <a:pt x="4744152" y="1164137"/>
                  </a:cubicBezTo>
                  <a:cubicBezTo>
                    <a:pt x="4740151" y="1156977"/>
                    <a:pt x="4751944" y="1138655"/>
                    <a:pt x="4737413" y="1138655"/>
                  </a:cubicBezTo>
                  <a:cubicBezTo>
                    <a:pt x="4726884" y="1128547"/>
                    <a:pt x="4715302" y="1131495"/>
                    <a:pt x="4702666" y="1119492"/>
                  </a:cubicBezTo>
                  <a:cubicBezTo>
                    <a:pt x="4687294" y="1119492"/>
                    <a:pt x="4668130" y="1107488"/>
                    <a:pt x="4662233" y="1107488"/>
                  </a:cubicBezTo>
                  <a:cubicBezTo>
                    <a:pt x="4667077" y="1107488"/>
                    <a:pt x="4650651" y="1101170"/>
                    <a:pt x="4643070" y="1101170"/>
                  </a:cubicBezTo>
                  <a:cubicBezTo>
                    <a:pt x="4650861" y="1101170"/>
                    <a:pt x="4638226" y="1089588"/>
                    <a:pt x="4634436" y="1089588"/>
                  </a:cubicBezTo>
                  <a:cubicBezTo>
                    <a:pt x="4639279" y="1089588"/>
                    <a:pt x="4640332" y="1076531"/>
                    <a:pt x="4646860" y="1076531"/>
                  </a:cubicBezTo>
                  <a:cubicBezTo>
                    <a:pt x="4652546" y="1076531"/>
                    <a:pt x="4656547" y="1071267"/>
                    <a:pt x="4667919" y="1071267"/>
                  </a:cubicBezTo>
                  <a:cubicBezTo>
                    <a:pt x="4677606" y="1071267"/>
                    <a:pt x="4679501" y="1049155"/>
                    <a:pt x="4693822" y="1063054"/>
                  </a:cubicBezTo>
                  <a:cubicBezTo>
                    <a:pt x="4712985" y="1063054"/>
                    <a:pt x="4730464" y="1070214"/>
                    <a:pt x="4727516" y="1070214"/>
                  </a:cubicBezTo>
                  <a:cubicBezTo>
                    <a:pt x="4730464" y="1070214"/>
                    <a:pt x="4717829" y="1059263"/>
                    <a:pt x="4724568" y="1059263"/>
                  </a:cubicBezTo>
                  <a:cubicBezTo>
                    <a:pt x="4729411" y="1059263"/>
                    <a:pt x="4727516" y="1051050"/>
                    <a:pt x="4722672" y="1051050"/>
                  </a:cubicBezTo>
                  <a:cubicBezTo>
                    <a:pt x="4727516" y="1051050"/>
                    <a:pt x="4708353" y="1050208"/>
                    <a:pt x="4701614" y="1050208"/>
                  </a:cubicBezTo>
                  <a:cubicBezTo>
                    <a:pt x="4709194" y="1050208"/>
                    <a:pt x="4684345" y="1041152"/>
                    <a:pt x="4677606" y="1041152"/>
                  </a:cubicBezTo>
                  <a:cubicBezTo>
                    <a:pt x="4686240" y="1041152"/>
                    <a:pt x="4662233" y="1029570"/>
                    <a:pt x="4657390" y="1029570"/>
                  </a:cubicBezTo>
                  <a:cubicBezTo>
                    <a:pt x="4663286" y="1029570"/>
                    <a:pt x="4643912" y="1036309"/>
                    <a:pt x="4638226" y="1036309"/>
                  </a:cubicBezTo>
                  <a:cubicBezTo>
                    <a:pt x="4631487" y="1036309"/>
                    <a:pt x="4630645" y="1029991"/>
                    <a:pt x="4620958" y="1029991"/>
                  </a:cubicBezTo>
                  <a:cubicBezTo>
                    <a:pt x="4629592" y="1029991"/>
                    <a:pt x="4608533" y="1013144"/>
                    <a:pt x="4601794" y="1013144"/>
                  </a:cubicBezTo>
                  <a:cubicBezTo>
                    <a:pt x="4607480" y="1013144"/>
                    <a:pt x="4600741" y="999666"/>
                    <a:pt x="4593160" y="999666"/>
                  </a:cubicBezTo>
                  <a:cubicBezTo>
                    <a:pt x="4600952" y="999666"/>
                    <a:pt x="4574838" y="992506"/>
                    <a:pt x="4571259" y="992506"/>
                  </a:cubicBezTo>
                  <a:cubicBezTo>
                    <a:pt x="4575049" y="992506"/>
                    <a:pt x="4591264" y="992928"/>
                    <a:pt x="4591264" y="984293"/>
                  </a:cubicBezTo>
                  <a:cubicBezTo>
                    <a:pt x="4595266" y="976502"/>
                    <a:pt x="4589369" y="973764"/>
                    <a:pt x="4597161" y="973764"/>
                  </a:cubicBezTo>
                  <a:cubicBezTo>
                    <a:pt x="4603900" y="973764"/>
                    <a:pt x="4616325" y="972711"/>
                    <a:pt x="4626012" y="972711"/>
                  </a:cubicBezTo>
                  <a:cubicBezTo>
                    <a:pt x="4632750" y="979029"/>
                    <a:pt x="4626854" y="967446"/>
                    <a:pt x="4637594" y="967446"/>
                  </a:cubicBezTo>
                  <a:cubicBezTo>
                    <a:pt x="4642438" y="977133"/>
                    <a:pt x="4656758" y="982398"/>
                    <a:pt x="4653809" y="982398"/>
                  </a:cubicBezTo>
                  <a:cubicBezTo>
                    <a:pt x="4657600" y="982398"/>
                    <a:pt x="4657600" y="992928"/>
                    <a:pt x="4652757" y="992928"/>
                  </a:cubicBezTo>
                  <a:cubicBezTo>
                    <a:pt x="4657600" y="992928"/>
                    <a:pt x="4662444" y="1007879"/>
                    <a:pt x="4658653" y="1007879"/>
                  </a:cubicBezTo>
                  <a:cubicBezTo>
                    <a:pt x="4663497" y="1007879"/>
                    <a:pt x="4662444" y="1011670"/>
                    <a:pt x="4671078" y="1011670"/>
                  </a:cubicBezTo>
                  <a:cubicBezTo>
                    <a:pt x="4675922" y="1019883"/>
                    <a:pt x="4676764" y="1003457"/>
                    <a:pt x="4691294" y="1003457"/>
                  </a:cubicBezTo>
                  <a:cubicBezTo>
                    <a:pt x="4706667" y="1003457"/>
                    <a:pt x="4713406" y="1003036"/>
                    <a:pt x="4727937" y="1003036"/>
                  </a:cubicBezTo>
                  <a:cubicBezTo>
                    <a:pt x="4741415" y="1003036"/>
                    <a:pt x="4748996" y="1011670"/>
                    <a:pt x="4762473" y="1011670"/>
                  </a:cubicBezTo>
                  <a:cubicBezTo>
                    <a:pt x="4775951" y="1011670"/>
                    <a:pt x="4781637" y="1015461"/>
                    <a:pt x="4786481" y="1024727"/>
                  </a:cubicBezTo>
                  <a:cubicBezTo>
                    <a:pt x="4796168" y="1024727"/>
                    <a:pt x="4785428" y="1038204"/>
                    <a:pt x="4789429" y="1044943"/>
                  </a:cubicBezTo>
                  <a:cubicBezTo>
                    <a:pt x="4789429" y="1052524"/>
                    <a:pt x="4775109" y="1058421"/>
                    <a:pt x="4789429" y="1058421"/>
                  </a:cubicBezTo>
                  <a:cubicBezTo>
                    <a:pt x="4795115" y="1070003"/>
                    <a:pt x="4799116" y="1066213"/>
                    <a:pt x="4811541" y="1066213"/>
                  </a:cubicBezTo>
                  <a:cubicBezTo>
                    <a:pt x="4823966" y="1066213"/>
                    <a:pt x="4828809" y="1079690"/>
                    <a:pt x="4843129" y="1079690"/>
                  </a:cubicBezTo>
                  <a:cubicBezTo>
                    <a:pt x="4857660" y="1079690"/>
                    <a:pt x="4851764" y="1093589"/>
                    <a:pt x="4847131" y="1093589"/>
                  </a:cubicBezTo>
                  <a:cubicBezTo>
                    <a:pt x="4851764" y="1093589"/>
                    <a:pt x="4867347" y="1108541"/>
                    <a:pt x="4858713" y="1108541"/>
                  </a:cubicBezTo>
                  <a:cubicBezTo>
                    <a:pt x="4867347" y="1108541"/>
                    <a:pt x="4869242" y="1128126"/>
                    <a:pt x="4863557" y="1128126"/>
                  </a:cubicBezTo>
                  <a:cubicBezTo>
                    <a:pt x="4856818" y="1128126"/>
                    <a:pt x="4841444" y="1127705"/>
                    <a:pt x="4845235" y="1135496"/>
                  </a:cubicBezTo>
                  <a:cubicBezTo>
                    <a:pt x="4854922" y="1135496"/>
                    <a:pt x="4873244" y="1156134"/>
                    <a:pt x="4863557" y="1156134"/>
                  </a:cubicBezTo>
                  <a:cubicBezTo>
                    <a:pt x="4873244" y="1156134"/>
                    <a:pt x="4870295" y="1162873"/>
                    <a:pt x="4882720" y="1162873"/>
                  </a:cubicBezTo>
                  <a:cubicBezTo>
                    <a:pt x="4895145" y="1162873"/>
                    <a:pt x="4908622" y="1167295"/>
                    <a:pt x="4902937" y="1167295"/>
                  </a:cubicBezTo>
                  <a:cubicBezTo>
                    <a:pt x="4908833" y="1167295"/>
                    <a:pt x="4934736" y="1160557"/>
                    <a:pt x="4929892" y="1160557"/>
                  </a:cubicBezTo>
                  <a:cubicBezTo>
                    <a:pt x="4934736" y="1160557"/>
                    <a:pt x="4939579" y="1160978"/>
                    <a:pt x="4946107" y="1160978"/>
                  </a:cubicBezTo>
                  <a:cubicBezTo>
                    <a:pt x="4951794" y="1160978"/>
                    <a:pt x="4966324" y="1153818"/>
                    <a:pt x="4960638" y="1153818"/>
                  </a:cubicBezTo>
                  <a:cubicBezTo>
                    <a:pt x="4967377" y="1153818"/>
                    <a:pt x="4963586" y="1136549"/>
                    <a:pt x="4957690" y="1126020"/>
                  </a:cubicBezTo>
                  <a:cubicBezTo>
                    <a:pt x="4970115" y="1126020"/>
                    <a:pt x="4949056" y="1111700"/>
                    <a:pt x="4937473" y="1100539"/>
                  </a:cubicBezTo>
                  <a:cubicBezTo>
                    <a:pt x="4921047" y="1100539"/>
                    <a:pt x="4919363" y="1073162"/>
                    <a:pt x="4906727" y="1073162"/>
                  </a:cubicBezTo>
                  <a:cubicBezTo>
                    <a:pt x="4894302" y="1073162"/>
                    <a:pt x="4888406" y="1052103"/>
                    <a:pt x="4878929" y="1052103"/>
                  </a:cubicBezTo>
                  <a:cubicBezTo>
                    <a:pt x="4887563" y="1052103"/>
                    <a:pt x="4866505" y="1040521"/>
                    <a:pt x="4862503" y="1040521"/>
                  </a:cubicBezTo>
                  <a:cubicBezTo>
                    <a:pt x="4866294" y="1040521"/>
                    <a:pt x="4868400" y="1028096"/>
                    <a:pt x="4864399" y="1028096"/>
                  </a:cubicBezTo>
                  <a:cubicBezTo>
                    <a:pt x="4867347" y="1028096"/>
                    <a:pt x="4874086" y="1028517"/>
                    <a:pt x="4887353" y="1028517"/>
                  </a:cubicBezTo>
                  <a:cubicBezTo>
                    <a:pt x="4895987" y="1037151"/>
                    <a:pt x="4905674" y="1017567"/>
                    <a:pt x="4914309" y="1017567"/>
                  </a:cubicBezTo>
                  <a:cubicBezTo>
                    <a:pt x="4922942" y="1017567"/>
                    <a:pt x="4922942" y="1001351"/>
                    <a:pt x="4916204" y="1001351"/>
                  </a:cubicBezTo>
                  <a:cubicBezTo>
                    <a:pt x="4922100" y="1001351"/>
                    <a:pt x="4916204" y="990822"/>
                    <a:pt x="4929681" y="990822"/>
                  </a:cubicBezTo>
                  <a:cubicBezTo>
                    <a:pt x="4942106" y="990822"/>
                    <a:pt x="4955584" y="984504"/>
                    <a:pt x="4951583" y="984504"/>
                  </a:cubicBezTo>
                  <a:cubicBezTo>
                    <a:pt x="4955584" y="984504"/>
                    <a:pt x="4953689" y="966183"/>
                    <a:pt x="4966113" y="979239"/>
                  </a:cubicBezTo>
                  <a:cubicBezTo>
                    <a:pt x="4974748" y="996086"/>
                    <a:pt x="4990120" y="996086"/>
                    <a:pt x="4999808" y="996086"/>
                  </a:cubicBezTo>
                  <a:cubicBezTo>
                    <a:pt x="5005704" y="1002404"/>
                    <a:pt x="5032449" y="1000509"/>
                    <a:pt x="5044874" y="1000509"/>
                  </a:cubicBezTo>
                  <a:cubicBezTo>
                    <a:pt x="5049717" y="1011038"/>
                    <a:pt x="5068881" y="987031"/>
                    <a:pt x="5076673" y="987031"/>
                  </a:cubicBezTo>
                  <a:cubicBezTo>
                    <a:pt x="5076673" y="979450"/>
                    <a:pt x="5090993" y="973553"/>
                    <a:pt x="5100680" y="973553"/>
                  </a:cubicBezTo>
                  <a:cubicBezTo>
                    <a:pt x="5103417" y="980292"/>
                    <a:pt x="5115000" y="952916"/>
                    <a:pt x="5117948" y="958602"/>
                  </a:cubicBezTo>
                  <a:cubicBezTo>
                    <a:pt x="5124687" y="958602"/>
                    <a:pt x="5132268" y="938385"/>
                    <a:pt x="5139007" y="938385"/>
                  </a:cubicBezTo>
                  <a:cubicBezTo>
                    <a:pt x="5145746" y="938385"/>
                    <a:pt x="5149536" y="924907"/>
                    <a:pt x="5160277" y="924907"/>
                  </a:cubicBezTo>
                  <a:cubicBezTo>
                    <a:pt x="5171649" y="924907"/>
                    <a:pt x="5174597" y="918168"/>
                    <a:pt x="5170806" y="910587"/>
                  </a:cubicBezTo>
                  <a:cubicBezTo>
                    <a:pt x="5178598" y="910587"/>
                    <a:pt x="5174597" y="892266"/>
                    <a:pt x="5170806" y="892266"/>
                  </a:cubicBezTo>
                  <a:cubicBezTo>
                    <a:pt x="5173754" y="892266"/>
                    <a:pt x="5167858" y="873945"/>
                    <a:pt x="5162172" y="873945"/>
                  </a:cubicBezTo>
                  <a:cubicBezTo>
                    <a:pt x="5167858" y="873945"/>
                    <a:pt x="5154590" y="859625"/>
                    <a:pt x="5160277" y="859625"/>
                  </a:cubicBezTo>
                  <a:cubicBezTo>
                    <a:pt x="5167016" y="859625"/>
                    <a:pt x="5180282" y="855834"/>
                    <a:pt x="5174597" y="855834"/>
                  </a:cubicBezTo>
                  <a:cubicBezTo>
                    <a:pt x="5181336" y="862573"/>
                    <a:pt x="5200499" y="865521"/>
                    <a:pt x="5191865" y="865521"/>
                  </a:cubicBezTo>
                  <a:cubicBezTo>
                    <a:pt x="5200499" y="865521"/>
                    <a:pt x="5212924" y="879420"/>
                    <a:pt x="5208080" y="879420"/>
                  </a:cubicBezTo>
                  <a:cubicBezTo>
                    <a:pt x="5212924" y="879420"/>
                    <a:pt x="5220505" y="891002"/>
                    <a:pt x="5211029" y="891002"/>
                  </a:cubicBezTo>
                  <a:cubicBezTo>
                    <a:pt x="5220716" y="891002"/>
                    <a:pt x="5225349" y="907850"/>
                    <a:pt x="5220716" y="907850"/>
                  </a:cubicBezTo>
                  <a:cubicBezTo>
                    <a:pt x="5225559" y="907850"/>
                    <a:pt x="5230403" y="925539"/>
                    <a:pt x="5223664" y="925539"/>
                  </a:cubicBezTo>
                  <a:cubicBezTo>
                    <a:pt x="5230403" y="925539"/>
                    <a:pt x="5232298" y="932699"/>
                    <a:pt x="5236089" y="940912"/>
                  </a:cubicBezTo>
                  <a:cubicBezTo>
                    <a:pt x="5236089" y="950599"/>
                    <a:pt x="5241775" y="956706"/>
                    <a:pt x="5237984" y="956706"/>
                  </a:cubicBezTo>
                  <a:cubicBezTo>
                    <a:pt x="5241775" y="956706"/>
                    <a:pt x="5251461" y="967657"/>
                    <a:pt x="5246618" y="967657"/>
                  </a:cubicBezTo>
                  <a:cubicBezTo>
                    <a:pt x="5251461" y="967657"/>
                    <a:pt x="5236931" y="971026"/>
                    <a:pt x="5247671" y="980713"/>
                  </a:cubicBezTo>
                  <a:cubicBezTo>
                    <a:pt x="5257358" y="990822"/>
                    <a:pt x="5266835" y="990822"/>
                    <a:pt x="5262202" y="990822"/>
                  </a:cubicBezTo>
                  <a:cubicBezTo>
                    <a:pt x="5265992" y="990822"/>
                    <a:pt x="5256305" y="977765"/>
                    <a:pt x="5264939" y="977765"/>
                  </a:cubicBezTo>
                  <a:cubicBezTo>
                    <a:pt x="5271678" y="977765"/>
                    <a:pt x="5276522" y="978186"/>
                    <a:pt x="5281155" y="983451"/>
                  </a:cubicBezTo>
                  <a:cubicBezTo>
                    <a:pt x="5287894" y="983451"/>
                    <a:pt x="5301371" y="991664"/>
                    <a:pt x="5294633" y="991664"/>
                  </a:cubicBezTo>
                  <a:cubicBezTo>
                    <a:pt x="5300318" y="991664"/>
                    <a:pt x="5303267" y="1000298"/>
                    <a:pt x="5299476" y="992085"/>
                  </a:cubicBezTo>
                  <a:cubicBezTo>
                    <a:pt x="5299476" y="982819"/>
                    <a:pt x="5294633" y="979029"/>
                    <a:pt x="5287051" y="979029"/>
                  </a:cubicBezTo>
                  <a:cubicBezTo>
                    <a:pt x="5279259" y="972290"/>
                    <a:pt x="5275469" y="966604"/>
                    <a:pt x="5269783" y="966604"/>
                  </a:cubicBezTo>
                  <a:cubicBezTo>
                    <a:pt x="5275679" y="966604"/>
                    <a:pt x="5261149" y="956074"/>
                    <a:pt x="5253567" y="956074"/>
                  </a:cubicBezTo>
                  <a:cubicBezTo>
                    <a:pt x="5261149" y="956074"/>
                    <a:pt x="5257358" y="942597"/>
                    <a:pt x="5252725" y="942597"/>
                  </a:cubicBezTo>
                  <a:cubicBezTo>
                    <a:pt x="5257569" y="942597"/>
                    <a:pt x="5257569" y="928277"/>
                    <a:pt x="5252725" y="928277"/>
                  </a:cubicBezTo>
                  <a:cubicBezTo>
                    <a:pt x="5258411" y="928277"/>
                    <a:pt x="5261359" y="926803"/>
                    <a:pt x="5270836" y="926803"/>
                  </a:cubicBezTo>
                  <a:cubicBezTo>
                    <a:pt x="5279470" y="926803"/>
                    <a:pt x="5289157" y="941754"/>
                    <a:pt x="5300529" y="941754"/>
                  </a:cubicBezTo>
                  <a:cubicBezTo>
                    <a:pt x="5312111" y="941754"/>
                    <a:pt x="5312111" y="942176"/>
                    <a:pt x="5308321" y="942176"/>
                  </a:cubicBezTo>
                  <a:cubicBezTo>
                    <a:pt x="5313164" y="942176"/>
                    <a:pt x="5297791" y="929119"/>
                    <a:pt x="5287262" y="929119"/>
                  </a:cubicBezTo>
                  <a:cubicBezTo>
                    <a:pt x="5296949" y="929119"/>
                    <a:pt x="5266203" y="913746"/>
                    <a:pt x="5262413" y="904691"/>
                  </a:cubicBezTo>
                  <a:cubicBezTo>
                    <a:pt x="5257569" y="896478"/>
                    <a:pt x="5248934" y="875840"/>
                    <a:pt x="5241354" y="875840"/>
                  </a:cubicBezTo>
                  <a:cubicBezTo>
                    <a:pt x="5248092" y="875840"/>
                    <a:pt x="5234615" y="858993"/>
                    <a:pt x="5227033" y="858993"/>
                  </a:cubicBezTo>
                  <a:cubicBezTo>
                    <a:pt x="5230824" y="852254"/>
                    <a:pt x="5225980" y="838355"/>
                    <a:pt x="5215451" y="838355"/>
                  </a:cubicBezTo>
                  <a:cubicBezTo>
                    <a:pt x="5225138" y="838355"/>
                    <a:pt x="5203869" y="821508"/>
                    <a:pt x="5200078" y="821508"/>
                  </a:cubicBezTo>
                  <a:cubicBezTo>
                    <a:pt x="5203869" y="821508"/>
                    <a:pt x="5196287" y="811400"/>
                    <a:pt x="5192497" y="811400"/>
                  </a:cubicBezTo>
                  <a:cubicBezTo>
                    <a:pt x="5195445" y="811400"/>
                    <a:pt x="5179861" y="806556"/>
                    <a:pt x="5171227" y="806556"/>
                  </a:cubicBezTo>
                  <a:cubicBezTo>
                    <a:pt x="5179019" y="806556"/>
                    <a:pt x="5193339" y="818560"/>
                    <a:pt x="5191443" y="818560"/>
                  </a:cubicBezTo>
                  <a:cubicBezTo>
                    <a:pt x="5194181" y="818560"/>
                    <a:pt x="5184494" y="826141"/>
                    <a:pt x="5177966" y="820034"/>
                  </a:cubicBezTo>
                  <a:cubicBezTo>
                    <a:pt x="5170385" y="820034"/>
                    <a:pt x="5149115" y="813295"/>
                    <a:pt x="5145325" y="813295"/>
                  </a:cubicBezTo>
                  <a:cubicBezTo>
                    <a:pt x="5151221" y="813295"/>
                    <a:pt x="5132900" y="804240"/>
                    <a:pt x="5124266" y="804240"/>
                  </a:cubicBezTo>
                  <a:cubicBezTo>
                    <a:pt x="5132900" y="804240"/>
                    <a:pt x="5109946" y="790341"/>
                    <a:pt x="5103207" y="790341"/>
                  </a:cubicBezTo>
                  <a:cubicBezTo>
                    <a:pt x="5108050" y="790341"/>
                    <a:pt x="5097310" y="785919"/>
                    <a:pt x="5084885" y="785919"/>
                  </a:cubicBezTo>
                  <a:cubicBezTo>
                    <a:pt x="5072461" y="785919"/>
                    <a:pt x="5069513" y="784023"/>
                    <a:pt x="5064669" y="784023"/>
                  </a:cubicBezTo>
                  <a:cubicBezTo>
                    <a:pt x="5069513" y="784023"/>
                    <a:pt x="5064669" y="789709"/>
                    <a:pt x="5056035" y="789709"/>
                  </a:cubicBezTo>
                  <a:cubicBezTo>
                    <a:pt x="5047401" y="789709"/>
                    <a:pt x="5043610" y="785919"/>
                    <a:pt x="5040662" y="785919"/>
                  </a:cubicBezTo>
                  <a:cubicBezTo>
                    <a:pt x="5043610" y="785919"/>
                    <a:pt x="5040662" y="777284"/>
                    <a:pt x="5035818" y="777284"/>
                  </a:cubicBezTo>
                  <a:cubicBezTo>
                    <a:pt x="5039820" y="777284"/>
                    <a:pt x="5040662" y="770546"/>
                    <a:pt x="5035818" y="770546"/>
                  </a:cubicBezTo>
                  <a:cubicBezTo>
                    <a:pt x="5040662" y="770546"/>
                    <a:pt x="5025289" y="769071"/>
                    <a:pt x="5020445" y="769071"/>
                  </a:cubicBezTo>
                  <a:cubicBezTo>
                    <a:pt x="5025289" y="769071"/>
                    <a:pt x="5029079" y="778127"/>
                    <a:pt x="5021288" y="778127"/>
                  </a:cubicBezTo>
                  <a:cubicBezTo>
                    <a:pt x="5027184" y="778127"/>
                    <a:pt x="5011601" y="774757"/>
                    <a:pt x="5008863" y="769071"/>
                  </a:cubicBezTo>
                  <a:cubicBezTo>
                    <a:pt x="5015602" y="769071"/>
                    <a:pt x="5010758" y="757489"/>
                    <a:pt x="5001281" y="757489"/>
                  </a:cubicBezTo>
                  <a:cubicBezTo>
                    <a:pt x="4992437" y="757489"/>
                    <a:pt x="4964639" y="743169"/>
                    <a:pt x="4957058" y="743169"/>
                  </a:cubicBezTo>
                  <a:cubicBezTo>
                    <a:pt x="4963797" y="743169"/>
                    <a:pt x="4964639" y="739378"/>
                    <a:pt x="4971378" y="739378"/>
                  </a:cubicBezTo>
                  <a:cubicBezTo>
                    <a:pt x="4978117" y="739378"/>
                    <a:pt x="4990542" y="737062"/>
                    <a:pt x="4999386" y="737062"/>
                  </a:cubicBezTo>
                  <a:cubicBezTo>
                    <a:pt x="4999386" y="727796"/>
                    <a:pt x="5016655" y="732218"/>
                    <a:pt x="5028027" y="732218"/>
                  </a:cubicBezTo>
                  <a:cubicBezTo>
                    <a:pt x="5038766" y="732218"/>
                    <a:pt x="5053929" y="722531"/>
                    <a:pt x="5062774" y="722531"/>
                  </a:cubicBezTo>
                  <a:cubicBezTo>
                    <a:pt x="5067618" y="730112"/>
                    <a:pt x="5069513" y="721057"/>
                    <a:pt x="5078989" y="721057"/>
                  </a:cubicBezTo>
                  <a:cubicBezTo>
                    <a:pt x="5088676" y="721057"/>
                    <a:pt x="5092467" y="715371"/>
                    <a:pt x="5089518" y="715371"/>
                  </a:cubicBezTo>
                  <a:cubicBezTo>
                    <a:pt x="5091414" y="715371"/>
                    <a:pt x="5094151" y="713055"/>
                    <a:pt x="5102996" y="713055"/>
                  </a:cubicBezTo>
                  <a:cubicBezTo>
                    <a:pt x="5112683" y="713055"/>
                    <a:pt x="5114579" y="712002"/>
                    <a:pt x="5120265" y="712002"/>
                  </a:cubicBezTo>
                  <a:cubicBezTo>
                    <a:pt x="5126161" y="712002"/>
                    <a:pt x="5131847" y="710528"/>
                    <a:pt x="5144272" y="710528"/>
                  </a:cubicBezTo>
                  <a:cubicBezTo>
                    <a:pt x="5156696" y="710528"/>
                    <a:pt x="5168279" y="718741"/>
                    <a:pt x="5179019" y="718741"/>
                  </a:cubicBezTo>
                  <a:cubicBezTo>
                    <a:pt x="5190391" y="718741"/>
                    <a:pt x="5211660" y="729270"/>
                    <a:pt x="5223032" y="729270"/>
                  </a:cubicBezTo>
                  <a:cubicBezTo>
                    <a:pt x="5233561" y="729270"/>
                    <a:pt x="5241354" y="737904"/>
                    <a:pt x="5237562" y="737904"/>
                  </a:cubicBezTo>
                  <a:cubicBezTo>
                    <a:pt x="5242406" y="737904"/>
                    <a:pt x="5228928" y="734535"/>
                    <a:pt x="5243459" y="734535"/>
                  </a:cubicBezTo>
                  <a:cubicBezTo>
                    <a:pt x="5256937" y="734535"/>
                    <a:pt x="5262623" y="744643"/>
                    <a:pt x="5273152" y="744643"/>
                  </a:cubicBezTo>
                  <a:cubicBezTo>
                    <a:pt x="5284735" y="744643"/>
                    <a:pt x="5293369" y="751803"/>
                    <a:pt x="5302003" y="751803"/>
                  </a:cubicBezTo>
                  <a:cubicBezTo>
                    <a:pt x="5310637" y="751803"/>
                    <a:pt x="5326853" y="759595"/>
                    <a:pt x="5322220" y="759595"/>
                  </a:cubicBezTo>
                  <a:cubicBezTo>
                    <a:pt x="5327905" y="759595"/>
                    <a:pt x="5320325" y="753698"/>
                    <a:pt x="5326853" y="753698"/>
                  </a:cubicBezTo>
                  <a:cubicBezTo>
                    <a:pt x="5333591" y="753698"/>
                    <a:pt x="5342225" y="753277"/>
                    <a:pt x="5348122" y="758963"/>
                  </a:cubicBezTo>
                  <a:cubicBezTo>
                    <a:pt x="5356756" y="758963"/>
                    <a:pt x="5361600" y="769493"/>
                    <a:pt x="5372129" y="769493"/>
                  </a:cubicBezTo>
                  <a:cubicBezTo>
                    <a:pt x="5376973" y="779601"/>
                    <a:pt x="5382659" y="774757"/>
                    <a:pt x="5394241" y="774757"/>
                  </a:cubicBezTo>
                  <a:cubicBezTo>
                    <a:pt x="5404770" y="774757"/>
                    <a:pt x="5413405" y="788656"/>
                    <a:pt x="5410667" y="783391"/>
                  </a:cubicBezTo>
                  <a:cubicBezTo>
                    <a:pt x="5405824" y="783391"/>
                    <a:pt x="5395294" y="781496"/>
                    <a:pt x="5390450" y="781496"/>
                  </a:cubicBezTo>
                  <a:cubicBezTo>
                    <a:pt x="5395294" y="781496"/>
                    <a:pt x="5405824" y="789709"/>
                    <a:pt x="5411509" y="789709"/>
                  </a:cubicBezTo>
                  <a:cubicBezTo>
                    <a:pt x="5418248" y="789709"/>
                    <a:pt x="5435517" y="793921"/>
                    <a:pt x="5429620" y="793921"/>
                  </a:cubicBezTo>
                  <a:cubicBezTo>
                    <a:pt x="5436359" y="793921"/>
                    <a:pt x="5435517" y="797290"/>
                    <a:pt x="5442255" y="797290"/>
                  </a:cubicBezTo>
                  <a:cubicBezTo>
                    <a:pt x="5450047" y="797290"/>
                    <a:pt x="5458471" y="790552"/>
                    <a:pt x="5462472" y="799817"/>
                  </a:cubicBezTo>
                  <a:cubicBezTo>
                    <a:pt x="5473002" y="799817"/>
                    <a:pt x="5485636" y="807399"/>
                    <a:pt x="5481635" y="807399"/>
                  </a:cubicBezTo>
                  <a:cubicBezTo>
                    <a:pt x="5483741" y="807399"/>
                    <a:pt x="5482689" y="809294"/>
                    <a:pt x="5494061" y="809294"/>
                  </a:cubicBezTo>
                  <a:cubicBezTo>
                    <a:pt x="5498904" y="819402"/>
                    <a:pt x="5521016" y="825088"/>
                    <a:pt x="5504590" y="808873"/>
                  </a:cubicBezTo>
                  <a:cubicBezTo>
                    <a:pt x="5482478" y="808873"/>
                    <a:pt x="5475739" y="792447"/>
                    <a:pt x="5470896" y="792447"/>
                  </a:cubicBezTo>
                  <a:cubicBezTo>
                    <a:pt x="5475739" y="792447"/>
                    <a:pt x="5466894" y="785287"/>
                    <a:pt x="5481425" y="785287"/>
                  </a:cubicBezTo>
                  <a:cubicBezTo>
                    <a:pt x="5497851" y="785287"/>
                    <a:pt x="5502484" y="784234"/>
                    <a:pt x="5508380" y="784234"/>
                  </a:cubicBezTo>
                  <a:cubicBezTo>
                    <a:pt x="5511328" y="789498"/>
                    <a:pt x="5512171" y="781917"/>
                    <a:pt x="5518910" y="781917"/>
                  </a:cubicBezTo>
                  <a:cubicBezTo>
                    <a:pt x="5522700" y="788656"/>
                    <a:pt x="5532387" y="778548"/>
                    <a:pt x="5529439" y="778548"/>
                  </a:cubicBezTo>
                  <a:cubicBezTo>
                    <a:pt x="5532387" y="778548"/>
                    <a:pt x="5538074" y="783813"/>
                    <a:pt x="5549656" y="783813"/>
                  </a:cubicBezTo>
                  <a:cubicBezTo>
                    <a:pt x="5554500" y="794342"/>
                    <a:pt x="5567977" y="787182"/>
                    <a:pt x="5580402" y="787182"/>
                  </a:cubicBezTo>
                  <a:cubicBezTo>
                    <a:pt x="5591984" y="787182"/>
                    <a:pt x="5592827" y="800239"/>
                    <a:pt x="5600408" y="800239"/>
                  </a:cubicBezTo>
                  <a:cubicBezTo>
                    <a:pt x="5607147" y="800239"/>
                    <a:pt x="5624415" y="803187"/>
                    <a:pt x="5620624" y="803187"/>
                  </a:cubicBezTo>
                  <a:cubicBezTo>
                    <a:pt x="5624415" y="803187"/>
                    <a:pt x="5621467" y="810768"/>
                    <a:pt x="5611990" y="810768"/>
                  </a:cubicBezTo>
                  <a:cubicBezTo>
                    <a:pt x="5622519" y="810768"/>
                    <a:pt x="5638945" y="820876"/>
                    <a:pt x="5634102" y="820876"/>
                  </a:cubicBezTo>
                  <a:cubicBezTo>
                    <a:pt x="5638945" y="820876"/>
                    <a:pt x="5639788" y="828036"/>
                    <a:pt x="5647580" y="828036"/>
                  </a:cubicBezTo>
                  <a:cubicBezTo>
                    <a:pt x="5656214" y="828036"/>
                    <a:pt x="5662953" y="823614"/>
                    <a:pt x="5670745" y="823614"/>
                  </a:cubicBezTo>
                  <a:cubicBezTo>
                    <a:pt x="5676430" y="823614"/>
                    <a:pt x="5675377" y="825930"/>
                    <a:pt x="5689066" y="825930"/>
                  </a:cubicBezTo>
                  <a:cubicBezTo>
                    <a:pt x="5702543" y="825930"/>
                    <a:pt x="5709071" y="828879"/>
                    <a:pt x="5702543" y="828879"/>
                  </a:cubicBezTo>
                  <a:cubicBezTo>
                    <a:pt x="5708440" y="828879"/>
                    <a:pt x="5704439" y="819192"/>
                    <a:pt x="5700648" y="819192"/>
                  </a:cubicBezTo>
                  <a:cubicBezTo>
                    <a:pt x="5703597" y="823403"/>
                    <a:pt x="5703597" y="820666"/>
                    <a:pt x="5718970" y="820666"/>
                  </a:cubicBezTo>
                  <a:cubicBezTo>
                    <a:pt x="5724656" y="833090"/>
                    <a:pt x="5729499" y="832669"/>
                    <a:pt x="5727603" y="828247"/>
                  </a:cubicBezTo>
                  <a:cubicBezTo>
                    <a:pt x="5721707" y="828247"/>
                    <a:pt x="5726550" y="833933"/>
                    <a:pt x="5721707" y="833933"/>
                  </a:cubicBezTo>
                  <a:cubicBezTo>
                    <a:pt x="5727603" y="833933"/>
                    <a:pt x="5728446" y="840672"/>
                    <a:pt x="5722760" y="840672"/>
                  </a:cubicBezTo>
                  <a:cubicBezTo>
                    <a:pt x="5728446" y="840672"/>
                    <a:pt x="5722760" y="845936"/>
                    <a:pt x="5718759" y="845936"/>
                  </a:cubicBezTo>
                  <a:cubicBezTo>
                    <a:pt x="5722760" y="845936"/>
                    <a:pt x="5705281" y="844041"/>
                    <a:pt x="5700438" y="844041"/>
                  </a:cubicBezTo>
                  <a:cubicBezTo>
                    <a:pt x="5695595" y="844041"/>
                    <a:pt x="5686960" y="845515"/>
                    <a:pt x="5684223" y="845515"/>
                  </a:cubicBezTo>
                  <a:cubicBezTo>
                    <a:pt x="5687170" y="845515"/>
                    <a:pt x="5688013" y="848885"/>
                    <a:pt x="5675588" y="848885"/>
                  </a:cubicBezTo>
                  <a:cubicBezTo>
                    <a:pt x="5664006" y="848885"/>
                    <a:pt x="5652634" y="853096"/>
                    <a:pt x="5642947" y="853096"/>
                  </a:cubicBezTo>
                  <a:cubicBezTo>
                    <a:pt x="5634312" y="853096"/>
                    <a:pt x="5634312" y="857940"/>
                    <a:pt x="5623783" y="857940"/>
                  </a:cubicBezTo>
                  <a:cubicBezTo>
                    <a:pt x="5613253" y="857940"/>
                    <a:pt x="5604620" y="857519"/>
                    <a:pt x="5598934" y="857519"/>
                  </a:cubicBezTo>
                  <a:cubicBezTo>
                    <a:pt x="5592195" y="857519"/>
                    <a:pt x="5589247" y="854571"/>
                    <a:pt x="5584614" y="854571"/>
                  </a:cubicBezTo>
                  <a:cubicBezTo>
                    <a:pt x="5589457" y="854571"/>
                    <a:pt x="5579770" y="854571"/>
                    <a:pt x="5574084" y="854571"/>
                  </a:cubicBezTo>
                  <a:cubicBezTo>
                    <a:pt x="5579981" y="854571"/>
                    <a:pt x="5574084" y="858361"/>
                    <a:pt x="5570294" y="858361"/>
                  </a:cubicBezTo>
                  <a:cubicBezTo>
                    <a:pt x="5574084" y="858361"/>
                    <a:pt x="5574084" y="864047"/>
                    <a:pt x="5567345" y="864047"/>
                  </a:cubicBezTo>
                  <a:cubicBezTo>
                    <a:pt x="5563555" y="857729"/>
                    <a:pt x="5547340" y="867838"/>
                    <a:pt x="5554078" y="867838"/>
                  </a:cubicBezTo>
                  <a:cubicBezTo>
                    <a:pt x="5554078" y="873524"/>
                    <a:pt x="5540601" y="887422"/>
                    <a:pt x="5555131" y="887422"/>
                  </a:cubicBezTo>
                  <a:cubicBezTo>
                    <a:pt x="5561870" y="899847"/>
                    <a:pt x="5571346" y="897531"/>
                    <a:pt x="5571346" y="910587"/>
                  </a:cubicBezTo>
                  <a:cubicBezTo>
                    <a:pt x="5578085" y="922591"/>
                    <a:pt x="5592405" y="930172"/>
                    <a:pt x="5598092" y="941333"/>
                  </a:cubicBezTo>
                  <a:cubicBezTo>
                    <a:pt x="5610516" y="941333"/>
                    <a:pt x="5613464" y="955232"/>
                    <a:pt x="5619151" y="966393"/>
                  </a:cubicBezTo>
                  <a:cubicBezTo>
                    <a:pt x="5631575" y="966393"/>
                    <a:pt x="5641262" y="984083"/>
                    <a:pt x="5632628" y="984083"/>
                  </a:cubicBezTo>
                  <a:cubicBezTo>
                    <a:pt x="5640209" y="984083"/>
                    <a:pt x="5639367" y="987031"/>
                    <a:pt x="5643157" y="996086"/>
                  </a:cubicBezTo>
                  <a:cubicBezTo>
                    <a:pt x="5650949" y="996086"/>
                    <a:pt x="5663374" y="994191"/>
                    <a:pt x="5659583" y="994191"/>
                  </a:cubicBezTo>
                  <a:cubicBezTo>
                    <a:pt x="5663585" y="994191"/>
                    <a:pt x="5666322" y="989979"/>
                    <a:pt x="5673061" y="989979"/>
                  </a:cubicBezTo>
                  <a:cubicBezTo>
                    <a:pt x="5679800" y="989979"/>
                    <a:pt x="5682748" y="975028"/>
                    <a:pt x="5678747" y="975028"/>
                  </a:cubicBezTo>
                  <a:cubicBezTo>
                    <a:pt x="5682748" y="975028"/>
                    <a:pt x="5675798" y="969763"/>
                    <a:pt x="5685486" y="969763"/>
                  </a:cubicBezTo>
                  <a:cubicBezTo>
                    <a:pt x="5695173" y="969763"/>
                    <a:pt x="5697911" y="964498"/>
                    <a:pt x="5701912" y="972711"/>
                  </a:cubicBezTo>
                  <a:cubicBezTo>
                    <a:pt x="5712441" y="972711"/>
                    <a:pt x="5724865" y="975028"/>
                    <a:pt x="5713494" y="975028"/>
                  </a:cubicBezTo>
                  <a:cubicBezTo>
                    <a:pt x="5713494" y="964919"/>
                    <a:pt x="5709493" y="958180"/>
                    <a:pt x="5701912" y="958180"/>
                  </a:cubicBezTo>
                  <a:cubicBezTo>
                    <a:pt x="5701912" y="950599"/>
                    <a:pt x="5705702" y="953337"/>
                    <a:pt x="5717285" y="953337"/>
                  </a:cubicBezTo>
                  <a:cubicBezTo>
                    <a:pt x="5722129" y="963024"/>
                    <a:pt x="5741292" y="964498"/>
                    <a:pt x="5748031" y="964498"/>
                  </a:cubicBezTo>
                  <a:cubicBezTo>
                    <a:pt x="5752874" y="964498"/>
                    <a:pt x="5753927" y="957759"/>
                    <a:pt x="5746135" y="950178"/>
                  </a:cubicBezTo>
                  <a:cubicBezTo>
                    <a:pt x="5735606" y="950178"/>
                    <a:pt x="5727814" y="937753"/>
                    <a:pt x="5733711" y="937753"/>
                  </a:cubicBezTo>
                  <a:cubicBezTo>
                    <a:pt x="5739607" y="937753"/>
                    <a:pt x="5737502" y="933541"/>
                    <a:pt x="5748031" y="933541"/>
                  </a:cubicBezTo>
                  <a:cubicBezTo>
                    <a:pt x="5757717" y="933541"/>
                    <a:pt x="5756665" y="940280"/>
                    <a:pt x="5763404" y="940280"/>
                  </a:cubicBezTo>
                  <a:cubicBezTo>
                    <a:pt x="5770984" y="940280"/>
                    <a:pt x="5777724" y="933541"/>
                    <a:pt x="5769090" y="933541"/>
                  </a:cubicBezTo>
                  <a:cubicBezTo>
                    <a:pt x="5778776" y="933541"/>
                    <a:pt x="5758560" y="924276"/>
                    <a:pt x="5750769" y="924276"/>
                  </a:cubicBezTo>
                  <a:cubicBezTo>
                    <a:pt x="5758560" y="924276"/>
                    <a:pt x="5735395" y="914167"/>
                    <a:pt x="5746978" y="914167"/>
                  </a:cubicBezTo>
                  <a:cubicBezTo>
                    <a:pt x="5759402" y="914167"/>
                    <a:pt x="5759402" y="909745"/>
                    <a:pt x="5751821" y="909745"/>
                  </a:cubicBezTo>
                  <a:cubicBezTo>
                    <a:pt x="5758560" y="909745"/>
                    <a:pt x="5740239" y="900058"/>
                    <a:pt x="5734553" y="900058"/>
                  </a:cubicBezTo>
                  <a:cubicBezTo>
                    <a:pt x="5739396" y="900058"/>
                    <a:pt x="5724865" y="896688"/>
                    <a:pt x="5719180" y="896688"/>
                  </a:cubicBezTo>
                  <a:cubicBezTo>
                    <a:pt x="5724865" y="896688"/>
                    <a:pt x="5706755" y="886159"/>
                    <a:pt x="5712441" y="886159"/>
                  </a:cubicBezTo>
                  <a:cubicBezTo>
                    <a:pt x="5718337" y="886159"/>
                    <a:pt x="5714336" y="881315"/>
                    <a:pt x="5724024" y="881315"/>
                  </a:cubicBezTo>
                  <a:cubicBezTo>
                    <a:pt x="5733711" y="881315"/>
                    <a:pt x="5738343" y="869733"/>
                    <a:pt x="5735606" y="869733"/>
                  </a:cubicBezTo>
                  <a:cubicBezTo>
                    <a:pt x="5739607" y="869733"/>
                    <a:pt x="5743397" y="871628"/>
                    <a:pt x="5749084" y="871628"/>
                  </a:cubicBezTo>
                  <a:cubicBezTo>
                    <a:pt x="5755823" y="871628"/>
                    <a:pt x="5749926" y="874577"/>
                    <a:pt x="5761509" y="874577"/>
                  </a:cubicBezTo>
                  <a:cubicBezTo>
                    <a:pt x="5773091" y="874577"/>
                    <a:pt x="5772038" y="882158"/>
                    <a:pt x="5777934" y="882158"/>
                  </a:cubicBezTo>
                  <a:cubicBezTo>
                    <a:pt x="5780672" y="887422"/>
                    <a:pt x="5785515" y="872049"/>
                    <a:pt x="5789516" y="879841"/>
                  </a:cubicBezTo>
                  <a:cubicBezTo>
                    <a:pt x="5799204" y="879841"/>
                    <a:pt x="5801942" y="874577"/>
                    <a:pt x="5804890" y="880894"/>
                  </a:cubicBezTo>
                  <a:cubicBezTo>
                    <a:pt x="5807838" y="887001"/>
                    <a:pt x="5797308" y="892477"/>
                    <a:pt x="5806785" y="892477"/>
                  </a:cubicBezTo>
                  <a:cubicBezTo>
                    <a:pt x="5813524" y="892477"/>
                    <a:pt x="5817314" y="893319"/>
                    <a:pt x="5822159" y="893319"/>
                  </a:cubicBezTo>
                  <a:cubicBezTo>
                    <a:pt x="5824053" y="898162"/>
                    <a:pt x="5828055" y="890371"/>
                    <a:pt x="5836688" y="890371"/>
                  </a:cubicBezTo>
                  <a:cubicBezTo>
                    <a:pt x="5839637" y="898162"/>
                    <a:pt x="5856694" y="898162"/>
                    <a:pt x="5865540" y="898162"/>
                  </a:cubicBezTo>
                  <a:cubicBezTo>
                    <a:pt x="5872278" y="898162"/>
                    <a:pt x="5886599" y="898584"/>
                    <a:pt x="5891442" y="908271"/>
                  </a:cubicBezTo>
                  <a:cubicBezTo>
                    <a:pt x="5903024" y="908271"/>
                    <a:pt x="5916292" y="918800"/>
                    <a:pt x="5919240" y="925539"/>
                  </a:cubicBezTo>
                  <a:cubicBezTo>
                    <a:pt x="5925979" y="925539"/>
                    <a:pt x="5924083" y="923223"/>
                    <a:pt x="5929770" y="923223"/>
                  </a:cubicBezTo>
                  <a:cubicBezTo>
                    <a:pt x="5936509" y="923223"/>
                    <a:pt x="5955672" y="924697"/>
                    <a:pt x="5963252" y="924697"/>
                  </a:cubicBezTo>
                  <a:cubicBezTo>
                    <a:pt x="5971044" y="924697"/>
                    <a:pt x="5990209" y="923223"/>
                    <a:pt x="5986418" y="923223"/>
                  </a:cubicBezTo>
                  <a:cubicBezTo>
                    <a:pt x="5990209" y="923223"/>
                    <a:pt x="5983470" y="923223"/>
                    <a:pt x="5995052" y="923223"/>
                  </a:cubicBezTo>
                  <a:cubicBezTo>
                    <a:pt x="6008530" y="923223"/>
                    <a:pt x="6019059" y="930383"/>
                    <a:pt x="6028747" y="930383"/>
                  </a:cubicBezTo>
                  <a:cubicBezTo>
                    <a:pt x="6038433" y="930383"/>
                    <a:pt x="6049806" y="933331"/>
                    <a:pt x="6055701" y="933331"/>
                  </a:cubicBezTo>
                  <a:cubicBezTo>
                    <a:pt x="6063282" y="933331"/>
                    <a:pt x="6064336" y="939017"/>
                    <a:pt x="6075918" y="939017"/>
                  </a:cubicBezTo>
                  <a:cubicBezTo>
                    <a:pt x="6087501" y="939017"/>
                    <a:pt x="6081814" y="945756"/>
                    <a:pt x="6096977" y="945756"/>
                  </a:cubicBezTo>
                  <a:cubicBezTo>
                    <a:pt x="6113192" y="945756"/>
                    <a:pt x="6113192" y="957338"/>
                    <a:pt x="6122879" y="957338"/>
                  </a:cubicBezTo>
                  <a:cubicBezTo>
                    <a:pt x="6133409" y="957338"/>
                    <a:pt x="6140148" y="958812"/>
                    <a:pt x="6137410" y="958812"/>
                  </a:cubicBezTo>
                  <a:cubicBezTo>
                    <a:pt x="6141411" y="958812"/>
                    <a:pt x="6133620" y="951231"/>
                    <a:pt x="6131724" y="951231"/>
                  </a:cubicBezTo>
                  <a:cubicBezTo>
                    <a:pt x="6133620" y="951231"/>
                    <a:pt x="6138463" y="947862"/>
                    <a:pt x="6132567" y="947862"/>
                  </a:cubicBezTo>
                  <a:cubicBezTo>
                    <a:pt x="6137410" y="947862"/>
                    <a:pt x="6126881" y="941123"/>
                    <a:pt x="6118247" y="941123"/>
                  </a:cubicBezTo>
                  <a:cubicBezTo>
                    <a:pt x="6109612" y="941123"/>
                    <a:pt x="6109612" y="930593"/>
                    <a:pt x="6104769" y="930593"/>
                  </a:cubicBezTo>
                  <a:cubicBezTo>
                    <a:pt x="6110665" y="930593"/>
                    <a:pt x="6093187" y="916273"/>
                    <a:pt x="6087501" y="916273"/>
                  </a:cubicBezTo>
                  <a:cubicBezTo>
                    <a:pt x="6094240" y="916273"/>
                    <a:pt x="6077813" y="909534"/>
                    <a:pt x="6084552" y="909534"/>
                  </a:cubicBezTo>
                  <a:cubicBezTo>
                    <a:pt x="6092344" y="909534"/>
                    <a:pt x="6109612" y="918168"/>
                    <a:pt x="6120984" y="918168"/>
                  </a:cubicBezTo>
                  <a:cubicBezTo>
                    <a:pt x="6120984" y="918168"/>
                    <a:pt x="6140148" y="912483"/>
                    <a:pt x="6131724" y="912483"/>
                  </a:cubicBezTo>
                  <a:cubicBezTo>
                    <a:pt x="6140359" y="912483"/>
                    <a:pt x="6117404" y="900900"/>
                    <a:pt x="6114455" y="900900"/>
                  </a:cubicBezTo>
                  <a:cubicBezTo>
                    <a:pt x="6117404" y="900900"/>
                    <a:pt x="6133620" y="901953"/>
                    <a:pt x="6129829" y="901953"/>
                  </a:cubicBezTo>
                  <a:cubicBezTo>
                    <a:pt x="6137621" y="901953"/>
                    <a:pt x="6147098" y="910166"/>
                    <a:pt x="6139515" y="910166"/>
                  </a:cubicBezTo>
                  <a:cubicBezTo>
                    <a:pt x="6143517" y="910166"/>
                    <a:pt x="6162681" y="923223"/>
                    <a:pt x="6155942" y="923223"/>
                  </a:cubicBezTo>
                  <a:cubicBezTo>
                    <a:pt x="6159733" y="923223"/>
                    <a:pt x="6168366" y="930383"/>
                    <a:pt x="6174052" y="930383"/>
                  </a:cubicBezTo>
                  <a:cubicBezTo>
                    <a:pt x="6220171" y="948704"/>
                    <a:pt x="6237440" y="969763"/>
                    <a:pt x="6253656" y="969763"/>
                  </a:cubicBezTo>
                  <a:cubicBezTo>
                    <a:pt x="6271977" y="981766"/>
                    <a:pt x="6312199" y="1001351"/>
                    <a:pt x="6324835" y="1001351"/>
                  </a:cubicBezTo>
                  <a:cubicBezTo>
                    <a:pt x="6333469" y="1001351"/>
                    <a:pt x="6323992" y="991875"/>
                    <a:pt x="6319149" y="983662"/>
                  </a:cubicBezTo>
                  <a:cubicBezTo>
                    <a:pt x="6322939" y="983662"/>
                    <a:pt x="6330731" y="992296"/>
                    <a:pt x="6343156" y="992296"/>
                  </a:cubicBezTo>
                  <a:cubicBezTo>
                    <a:pt x="6348841" y="992296"/>
                    <a:pt x="6366110" y="993770"/>
                    <a:pt x="6360425" y="993770"/>
                  </a:cubicBezTo>
                  <a:cubicBezTo>
                    <a:pt x="6362741" y="990822"/>
                    <a:pt x="6386748" y="996086"/>
                    <a:pt x="6376219" y="996086"/>
                  </a:cubicBezTo>
                  <a:close/>
                  <a:moveTo>
                    <a:pt x="1705772" y="240282"/>
                  </a:moveTo>
                  <a:cubicBezTo>
                    <a:pt x="1710616" y="240282"/>
                    <a:pt x="1710194" y="235439"/>
                    <a:pt x="1706825" y="235439"/>
                  </a:cubicBezTo>
                  <a:cubicBezTo>
                    <a:pt x="1710616" y="235439"/>
                    <a:pt x="1700507" y="229121"/>
                    <a:pt x="1698191" y="229121"/>
                  </a:cubicBezTo>
                  <a:cubicBezTo>
                    <a:pt x="1701560" y="229121"/>
                    <a:pt x="1716933" y="233964"/>
                    <a:pt x="1713985" y="233964"/>
                  </a:cubicBezTo>
                  <a:cubicBezTo>
                    <a:pt x="1716933" y="233964"/>
                    <a:pt x="1734202" y="241756"/>
                    <a:pt x="1732727" y="241756"/>
                  </a:cubicBezTo>
                  <a:cubicBezTo>
                    <a:pt x="1740309" y="241756"/>
                    <a:pt x="1733570" y="248495"/>
                    <a:pt x="1729780" y="248495"/>
                  </a:cubicBezTo>
                  <a:cubicBezTo>
                    <a:pt x="1732727" y="248495"/>
                    <a:pt x="1721566" y="245757"/>
                    <a:pt x="1713985" y="245757"/>
                  </a:cubicBezTo>
                  <a:cubicBezTo>
                    <a:pt x="1721777" y="245757"/>
                    <a:pt x="1698612" y="242388"/>
                    <a:pt x="1695874" y="242388"/>
                  </a:cubicBezTo>
                  <a:cubicBezTo>
                    <a:pt x="1698612" y="242177"/>
                    <a:pt x="1710616" y="240282"/>
                    <a:pt x="1705772" y="240282"/>
                  </a:cubicBezTo>
                  <a:close/>
                  <a:moveTo>
                    <a:pt x="1580893" y="170156"/>
                  </a:moveTo>
                  <a:cubicBezTo>
                    <a:pt x="1584683" y="170156"/>
                    <a:pt x="1598161" y="168261"/>
                    <a:pt x="1594792" y="168261"/>
                  </a:cubicBezTo>
                  <a:cubicBezTo>
                    <a:pt x="1598582" y="168261"/>
                    <a:pt x="1612060" y="168682"/>
                    <a:pt x="1607217" y="168682"/>
                  </a:cubicBezTo>
                  <a:cubicBezTo>
                    <a:pt x="1612060" y="168682"/>
                    <a:pt x="1618167" y="164891"/>
                    <a:pt x="1616272" y="164891"/>
                  </a:cubicBezTo>
                  <a:cubicBezTo>
                    <a:pt x="1618589" y="164891"/>
                    <a:pt x="1608480" y="158995"/>
                    <a:pt x="1601320" y="158995"/>
                  </a:cubicBezTo>
                  <a:cubicBezTo>
                    <a:pt x="1593738" y="158995"/>
                    <a:pt x="1587000" y="154783"/>
                    <a:pt x="1584052" y="154783"/>
                  </a:cubicBezTo>
                  <a:cubicBezTo>
                    <a:pt x="1586789" y="154783"/>
                    <a:pt x="1602794" y="155836"/>
                    <a:pt x="1598371" y="155836"/>
                  </a:cubicBezTo>
                  <a:cubicBezTo>
                    <a:pt x="1602584" y="155836"/>
                    <a:pt x="1623853" y="161101"/>
                    <a:pt x="1620905" y="161101"/>
                  </a:cubicBezTo>
                  <a:cubicBezTo>
                    <a:pt x="1623642" y="161101"/>
                    <a:pt x="1625748" y="167840"/>
                    <a:pt x="1622800" y="167840"/>
                  </a:cubicBezTo>
                  <a:cubicBezTo>
                    <a:pt x="1625117" y="167840"/>
                    <a:pt x="1631013" y="174157"/>
                    <a:pt x="1627012" y="174157"/>
                  </a:cubicBezTo>
                  <a:cubicBezTo>
                    <a:pt x="1631434" y="174157"/>
                    <a:pt x="1646807" y="181738"/>
                    <a:pt x="1643859" y="181738"/>
                  </a:cubicBezTo>
                  <a:cubicBezTo>
                    <a:pt x="1649545" y="181738"/>
                    <a:pt x="1649124" y="188056"/>
                    <a:pt x="1644280" y="188056"/>
                  </a:cubicBezTo>
                  <a:cubicBezTo>
                    <a:pt x="1649124" y="188056"/>
                    <a:pt x="1634804" y="191004"/>
                    <a:pt x="1627012" y="191004"/>
                  </a:cubicBezTo>
                  <a:cubicBezTo>
                    <a:pt x="1633751" y="191004"/>
                    <a:pt x="1621747" y="186582"/>
                    <a:pt x="1618799" y="186582"/>
                  </a:cubicBezTo>
                  <a:cubicBezTo>
                    <a:pt x="1621747" y="186582"/>
                    <a:pt x="1604479" y="177527"/>
                    <a:pt x="1593949" y="177527"/>
                  </a:cubicBezTo>
                  <a:cubicBezTo>
                    <a:pt x="1584262" y="177316"/>
                    <a:pt x="1584262" y="170156"/>
                    <a:pt x="1580893" y="170156"/>
                  </a:cubicBezTo>
                  <a:close/>
                  <a:moveTo>
                    <a:pt x="1441483" y="175000"/>
                  </a:moveTo>
                  <a:cubicBezTo>
                    <a:pt x="1447379" y="175000"/>
                    <a:pt x="1457698" y="174157"/>
                    <a:pt x="1465069" y="174157"/>
                  </a:cubicBezTo>
                  <a:cubicBezTo>
                    <a:pt x="1472229" y="174157"/>
                    <a:pt x="1489076" y="179001"/>
                    <a:pt x="1484653" y="179001"/>
                  </a:cubicBezTo>
                  <a:cubicBezTo>
                    <a:pt x="1489497" y="179001"/>
                    <a:pt x="1510556" y="183844"/>
                    <a:pt x="1505291" y="183844"/>
                  </a:cubicBezTo>
                  <a:cubicBezTo>
                    <a:pt x="1510556" y="183844"/>
                    <a:pt x="1526982" y="192057"/>
                    <a:pt x="1522559" y="192057"/>
                  </a:cubicBezTo>
                  <a:cubicBezTo>
                    <a:pt x="1530773" y="192057"/>
                    <a:pt x="1525297" y="200270"/>
                    <a:pt x="1520032" y="200270"/>
                  </a:cubicBezTo>
                  <a:cubicBezTo>
                    <a:pt x="1525297" y="200270"/>
                    <a:pt x="1510977" y="203008"/>
                    <a:pt x="1504238" y="203008"/>
                  </a:cubicBezTo>
                  <a:cubicBezTo>
                    <a:pt x="1510556" y="203008"/>
                    <a:pt x="1492235" y="201534"/>
                    <a:pt x="1486128" y="201534"/>
                  </a:cubicBezTo>
                  <a:cubicBezTo>
                    <a:pt x="1492445" y="201534"/>
                    <a:pt x="1478336" y="206377"/>
                    <a:pt x="1472650" y="206377"/>
                  </a:cubicBezTo>
                  <a:cubicBezTo>
                    <a:pt x="1477494" y="206377"/>
                    <a:pt x="1463384" y="200060"/>
                    <a:pt x="1459804" y="200060"/>
                  </a:cubicBezTo>
                  <a:cubicBezTo>
                    <a:pt x="1463595" y="200060"/>
                    <a:pt x="1452433" y="191004"/>
                    <a:pt x="1446748" y="191004"/>
                  </a:cubicBezTo>
                  <a:cubicBezTo>
                    <a:pt x="1452012" y="191004"/>
                    <a:pt x="1435165" y="181317"/>
                    <a:pt x="1430322" y="181317"/>
                  </a:cubicBezTo>
                  <a:cubicBezTo>
                    <a:pt x="1434955" y="181107"/>
                    <a:pt x="1447379" y="175000"/>
                    <a:pt x="1441483" y="175000"/>
                  </a:cubicBezTo>
                  <a:close/>
                  <a:moveTo>
                    <a:pt x="1848341" y="618711"/>
                  </a:moveTo>
                  <a:cubicBezTo>
                    <a:pt x="1837390" y="618711"/>
                    <a:pt x="1823913" y="629240"/>
                    <a:pt x="1812752" y="629240"/>
                  </a:cubicBezTo>
                  <a:cubicBezTo>
                    <a:pt x="1803064" y="629240"/>
                    <a:pt x="1786849" y="622080"/>
                    <a:pt x="1774845" y="622080"/>
                  </a:cubicBezTo>
                  <a:cubicBezTo>
                    <a:pt x="1763684" y="622080"/>
                    <a:pt x="1757577" y="626924"/>
                    <a:pt x="1742625" y="626924"/>
                  </a:cubicBezTo>
                  <a:cubicBezTo>
                    <a:pt x="1730621" y="626924"/>
                    <a:pt x="1722409" y="618711"/>
                    <a:pt x="1713775" y="618711"/>
                  </a:cubicBezTo>
                  <a:cubicBezTo>
                    <a:pt x="1705140" y="618711"/>
                    <a:pt x="1699455" y="614920"/>
                    <a:pt x="1691663" y="614920"/>
                  </a:cubicBezTo>
                  <a:cubicBezTo>
                    <a:pt x="1683029" y="614920"/>
                    <a:pt x="1673341" y="611130"/>
                    <a:pt x="1670604" y="611130"/>
                  </a:cubicBezTo>
                  <a:cubicBezTo>
                    <a:pt x="1673973" y="611130"/>
                    <a:pt x="1665760" y="606286"/>
                    <a:pt x="1653336" y="606286"/>
                  </a:cubicBezTo>
                  <a:cubicBezTo>
                    <a:pt x="1640911" y="606286"/>
                    <a:pt x="1636910" y="603338"/>
                    <a:pt x="1627222" y="603338"/>
                  </a:cubicBezTo>
                  <a:cubicBezTo>
                    <a:pt x="1620062" y="596178"/>
                    <a:pt x="1592686" y="595125"/>
                    <a:pt x="1579840" y="595125"/>
                  </a:cubicBezTo>
                  <a:cubicBezTo>
                    <a:pt x="1566783" y="595125"/>
                    <a:pt x="1545724" y="600811"/>
                    <a:pt x="1530352" y="600811"/>
                  </a:cubicBezTo>
                  <a:cubicBezTo>
                    <a:pt x="1516031" y="600811"/>
                    <a:pt x="1509714" y="614288"/>
                    <a:pt x="1490971" y="614288"/>
                  </a:cubicBezTo>
                  <a:cubicBezTo>
                    <a:pt x="1472650" y="614288"/>
                    <a:pt x="1475598" y="614710"/>
                    <a:pt x="1465069" y="614710"/>
                  </a:cubicBezTo>
                  <a:cubicBezTo>
                    <a:pt x="1453908" y="614710"/>
                    <a:pt x="1445905" y="612814"/>
                    <a:pt x="1436639" y="612814"/>
                  </a:cubicBezTo>
                  <a:cubicBezTo>
                    <a:pt x="1426952" y="612814"/>
                    <a:pt x="1414528" y="607128"/>
                    <a:pt x="1403577" y="607128"/>
                  </a:cubicBezTo>
                  <a:cubicBezTo>
                    <a:pt x="1393469" y="607128"/>
                    <a:pt x="1385255" y="598915"/>
                    <a:pt x="1378095" y="598915"/>
                  </a:cubicBezTo>
                  <a:cubicBezTo>
                    <a:pt x="1385255" y="598915"/>
                    <a:pt x="1375147" y="588807"/>
                    <a:pt x="1367145" y="588807"/>
                  </a:cubicBezTo>
                  <a:cubicBezTo>
                    <a:pt x="1375358" y="588807"/>
                    <a:pt x="1370515" y="576382"/>
                    <a:pt x="1364828" y="576382"/>
                  </a:cubicBezTo>
                  <a:cubicBezTo>
                    <a:pt x="1370725" y="576382"/>
                    <a:pt x="1375358" y="561009"/>
                    <a:pt x="1369250" y="561009"/>
                  </a:cubicBezTo>
                  <a:cubicBezTo>
                    <a:pt x="1376832" y="561009"/>
                    <a:pt x="1390941" y="558693"/>
                    <a:pt x="1390941" y="550480"/>
                  </a:cubicBezTo>
                  <a:cubicBezTo>
                    <a:pt x="1390941" y="542267"/>
                    <a:pt x="1407368" y="527526"/>
                    <a:pt x="1398733" y="527526"/>
                  </a:cubicBezTo>
                  <a:cubicBezTo>
                    <a:pt x="1406946" y="527526"/>
                    <a:pt x="1418318" y="523735"/>
                    <a:pt x="1428847" y="523735"/>
                  </a:cubicBezTo>
                  <a:cubicBezTo>
                    <a:pt x="1438534" y="523735"/>
                    <a:pt x="1441272" y="508362"/>
                    <a:pt x="1434533" y="508362"/>
                  </a:cubicBezTo>
                  <a:cubicBezTo>
                    <a:pt x="1441272" y="508362"/>
                    <a:pt x="1449906" y="495306"/>
                    <a:pt x="1458541" y="495306"/>
                  </a:cubicBezTo>
                  <a:cubicBezTo>
                    <a:pt x="1466753" y="495306"/>
                    <a:pt x="1487391" y="485197"/>
                    <a:pt x="1480020" y="485197"/>
                  </a:cubicBezTo>
                  <a:cubicBezTo>
                    <a:pt x="1487180" y="485197"/>
                    <a:pt x="1521296" y="488988"/>
                    <a:pt x="1515610" y="488988"/>
                  </a:cubicBezTo>
                  <a:cubicBezTo>
                    <a:pt x="1520875" y="488988"/>
                    <a:pt x="1505502" y="493831"/>
                    <a:pt x="1502554" y="493831"/>
                  </a:cubicBezTo>
                  <a:cubicBezTo>
                    <a:pt x="1505923" y="493831"/>
                    <a:pt x="1523192" y="497622"/>
                    <a:pt x="1517505" y="497622"/>
                  </a:cubicBezTo>
                  <a:cubicBezTo>
                    <a:pt x="1524244" y="497622"/>
                    <a:pt x="1551200" y="498675"/>
                    <a:pt x="1544040" y="498675"/>
                  </a:cubicBezTo>
                  <a:cubicBezTo>
                    <a:pt x="1554148" y="498675"/>
                    <a:pt x="1561308" y="500991"/>
                    <a:pt x="1569942" y="500991"/>
                  </a:cubicBezTo>
                  <a:cubicBezTo>
                    <a:pt x="1578155" y="500991"/>
                    <a:pt x="1577102" y="505835"/>
                    <a:pt x="1570784" y="505835"/>
                  </a:cubicBezTo>
                  <a:cubicBezTo>
                    <a:pt x="1577523" y="505835"/>
                    <a:pt x="1551200" y="510047"/>
                    <a:pt x="1545303" y="510047"/>
                  </a:cubicBezTo>
                  <a:cubicBezTo>
                    <a:pt x="1550147" y="510047"/>
                    <a:pt x="1533721" y="514890"/>
                    <a:pt x="1529509" y="514890"/>
                  </a:cubicBezTo>
                  <a:cubicBezTo>
                    <a:pt x="1534353" y="514890"/>
                    <a:pt x="1552463" y="518681"/>
                    <a:pt x="1547830" y="518681"/>
                  </a:cubicBezTo>
                  <a:cubicBezTo>
                    <a:pt x="1552674" y="518681"/>
                    <a:pt x="1571416" y="521629"/>
                    <a:pt x="1565941" y="521629"/>
                  </a:cubicBezTo>
                  <a:cubicBezTo>
                    <a:pt x="1571838" y="521629"/>
                    <a:pt x="1571206" y="533633"/>
                    <a:pt x="1565520" y="533633"/>
                  </a:cubicBezTo>
                  <a:cubicBezTo>
                    <a:pt x="1571416" y="533633"/>
                    <a:pt x="1590580" y="539319"/>
                    <a:pt x="1583209" y="539319"/>
                  </a:cubicBezTo>
                  <a:cubicBezTo>
                    <a:pt x="1591422" y="539319"/>
                    <a:pt x="1593738" y="531527"/>
                    <a:pt x="1602373" y="531527"/>
                  </a:cubicBezTo>
                  <a:cubicBezTo>
                    <a:pt x="1611007" y="531527"/>
                    <a:pt x="1626801" y="529632"/>
                    <a:pt x="1620062" y="529632"/>
                  </a:cubicBezTo>
                  <a:cubicBezTo>
                    <a:pt x="1626801" y="529632"/>
                    <a:pt x="1636278" y="525841"/>
                    <a:pt x="1632066" y="525841"/>
                  </a:cubicBezTo>
                  <a:cubicBezTo>
                    <a:pt x="1636910" y="525841"/>
                    <a:pt x="1656705" y="524788"/>
                    <a:pt x="1665339" y="524788"/>
                  </a:cubicBezTo>
                  <a:cubicBezTo>
                    <a:pt x="1673131" y="524788"/>
                    <a:pt x="1675869" y="519944"/>
                    <a:pt x="1673552" y="519944"/>
                  </a:cubicBezTo>
                  <a:cubicBezTo>
                    <a:pt x="1676079" y="519944"/>
                    <a:pt x="1669762" y="518049"/>
                    <a:pt x="1663023" y="518049"/>
                  </a:cubicBezTo>
                  <a:cubicBezTo>
                    <a:pt x="1655442" y="518049"/>
                    <a:pt x="1646176" y="518892"/>
                    <a:pt x="1640489" y="518892"/>
                  </a:cubicBezTo>
                  <a:cubicBezTo>
                    <a:pt x="1646176" y="518892"/>
                    <a:pt x="1633119" y="513627"/>
                    <a:pt x="1627012" y="513627"/>
                  </a:cubicBezTo>
                  <a:cubicBezTo>
                    <a:pt x="1633329" y="513627"/>
                    <a:pt x="1615640" y="503940"/>
                    <a:pt x="1613113" y="503940"/>
                  </a:cubicBezTo>
                  <a:cubicBezTo>
                    <a:pt x="1615008" y="503940"/>
                    <a:pt x="1612481" y="497201"/>
                    <a:pt x="1621747" y="497201"/>
                  </a:cubicBezTo>
                  <a:cubicBezTo>
                    <a:pt x="1630802" y="497201"/>
                    <a:pt x="1646176" y="490462"/>
                    <a:pt x="1640911" y="490462"/>
                  </a:cubicBezTo>
                  <a:cubicBezTo>
                    <a:pt x="1645754" y="490462"/>
                    <a:pt x="1667655" y="488146"/>
                    <a:pt x="1661548" y="488146"/>
                  </a:cubicBezTo>
                  <a:cubicBezTo>
                    <a:pt x="1668708" y="488146"/>
                    <a:pt x="1686398" y="483723"/>
                    <a:pt x="1694190" y="483723"/>
                  </a:cubicBezTo>
                  <a:cubicBezTo>
                    <a:pt x="1701982" y="483723"/>
                    <a:pt x="1729780" y="486671"/>
                    <a:pt x="1726831" y="486671"/>
                  </a:cubicBezTo>
                  <a:cubicBezTo>
                    <a:pt x="1729780" y="486671"/>
                    <a:pt x="1717565" y="489620"/>
                    <a:pt x="1711879" y="489620"/>
                  </a:cubicBezTo>
                  <a:cubicBezTo>
                    <a:pt x="1717565" y="489620"/>
                    <a:pt x="1735886" y="500781"/>
                    <a:pt x="1728516" y="500781"/>
                  </a:cubicBezTo>
                  <a:cubicBezTo>
                    <a:pt x="1735886" y="500781"/>
                    <a:pt x="1728094" y="508994"/>
                    <a:pt x="1724304" y="508994"/>
                  </a:cubicBezTo>
                  <a:cubicBezTo>
                    <a:pt x="1728094" y="508994"/>
                    <a:pt x="1715670" y="514680"/>
                    <a:pt x="1712300" y="514680"/>
                  </a:cubicBezTo>
                  <a:cubicBezTo>
                    <a:pt x="1716722" y="514680"/>
                    <a:pt x="1708931" y="519102"/>
                    <a:pt x="1702613" y="519102"/>
                  </a:cubicBezTo>
                  <a:cubicBezTo>
                    <a:pt x="1708931" y="519102"/>
                    <a:pt x="1687662" y="517628"/>
                    <a:pt x="1680080" y="517628"/>
                  </a:cubicBezTo>
                  <a:cubicBezTo>
                    <a:pt x="1672288" y="517628"/>
                    <a:pt x="1687872" y="524367"/>
                    <a:pt x="1682607" y="524367"/>
                  </a:cubicBezTo>
                  <a:cubicBezTo>
                    <a:pt x="1687872" y="524367"/>
                    <a:pt x="1713354" y="532159"/>
                    <a:pt x="1706615" y="532159"/>
                  </a:cubicBezTo>
                  <a:cubicBezTo>
                    <a:pt x="1713354" y="532159"/>
                    <a:pt x="1731885" y="542267"/>
                    <a:pt x="1743678" y="542267"/>
                  </a:cubicBezTo>
                  <a:cubicBezTo>
                    <a:pt x="1756103" y="542267"/>
                    <a:pt x="1766633" y="549427"/>
                    <a:pt x="1775266" y="558061"/>
                  </a:cubicBezTo>
                  <a:cubicBezTo>
                    <a:pt x="1787692" y="558061"/>
                    <a:pt x="1809382" y="576382"/>
                    <a:pt x="1824334" y="576382"/>
                  </a:cubicBezTo>
                  <a:cubicBezTo>
                    <a:pt x="1839286" y="576382"/>
                    <a:pt x="1863293" y="588386"/>
                    <a:pt x="1858449" y="588386"/>
                  </a:cubicBezTo>
                  <a:cubicBezTo>
                    <a:pt x="1863293" y="588386"/>
                    <a:pt x="1871506" y="597652"/>
                    <a:pt x="1871506" y="606707"/>
                  </a:cubicBezTo>
                  <a:cubicBezTo>
                    <a:pt x="1880140" y="606707"/>
                    <a:pt x="1858449" y="618711"/>
                    <a:pt x="1848341" y="618711"/>
                  </a:cubicBezTo>
                  <a:close/>
                  <a:moveTo>
                    <a:pt x="1927522" y="687784"/>
                  </a:moveTo>
                  <a:cubicBezTo>
                    <a:pt x="1933419" y="687784"/>
                    <a:pt x="1936157" y="693470"/>
                    <a:pt x="1933840" y="693470"/>
                  </a:cubicBezTo>
                  <a:cubicBezTo>
                    <a:pt x="1936367" y="693470"/>
                    <a:pt x="1931524" y="698313"/>
                    <a:pt x="1925627" y="698313"/>
                  </a:cubicBezTo>
                  <a:cubicBezTo>
                    <a:pt x="1931313" y="698313"/>
                    <a:pt x="1922679" y="694523"/>
                    <a:pt x="1916993" y="694523"/>
                  </a:cubicBezTo>
                  <a:cubicBezTo>
                    <a:pt x="1923311" y="694523"/>
                    <a:pt x="1903094" y="685889"/>
                    <a:pt x="1897829" y="685889"/>
                  </a:cubicBezTo>
                  <a:cubicBezTo>
                    <a:pt x="1903094" y="685889"/>
                    <a:pt x="1923732" y="684836"/>
                    <a:pt x="1917414" y="684836"/>
                  </a:cubicBezTo>
                  <a:cubicBezTo>
                    <a:pt x="1924153" y="684836"/>
                    <a:pt x="1942474" y="681888"/>
                    <a:pt x="1940579" y="681888"/>
                  </a:cubicBezTo>
                  <a:cubicBezTo>
                    <a:pt x="1942474" y="682098"/>
                    <a:pt x="1934472" y="687784"/>
                    <a:pt x="1927522" y="687784"/>
                  </a:cubicBezTo>
                  <a:close/>
                  <a:moveTo>
                    <a:pt x="2011126" y="727585"/>
                  </a:moveTo>
                  <a:cubicBezTo>
                    <a:pt x="2016391" y="727585"/>
                    <a:pt x="2013022" y="712634"/>
                    <a:pt x="2005441" y="712634"/>
                  </a:cubicBezTo>
                  <a:cubicBezTo>
                    <a:pt x="2012601" y="712634"/>
                    <a:pt x="2004387" y="701051"/>
                    <a:pt x="1999123" y="701051"/>
                  </a:cubicBezTo>
                  <a:cubicBezTo>
                    <a:pt x="2003966" y="701051"/>
                    <a:pt x="2015759" y="705473"/>
                    <a:pt x="2011547" y="705473"/>
                  </a:cubicBezTo>
                  <a:cubicBezTo>
                    <a:pt x="2015759" y="705473"/>
                    <a:pt x="2026500" y="715582"/>
                    <a:pt x="2021024" y="715582"/>
                  </a:cubicBezTo>
                  <a:cubicBezTo>
                    <a:pt x="2026289" y="715582"/>
                    <a:pt x="2034080" y="725690"/>
                    <a:pt x="2029658" y="725690"/>
                  </a:cubicBezTo>
                  <a:cubicBezTo>
                    <a:pt x="2036186" y="725690"/>
                    <a:pt x="2016391" y="727585"/>
                    <a:pt x="2011126" y="727585"/>
                  </a:cubicBezTo>
                  <a:close/>
                  <a:moveTo>
                    <a:pt x="2340698" y="657459"/>
                  </a:moveTo>
                  <a:cubicBezTo>
                    <a:pt x="2345542" y="657459"/>
                    <a:pt x="2321956" y="659354"/>
                    <a:pt x="2314375" y="659354"/>
                  </a:cubicBezTo>
                  <a:cubicBezTo>
                    <a:pt x="2299002" y="659354"/>
                    <a:pt x="2288473" y="649246"/>
                    <a:pt x="2278364" y="649246"/>
                  </a:cubicBezTo>
                  <a:cubicBezTo>
                    <a:pt x="2282155" y="649246"/>
                    <a:pt x="2280680" y="658933"/>
                    <a:pt x="2275415" y="658933"/>
                  </a:cubicBezTo>
                  <a:cubicBezTo>
                    <a:pt x="2280259" y="658933"/>
                    <a:pt x="2280680" y="673885"/>
                    <a:pt x="2271415" y="673885"/>
                  </a:cubicBezTo>
                  <a:cubicBezTo>
                    <a:pt x="2279628" y="673885"/>
                    <a:pt x="2300266" y="675780"/>
                    <a:pt x="2295422" y="675780"/>
                  </a:cubicBezTo>
                  <a:cubicBezTo>
                    <a:pt x="2299423" y="675780"/>
                    <a:pt x="2306372" y="685889"/>
                    <a:pt x="2303635" y="685889"/>
                  </a:cubicBezTo>
                  <a:cubicBezTo>
                    <a:pt x="2306583" y="685889"/>
                    <a:pt x="2290578" y="687784"/>
                    <a:pt x="2284892" y="687784"/>
                  </a:cubicBezTo>
                  <a:cubicBezTo>
                    <a:pt x="2291210" y="687784"/>
                    <a:pt x="2290578" y="694523"/>
                    <a:pt x="2302161" y="694523"/>
                  </a:cubicBezTo>
                  <a:cubicBezTo>
                    <a:pt x="2312690" y="694523"/>
                    <a:pt x="2323641" y="704631"/>
                    <a:pt x="2318797" y="704631"/>
                  </a:cubicBezTo>
                  <a:cubicBezTo>
                    <a:pt x="2324062" y="704631"/>
                    <a:pt x="2321114" y="718109"/>
                    <a:pt x="2314375" y="718109"/>
                  </a:cubicBezTo>
                  <a:cubicBezTo>
                    <a:pt x="2320693" y="718109"/>
                    <a:pt x="2324062" y="730534"/>
                    <a:pt x="2324062" y="742748"/>
                  </a:cubicBezTo>
                  <a:cubicBezTo>
                    <a:pt x="2329537" y="753277"/>
                    <a:pt x="2327010" y="754330"/>
                    <a:pt x="2317744" y="754330"/>
                  </a:cubicBezTo>
                  <a:cubicBezTo>
                    <a:pt x="2309110" y="754330"/>
                    <a:pt x="2299002" y="752856"/>
                    <a:pt x="2283629" y="752856"/>
                  </a:cubicBezTo>
                  <a:cubicBezTo>
                    <a:pt x="2267414" y="752856"/>
                    <a:pt x="2262149" y="758542"/>
                    <a:pt x="2254778" y="758542"/>
                  </a:cubicBezTo>
                  <a:cubicBezTo>
                    <a:pt x="2246565" y="758542"/>
                    <a:pt x="2219820" y="749908"/>
                    <a:pt x="2210554" y="749908"/>
                  </a:cubicBezTo>
                  <a:cubicBezTo>
                    <a:pt x="2200025" y="749908"/>
                    <a:pt x="2199182" y="734535"/>
                    <a:pt x="2189495" y="734535"/>
                  </a:cubicBezTo>
                  <a:cubicBezTo>
                    <a:pt x="2179808" y="734535"/>
                    <a:pt x="2168857" y="728217"/>
                    <a:pt x="2149694" y="728217"/>
                  </a:cubicBezTo>
                  <a:cubicBezTo>
                    <a:pt x="2130531" y="728217"/>
                    <a:pt x="2137269" y="709475"/>
                    <a:pt x="2137269" y="701262"/>
                  </a:cubicBezTo>
                  <a:cubicBezTo>
                    <a:pt x="2145482" y="701262"/>
                    <a:pt x="2150326" y="692628"/>
                    <a:pt x="2150326" y="684415"/>
                  </a:cubicBezTo>
                  <a:cubicBezTo>
                    <a:pt x="2158539" y="684415"/>
                    <a:pt x="2157065" y="661882"/>
                    <a:pt x="2154117" y="661882"/>
                  </a:cubicBezTo>
                  <a:cubicBezTo>
                    <a:pt x="2157486" y="661882"/>
                    <a:pt x="2168647" y="662303"/>
                    <a:pt x="2177071" y="662303"/>
                  </a:cubicBezTo>
                  <a:cubicBezTo>
                    <a:pt x="2186758" y="662303"/>
                    <a:pt x="2192022" y="655564"/>
                    <a:pt x="2182756" y="655564"/>
                  </a:cubicBezTo>
                  <a:cubicBezTo>
                    <a:pt x="2191812" y="655564"/>
                    <a:pt x="2166962" y="650720"/>
                    <a:pt x="2158750" y="650720"/>
                  </a:cubicBezTo>
                  <a:cubicBezTo>
                    <a:pt x="2150536" y="650720"/>
                    <a:pt x="2142534" y="651773"/>
                    <a:pt x="2142534" y="640612"/>
                  </a:cubicBezTo>
                  <a:cubicBezTo>
                    <a:pt x="2152642" y="640612"/>
                    <a:pt x="2129056" y="619974"/>
                    <a:pt x="2114737" y="619974"/>
                  </a:cubicBezTo>
                  <a:cubicBezTo>
                    <a:pt x="2100838" y="619974"/>
                    <a:pt x="2089676" y="606497"/>
                    <a:pt x="2082937" y="593019"/>
                  </a:cubicBezTo>
                  <a:cubicBezTo>
                    <a:pt x="2072408" y="582068"/>
                    <a:pt x="2093046" y="573855"/>
                    <a:pt x="2086307" y="573855"/>
                  </a:cubicBezTo>
                  <a:cubicBezTo>
                    <a:pt x="2093046" y="573855"/>
                    <a:pt x="2084833" y="570065"/>
                    <a:pt x="2077041" y="570065"/>
                  </a:cubicBezTo>
                  <a:cubicBezTo>
                    <a:pt x="2084833" y="570065"/>
                    <a:pt x="2063774" y="555534"/>
                    <a:pt x="2056403" y="555534"/>
                  </a:cubicBezTo>
                  <a:cubicBezTo>
                    <a:pt x="2063563" y="555534"/>
                    <a:pt x="2083148" y="555113"/>
                    <a:pt x="2076620" y="555113"/>
                  </a:cubicBezTo>
                  <a:cubicBezTo>
                    <a:pt x="2083358" y="555113"/>
                    <a:pt x="2069459" y="547532"/>
                    <a:pt x="2069459" y="538266"/>
                  </a:cubicBezTo>
                  <a:cubicBezTo>
                    <a:pt x="2078094" y="538266"/>
                    <a:pt x="2088202" y="534054"/>
                    <a:pt x="2098732" y="534054"/>
                  </a:cubicBezTo>
                  <a:cubicBezTo>
                    <a:pt x="2108208" y="534054"/>
                    <a:pt x="2126529" y="532159"/>
                    <a:pt x="2126529" y="523103"/>
                  </a:cubicBezTo>
                  <a:cubicBezTo>
                    <a:pt x="2135164" y="523103"/>
                    <a:pt x="2135585" y="513837"/>
                    <a:pt x="2150958" y="513837"/>
                  </a:cubicBezTo>
                  <a:cubicBezTo>
                    <a:pt x="2165910" y="513837"/>
                    <a:pt x="2173069" y="506677"/>
                    <a:pt x="2180861" y="506677"/>
                  </a:cubicBezTo>
                  <a:cubicBezTo>
                    <a:pt x="2189495" y="506677"/>
                    <a:pt x="2196655" y="506256"/>
                    <a:pt x="2207185" y="506256"/>
                  </a:cubicBezTo>
                  <a:cubicBezTo>
                    <a:pt x="2217714" y="506256"/>
                    <a:pt x="2240879" y="511521"/>
                    <a:pt x="2234140" y="511521"/>
                  </a:cubicBezTo>
                  <a:cubicBezTo>
                    <a:pt x="2240879" y="511521"/>
                    <a:pt x="2267203" y="516364"/>
                    <a:pt x="2260043" y="516364"/>
                  </a:cubicBezTo>
                  <a:cubicBezTo>
                    <a:pt x="2273099" y="516364"/>
                    <a:pt x="2270151" y="530263"/>
                    <a:pt x="2261938" y="530263"/>
                  </a:cubicBezTo>
                  <a:cubicBezTo>
                    <a:pt x="2254146" y="530263"/>
                    <a:pt x="2264254" y="547110"/>
                    <a:pt x="2257094" y="547110"/>
                  </a:cubicBezTo>
                  <a:cubicBezTo>
                    <a:pt x="2260464" y="553849"/>
                    <a:pt x="2234562" y="547110"/>
                    <a:pt x="2228244" y="547110"/>
                  </a:cubicBezTo>
                  <a:cubicBezTo>
                    <a:pt x="2234983" y="547110"/>
                    <a:pt x="2205290" y="549006"/>
                    <a:pt x="2199814" y="549006"/>
                  </a:cubicBezTo>
                  <a:cubicBezTo>
                    <a:pt x="2205079" y="549006"/>
                    <a:pt x="2206553" y="560588"/>
                    <a:pt x="2202763" y="560588"/>
                  </a:cubicBezTo>
                  <a:cubicBezTo>
                    <a:pt x="2207185" y="560588"/>
                    <a:pt x="2194128" y="556376"/>
                    <a:pt x="2183178" y="556376"/>
                  </a:cubicBezTo>
                  <a:cubicBezTo>
                    <a:pt x="2171174" y="556376"/>
                    <a:pt x="2161066" y="565432"/>
                    <a:pt x="2171595" y="565432"/>
                  </a:cubicBezTo>
                  <a:cubicBezTo>
                    <a:pt x="2182125" y="565432"/>
                    <a:pt x="2196024" y="572171"/>
                    <a:pt x="2188864" y="572171"/>
                  </a:cubicBezTo>
                  <a:cubicBezTo>
                    <a:pt x="2196445" y="572171"/>
                    <a:pt x="2196445" y="584174"/>
                    <a:pt x="2209502" y="584174"/>
                  </a:cubicBezTo>
                  <a:cubicBezTo>
                    <a:pt x="2221505" y="584174"/>
                    <a:pt x="2212029" y="593229"/>
                    <a:pt x="2207185" y="593229"/>
                  </a:cubicBezTo>
                  <a:cubicBezTo>
                    <a:pt x="2212029" y="593229"/>
                    <a:pt x="2227191" y="596178"/>
                    <a:pt x="2222136" y="596178"/>
                  </a:cubicBezTo>
                  <a:cubicBezTo>
                    <a:pt x="2227401" y="596178"/>
                    <a:pt x="2231192" y="605233"/>
                    <a:pt x="2240879" y="605233"/>
                  </a:cubicBezTo>
                  <a:cubicBezTo>
                    <a:pt x="2249934" y="605233"/>
                    <a:pt x="2267203" y="611972"/>
                    <a:pt x="2259621" y="611972"/>
                  </a:cubicBezTo>
                  <a:cubicBezTo>
                    <a:pt x="2266782" y="611972"/>
                    <a:pt x="2258148" y="625450"/>
                    <a:pt x="2252883" y="625450"/>
                  </a:cubicBezTo>
                  <a:cubicBezTo>
                    <a:pt x="2258148" y="625450"/>
                    <a:pt x="2277943" y="643139"/>
                    <a:pt x="2271204" y="643139"/>
                  </a:cubicBezTo>
                  <a:cubicBezTo>
                    <a:pt x="2276469" y="643139"/>
                    <a:pt x="2281313" y="629240"/>
                    <a:pt x="2275205" y="629240"/>
                  </a:cubicBezTo>
                  <a:cubicBezTo>
                    <a:pt x="2281523" y="629240"/>
                    <a:pt x="2295843" y="623976"/>
                    <a:pt x="2288683" y="623976"/>
                  </a:cubicBezTo>
                  <a:cubicBezTo>
                    <a:pt x="2297949" y="623976"/>
                    <a:pt x="2314164" y="618290"/>
                    <a:pt x="2314164" y="639349"/>
                  </a:cubicBezTo>
                  <a:cubicBezTo>
                    <a:pt x="2318587" y="639349"/>
                    <a:pt x="2335223" y="647561"/>
                    <a:pt x="2331011" y="647561"/>
                  </a:cubicBezTo>
                  <a:cubicBezTo>
                    <a:pt x="2341120" y="647561"/>
                    <a:pt x="2344489" y="657459"/>
                    <a:pt x="2340698" y="657459"/>
                  </a:cubicBezTo>
                  <a:close/>
                  <a:moveTo>
                    <a:pt x="2441571" y="646930"/>
                  </a:moveTo>
                  <a:cubicBezTo>
                    <a:pt x="2432936" y="646930"/>
                    <a:pt x="2429988" y="640191"/>
                    <a:pt x="2419459" y="640191"/>
                  </a:cubicBezTo>
                  <a:cubicBezTo>
                    <a:pt x="2408298" y="640191"/>
                    <a:pt x="2423460" y="627134"/>
                    <a:pt x="2431462" y="627134"/>
                  </a:cubicBezTo>
                  <a:cubicBezTo>
                    <a:pt x="2439675" y="627134"/>
                    <a:pt x="2453364" y="638085"/>
                    <a:pt x="2446204" y="638085"/>
                  </a:cubicBezTo>
                  <a:cubicBezTo>
                    <a:pt x="2454416" y="638296"/>
                    <a:pt x="2450626" y="646930"/>
                    <a:pt x="2441571" y="646930"/>
                  </a:cubicBezTo>
                  <a:close/>
                  <a:moveTo>
                    <a:pt x="2558658" y="550901"/>
                  </a:moveTo>
                  <a:cubicBezTo>
                    <a:pt x="2565397" y="550901"/>
                    <a:pt x="2544759" y="547110"/>
                    <a:pt x="2533809" y="547110"/>
                  </a:cubicBezTo>
                  <a:cubicBezTo>
                    <a:pt x="2523279" y="547110"/>
                    <a:pt x="2518857" y="548585"/>
                    <a:pt x="2510223" y="548585"/>
                  </a:cubicBezTo>
                  <a:cubicBezTo>
                    <a:pt x="2500535" y="548585"/>
                    <a:pt x="2511697" y="556376"/>
                    <a:pt x="2508959" y="556376"/>
                  </a:cubicBezTo>
                  <a:cubicBezTo>
                    <a:pt x="2511697" y="556376"/>
                    <a:pt x="2524332" y="560167"/>
                    <a:pt x="2524332" y="572171"/>
                  </a:cubicBezTo>
                  <a:cubicBezTo>
                    <a:pt x="2535915" y="572171"/>
                    <a:pt x="2532124" y="591966"/>
                    <a:pt x="2523911" y="591966"/>
                  </a:cubicBezTo>
                  <a:cubicBezTo>
                    <a:pt x="2523911" y="599547"/>
                    <a:pt x="2508117" y="594493"/>
                    <a:pt x="2500325" y="594493"/>
                  </a:cubicBezTo>
                  <a:cubicBezTo>
                    <a:pt x="2492112" y="594493"/>
                    <a:pt x="2487269" y="590071"/>
                    <a:pt x="2487269" y="580594"/>
                  </a:cubicBezTo>
                  <a:cubicBezTo>
                    <a:pt x="2496956" y="580594"/>
                    <a:pt x="2499693" y="568169"/>
                    <a:pt x="2493586" y="568169"/>
                  </a:cubicBezTo>
                  <a:cubicBezTo>
                    <a:pt x="2499904" y="568169"/>
                    <a:pt x="2489796" y="555745"/>
                    <a:pt x="2483057" y="555745"/>
                  </a:cubicBezTo>
                  <a:cubicBezTo>
                    <a:pt x="2489374" y="555745"/>
                    <a:pt x="2477792" y="565432"/>
                    <a:pt x="2472948" y="565432"/>
                  </a:cubicBezTo>
                  <a:cubicBezTo>
                    <a:pt x="2478213" y="565432"/>
                    <a:pt x="2480740" y="580805"/>
                    <a:pt x="2474843" y="580805"/>
                  </a:cubicBezTo>
                  <a:cubicBezTo>
                    <a:pt x="2481161" y="580805"/>
                    <a:pt x="2462419" y="583753"/>
                    <a:pt x="2457576" y="583753"/>
                  </a:cubicBezTo>
                  <a:cubicBezTo>
                    <a:pt x="2463261" y="583753"/>
                    <a:pt x="2461787" y="570275"/>
                    <a:pt x="2456101" y="570275"/>
                  </a:cubicBezTo>
                  <a:cubicBezTo>
                    <a:pt x="2461787" y="570275"/>
                    <a:pt x="2456522" y="553428"/>
                    <a:pt x="2465157" y="553428"/>
                  </a:cubicBezTo>
                  <a:cubicBezTo>
                    <a:pt x="2473370" y="553428"/>
                    <a:pt x="2479476" y="545847"/>
                    <a:pt x="2488321" y="545847"/>
                  </a:cubicBezTo>
                  <a:cubicBezTo>
                    <a:pt x="2497377" y="545847"/>
                    <a:pt x="2511907" y="538055"/>
                    <a:pt x="2505168" y="538055"/>
                  </a:cubicBezTo>
                  <a:cubicBezTo>
                    <a:pt x="2512328" y="538055"/>
                    <a:pt x="2529597" y="536581"/>
                    <a:pt x="2522858" y="536581"/>
                  </a:cubicBezTo>
                  <a:cubicBezTo>
                    <a:pt x="2529597" y="536581"/>
                    <a:pt x="2532545" y="537002"/>
                    <a:pt x="2540969" y="537002"/>
                  </a:cubicBezTo>
                  <a:cubicBezTo>
                    <a:pt x="2549603" y="537002"/>
                    <a:pt x="2567924" y="546268"/>
                    <a:pt x="2560764" y="546268"/>
                  </a:cubicBezTo>
                  <a:cubicBezTo>
                    <a:pt x="2562659" y="545636"/>
                    <a:pt x="2564976" y="550901"/>
                    <a:pt x="2558658" y="550901"/>
                  </a:cubicBezTo>
                  <a:close/>
                  <a:moveTo>
                    <a:pt x="2803994" y="702736"/>
                  </a:moveTo>
                  <a:cubicBezTo>
                    <a:pt x="2810312" y="702736"/>
                    <a:pt x="2782514" y="690311"/>
                    <a:pt x="2771985" y="690311"/>
                  </a:cubicBezTo>
                  <a:cubicBezTo>
                    <a:pt x="2761035" y="690311"/>
                    <a:pt x="2749452" y="694102"/>
                    <a:pt x="2745872" y="686942"/>
                  </a:cubicBezTo>
                  <a:cubicBezTo>
                    <a:pt x="2753032" y="686942"/>
                    <a:pt x="2760192" y="684204"/>
                    <a:pt x="2754085" y="684204"/>
                  </a:cubicBezTo>
                  <a:cubicBezTo>
                    <a:pt x="2760192" y="684204"/>
                    <a:pt x="2808206" y="694733"/>
                    <a:pt x="2802521" y="694733"/>
                  </a:cubicBezTo>
                  <a:cubicBezTo>
                    <a:pt x="2817683" y="694523"/>
                    <a:pt x="2810312" y="702736"/>
                    <a:pt x="2803994" y="702736"/>
                  </a:cubicBezTo>
                  <a:close/>
                  <a:moveTo>
                    <a:pt x="3165787" y="692628"/>
                  </a:moveTo>
                  <a:cubicBezTo>
                    <a:pt x="3170630" y="692628"/>
                    <a:pt x="3160522" y="697892"/>
                    <a:pt x="3155678" y="697892"/>
                  </a:cubicBezTo>
                  <a:cubicBezTo>
                    <a:pt x="3160522" y="697892"/>
                    <a:pt x="3145570" y="698313"/>
                    <a:pt x="3135462" y="698313"/>
                  </a:cubicBezTo>
                  <a:cubicBezTo>
                    <a:pt x="3125354" y="698313"/>
                    <a:pt x="3120510" y="690522"/>
                    <a:pt x="3109980" y="690522"/>
                  </a:cubicBezTo>
                  <a:cubicBezTo>
                    <a:pt x="3099872" y="690522"/>
                    <a:pt x="3110402" y="685678"/>
                    <a:pt x="3104084" y="685678"/>
                  </a:cubicBezTo>
                  <a:cubicBezTo>
                    <a:pt x="3111876" y="685678"/>
                    <a:pt x="3130618" y="686099"/>
                    <a:pt x="3140095" y="686099"/>
                  </a:cubicBezTo>
                  <a:cubicBezTo>
                    <a:pt x="3149150" y="686099"/>
                    <a:pt x="3152941" y="687995"/>
                    <a:pt x="3164944" y="687995"/>
                  </a:cubicBezTo>
                  <a:cubicBezTo>
                    <a:pt x="3171894" y="688205"/>
                    <a:pt x="3170630" y="692628"/>
                    <a:pt x="3165787" y="692628"/>
                  </a:cubicBezTo>
                  <a:close/>
                  <a:moveTo>
                    <a:pt x="3173368" y="605654"/>
                  </a:moveTo>
                  <a:cubicBezTo>
                    <a:pt x="3180107" y="605654"/>
                    <a:pt x="3147887" y="600811"/>
                    <a:pt x="3139253" y="600811"/>
                  </a:cubicBezTo>
                  <a:cubicBezTo>
                    <a:pt x="3135462" y="592598"/>
                    <a:pt x="3106611" y="595967"/>
                    <a:pt x="3098398" y="595967"/>
                  </a:cubicBezTo>
                  <a:cubicBezTo>
                    <a:pt x="3106611" y="595967"/>
                    <a:pt x="3069548" y="588807"/>
                    <a:pt x="3060913" y="588807"/>
                  </a:cubicBezTo>
                  <a:cubicBezTo>
                    <a:pt x="3052279" y="588807"/>
                    <a:pt x="3044066" y="592598"/>
                    <a:pt x="3035853" y="592598"/>
                  </a:cubicBezTo>
                  <a:cubicBezTo>
                    <a:pt x="3028062" y="592598"/>
                    <a:pt x="3023429" y="599758"/>
                    <a:pt x="3018164" y="599758"/>
                  </a:cubicBezTo>
                  <a:cubicBezTo>
                    <a:pt x="3023429" y="599758"/>
                    <a:pt x="3021112" y="615552"/>
                    <a:pt x="3015847" y="615552"/>
                  </a:cubicBezTo>
                  <a:cubicBezTo>
                    <a:pt x="3020691" y="615552"/>
                    <a:pt x="3006792" y="609445"/>
                    <a:pt x="2997105" y="609445"/>
                  </a:cubicBezTo>
                  <a:cubicBezTo>
                    <a:pt x="3006160" y="609445"/>
                    <a:pt x="2993314" y="595967"/>
                    <a:pt x="2988892" y="595967"/>
                  </a:cubicBezTo>
                  <a:cubicBezTo>
                    <a:pt x="2993735" y="595967"/>
                    <a:pt x="3009530" y="588807"/>
                    <a:pt x="3002791" y="588807"/>
                  </a:cubicBezTo>
                  <a:cubicBezTo>
                    <a:pt x="3008055" y="588807"/>
                    <a:pt x="3016269" y="582489"/>
                    <a:pt x="3025745" y="582489"/>
                  </a:cubicBezTo>
                  <a:cubicBezTo>
                    <a:pt x="3035432" y="582489"/>
                    <a:pt x="3038169" y="583964"/>
                    <a:pt x="3049752" y="583964"/>
                  </a:cubicBezTo>
                  <a:cubicBezTo>
                    <a:pt x="3061334" y="583964"/>
                    <a:pt x="3059860" y="585859"/>
                    <a:pt x="3072706" y="585859"/>
                  </a:cubicBezTo>
                  <a:cubicBezTo>
                    <a:pt x="3085552" y="585859"/>
                    <a:pt x="3082815" y="589649"/>
                    <a:pt x="3096292" y="589649"/>
                  </a:cubicBezTo>
                  <a:cubicBezTo>
                    <a:pt x="3109349" y="589649"/>
                    <a:pt x="3117983" y="594914"/>
                    <a:pt x="3127881" y="594914"/>
                  </a:cubicBezTo>
                  <a:cubicBezTo>
                    <a:pt x="3138410" y="594914"/>
                    <a:pt x="3152941" y="595967"/>
                    <a:pt x="3145570" y="595967"/>
                  </a:cubicBezTo>
                  <a:cubicBezTo>
                    <a:pt x="3152730" y="595967"/>
                    <a:pt x="3163259" y="598284"/>
                    <a:pt x="3157574" y="598284"/>
                  </a:cubicBezTo>
                  <a:cubicBezTo>
                    <a:pt x="3163259" y="598284"/>
                    <a:pt x="3186424" y="597862"/>
                    <a:pt x="3179685" y="597862"/>
                  </a:cubicBezTo>
                  <a:cubicBezTo>
                    <a:pt x="3187267" y="598073"/>
                    <a:pt x="3179685" y="605654"/>
                    <a:pt x="3173368" y="605654"/>
                  </a:cubicBezTo>
                  <a:close/>
                  <a:moveTo>
                    <a:pt x="3636875" y="583121"/>
                  </a:moveTo>
                  <a:cubicBezTo>
                    <a:pt x="3640876" y="583121"/>
                    <a:pt x="3626345" y="586912"/>
                    <a:pt x="3620659" y="586912"/>
                  </a:cubicBezTo>
                  <a:cubicBezTo>
                    <a:pt x="3626555" y="586912"/>
                    <a:pt x="3610130" y="575751"/>
                    <a:pt x="3605286" y="575751"/>
                  </a:cubicBezTo>
                  <a:cubicBezTo>
                    <a:pt x="3610130" y="575751"/>
                    <a:pt x="3621502" y="572802"/>
                    <a:pt x="3615816" y="572802"/>
                  </a:cubicBezTo>
                  <a:cubicBezTo>
                    <a:pt x="3621712" y="572802"/>
                    <a:pt x="3636875" y="574277"/>
                    <a:pt x="3629293" y="574277"/>
                  </a:cubicBezTo>
                  <a:cubicBezTo>
                    <a:pt x="3636875" y="574277"/>
                    <a:pt x="3647614" y="580594"/>
                    <a:pt x="3642771" y="580594"/>
                  </a:cubicBezTo>
                  <a:cubicBezTo>
                    <a:pt x="3648457" y="580805"/>
                    <a:pt x="3643613" y="583121"/>
                    <a:pt x="3636875" y="583121"/>
                  </a:cubicBezTo>
                  <a:close/>
                  <a:moveTo>
                    <a:pt x="3979714" y="939859"/>
                  </a:moveTo>
                  <a:cubicBezTo>
                    <a:pt x="3969184" y="939859"/>
                    <a:pt x="3970026" y="936490"/>
                    <a:pt x="3962445" y="936490"/>
                  </a:cubicBezTo>
                  <a:cubicBezTo>
                    <a:pt x="3970237" y="936490"/>
                    <a:pt x="3965393" y="931225"/>
                    <a:pt x="3960550" y="931225"/>
                  </a:cubicBezTo>
                  <a:cubicBezTo>
                    <a:pt x="3965393" y="931225"/>
                    <a:pt x="3960550" y="924486"/>
                    <a:pt x="3956760" y="924486"/>
                  </a:cubicBezTo>
                  <a:cubicBezTo>
                    <a:pt x="3960550" y="924486"/>
                    <a:pt x="3981609" y="929751"/>
                    <a:pt x="3974870" y="929751"/>
                  </a:cubicBezTo>
                  <a:cubicBezTo>
                    <a:pt x="3981609" y="929751"/>
                    <a:pt x="3993191" y="936069"/>
                    <a:pt x="3985400" y="936069"/>
                  </a:cubicBezTo>
                  <a:cubicBezTo>
                    <a:pt x="3990243" y="936069"/>
                    <a:pt x="3996982" y="945124"/>
                    <a:pt x="3995086" y="945124"/>
                  </a:cubicBezTo>
                  <a:cubicBezTo>
                    <a:pt x="3997192" y="945334"/>
                    <a:pt x="3990453" y="939859"/>
                    <a:pt x="3979714" y="939859"/>
                  </a:cubicBezTo>
                  <a:close/>
                  <a:moveTo>
                    <a:pt x="3884738" y="605233"/>
                  </a:moveTo>
                  <a:cubicBezTo>
                    <a:pt x="3877999" y="605233"/>
                    <a:pt x="3882843" y="615341"/>
                    <a:pt x="3879894" y="615341"/>
                  </a:cubicBezTo>
                  <a:cubicBezTo>
                    <a:pt x="3883685" y="615341"/>
                    <a:pt x="3876946" y="609024"/>
                    <a:pt x="3872313" y="609024"/>
                  </a:cubicBezTo>
                  <a:cubicBezTo>
                    <a:pt x="3878210" y="609024"/>
                    <a:pt x="3875261" y="595967"/>
                    <a:pt x="3871471" y="595967"/>
                  </a:cubicBezTo>
                  <a:cubicBezTo>
                    <a:pt x="3875261" y="595967"/>
                    <a:pt x="3886844" y="594914"/>
                    <a:pt x="3881158" y="594914"/>
                  </a:cubicBezTo>
                  <a:cubicBezTo>
                    <a:pt x="3885791" y="595125"/>
                    <a:pt x="3893372" y="605233"/>
                    <a:pt x="3884738" y="605233"/>
                  </a:cubicBezTo>
                  <a:close/>
                  <a:moveTo>
                    <a:pt x="4148817" y="568801"/>
                  </a:moveTo>
                  <a:cubicBezTo>
                    <a:pt x="4151555" y="568801"/>
                    <a:pt x="4155556" y="584595"/>
                    <a:pt x="4150712" y="584595"/>
                  </a:cubicBezTo>
                  <a:cubicBezTo>
                    <a:pt x="4155556" y="584595"/>
                    <a:pt x="4142920" y="588386"/>
                    <a:pt x="4128600" y="588386"/>
                  </a:cubicBezTo>
                  <a:cubicBezTo>
                    <a:pt x="4122914" y="576382"/>
                    <a:pt x="4125652" y="597020"/>
                    <a:pt x="4136392" y="597020"/>
                  </a:cubicBezTo>
                  <a:cubicBezTo>
                    <a:pt x="4147974" y="597020"/>
                    <a:pt x="4140183" y="600811"/>
                    <a:pt x="4131548" y="600811"/>
                  </a:cubicBezTo>
                  <a:cubicBezTo>
                    <a:pt x="4127758" y="593651"/>
                    <a:pt x="4119966" y="610919"/>
                    <a:pt x="4108594" y="610919"/>
                  </a:cubicBezTo>
                  <a:cubicBezTo>
                    <a:pt x="4098065" y="610919"/>
                    <a:pt x="4079744" y="610498"/>
                    <a:pt x="4071952" y="610498"/>
                  </a:cubicBezTo>
                  <a:cubicBezTo>
                    <a:pt x="4063318" y="610498"/>
                    <a:pt x="4063318" y="613867"/>
                    <a:pt x="4058474" y="613867"/>
                  </a:cubicBezTo>
                  <a:cubicBezTo>
                    <a:pt x="4063318" y="613867"/>
                    <a:pt x="4046049" y="619132"/>
                    <a:pt x="4039310" y="619132"/>
                  </a:cubicBezTo>
                  <a:cubicBezTo>
                    <a:pt x="4031519" y="619132"/>
                    <a:pt x="4004774" y="617658"/>
                    <a:pt x="3999930" y="613025"/>
                  </a:cubicBezTo>
                  <a:cubicBezTo>
                    <a:pt x="3992349" y="613025"/>
                    <a:pt x="3986452" y="604812"/>
                    <a:pt x="3978029" y="604812"/>
                  </a:cubicBezTo>
                  <a:cubicBezTo>
                    <a:pt x="3986663" y="604812"/>
                    <a:pt x="4010670" y="607128"/>
                    <a:pt x="4018462" y="607128"/>
                  </a:cubicBezTo>
                  <a:cubicBezTo>
                    <a:pt x="4027096" y="607128"/>
                    <a:pt x="4034677" y="604812"/>
                    <a:pt x="4042469" y="604812"/>
                  </a:cubicBezTo>
                  <a:cubicBezTo>
                    <a:pt x="4047313" y="604812"/>
                    <a:pt x="4058685" y="601442"/>
                    <a:pt x="4065423" y="601442"/>
                  </a:cubicBezTo>
                  <a:cubicBezTo>
                    <a:pt x="4070267" y="601442"/>
                    <a:pt x="4077848" y="597231"/>
                    <a:pt x="4074057" y="597231"/>
                  </a:cubicBezTo>
                  <a:cubicBezTo>
                    <a:pt x="4084587" y="597231"/>
                    <a:pt x="4108594" y="596388"/>
                    <a:pt x="4103961" y="596388"/>
                  </a:cubicBezTo>
                  <a:cubicBezTo>
                    <a:pt x="4106909" y="596388"/>
                    <a:pt x="4088588" y="594914"/>
                    <a:pt x="4083745" y="594914"/>
                  </a:cubicBezTo>
                  <a:cubicBezTo>
                    <a:pt x="4088588" y="594914"/>
                    <a:pt x="4080796" y="593861"/>
                    <a:pt x="4077006" y="593861"/>
                  </a:cubicBezTo>
                  <a:cubicBezTo>
                    <a:pt x="4081850" y="593861"/>
                    <a:pt x="4112596" y="585648"/>
                    <a:pt x="4107752" y="585648"/>
                  </a:cubicBezTo>
                  <a:cubicBezTo>
                    <a:pt x="4112596" y="585648"/>
                    <a:pt x="4128811" y="568380"/>
                    <a:pt x="4124178" y="568380"/>
                  </a:cubicBezTo>
                  <a:cubicBezTo>
                    <a:pt x="4130074" y="568380"/>
                    <a:pt x="4140604" y="556798"/>
                    <a:pt x="4136602" y="556798"/>
                  </a:cubicBezTo>
                  <a:cubicBezTo>
                    <a:pt x="4140393" y="556798"/>
                    <a:pt x="4154924" y="558272"/>
                    <a:pt x="4150923" y="558272"/>
                  </a:cubicBezTo>
                  <a:cubicBezTo>
                    <a:pt x="4155556" y="558061"/>
                    <a:pt x="4152607" y="568801"/>
                    <a:pt x="4148817" y="568801"/>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7" name="Forme libre : forme 191">
              <a:extLst>
                <a:ext uri="{FF2B5EF4-FFF2-40B4-BE49-F238E27FC236}">
                  <a16:creationId xmlns:a16="http://schemas.microsoft.com/office/drawing/2014/main" id="{301D9F49-2EE5-436F-BE33-AC2F4629536C}"/>
                </a:ext>
              </a:extLst>
            </p:cNvPr>
            <p:cNvSpPr/>
            <p:nvPr/>
          </p:nvSpPr>
          <p:spPr>
            <a:xfrm>
              <a:off x="10974718" y="2470176"/>
              <a:ext cx="101805" cy="33904"/>
            </a:xfrm>
            <a:custGeom>
              <a:avLst/>
              <a:gdLst>
                <a:gd name="connsiteX0" fmla="*/ 100873 w 101805"/>
                <a:gd name="connsiteY0" fmla="*/ 33905 h 33904"/>
                <a:gd name="connsiteX1" fmla="*/ 86553 w 101805"/>
                <a:gd name="connsiteY1" fmla="*/ 26745 h 33904"/>
                <a:gd name="connsiteX2" fmla="*/ 71179 w 101805"/>
                <a:gd name="connsiteY2" fmla="*/ 18953 h 33904"/>
                <a:gd name="connsiteX3" fmla="*/ 46330 w 101805"/>
                <a:gd name="connsiteY3" fmla="*/ 9898 h 33904"/>
                <a:gd name="connsiteX4" fmla="*/ 17479 w 101805"/>
                <a:gd name="connsiteY4" fmla="*/ 1264 h 33904"/>
                <a:gd name="connsiteX5" fmla="*/ 10740 w 101805"/>
                <a:gd name="connsiteY5" fmla="*/ 842 h 33904"/>
                <a:gd name="connsiteX6" fmla="*/ 4844 w 101805"/>
                <a:gd name="connsiteY6" fmla="*/ 0 h 33904"/>
                <a:gd name="connsiteX7" fmla="*/ 0 w 101805"/>
                <a:gd name="connsiteY7" fmla="*/ 0 h 33904"/>
                <a:gd name="connsiteX8" fmla="*/ 2949 w 101805"/>
                <a:gd name="connsiteY8" fmla="*/ 3369 h 33904"/>
                <a:gd name="connsiteX9" fmla="*/ 11793 w 101805"/>
                <a:gd name="connsiteY9" fmla="*/ 7792 h 33904"/>
                <a:gd name="connsiteX10" fmla="*/ 26113 w 101805"/>
                <a:gd name="connsiteY10" fmla="*/ 12635 h 33904"/>
                <a:gd name="connsiteX11" fmla="*/ 32852 w 101805"/>
                <a:gd name="connsiteY11" fmla="*/ 14531 h 33904"/>
                <a:gd name="connsiteX12" fmla="*/ 47383 w 101805"/>
                <a:gd name="connsiteY12" fmla="*/ 19795 h 33904"/>
                <a:gd name="connsiteX13" fmla="*/ 60861 w 101805"/>
                <a:gd name="connsiteY13" fmla="*/ 25060 h 33904"/>
                <a:gd name="connsiteX14" fmla="*/ 71390 w 101805"/>
                <a:gd name="connsiteY14" fmla="*/ 26955 h 33904"/>
                <a:gd name="connsiteX15" fmla="*/ 90553 w 101805"/>
                <a:gd name="connsiteY15" fmla="*/ 33694 h 33904"/>
                <a:gd name="connsiteX16" fmla="*/ 100873 w 101805"/>
                <a:gd name="connsiteY16" fmla="*/ 33905 h 339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805" h="33904">
                  <a:moveTo>
                    <a:pt x="100873" y="33905"/>
                  </a:moveTo>
                  <a:cubicBezTo>
                    <a:pt x="104663" y="33905"/>
                    <a:pt x="91185" y="26745"/>
                    <a:pt x="86553" y="26745"/>
                  </a:cubicBezTo>
                  <a:cubicBezTo>
                    <a:pt x="91396" y="26745"/>
                    <a:pt x="77918" y="18953"/>
                    <a:pt x="71179" y="18953"/>
                  </a:cubicBezTo>
                  <a:cubicBezTo>
                    <a:pt x="64440" y="18953"/>
                    <a:pt x="52016" y="9898"/>
                    <a:pt x="46330" y="9898"/>
                  </a:cubicBezTo>
                  <a:cubicBezTo>
                    <a:pt x="27167" y="9898"/>
                    <a:pt x="21481" y="1264"/>
                    <a:pt x="17479" y="1264"/>
                  </a:cubicBezTo>
                  <a:cubicBezTo>
                    <a:pt x="21270" y="1264"/>
                    <a:pt x="11793" y="842"/>
                    <a:pt x="10740" y="842"/>
                  </a:cubicBezTo>
                  <a:cubicBezTo>
                    <a:pt x="12636" y="842"/>
                    <a:pt x="6950" y="0"/>
                    <a:pt x="4844" y="0"/>
                  </a:cubicBezTo>
                  <a:cubicBezTo>
                    <a:pt x="7792" y="0"/>
                    <a:pt x="1053" y="0"/>
                    <a:pt x="0" y="0"/>
                  </a:cubicBezTo>
                  <a:cubicBezTo>
                    <a:pt x="1053" y="0"/>
                    <a:pt x="6739" y="3369"/>
                    <a:pt x="2949" y="3369"/>
                  </a:cubicBezTo>
                  <a:cubicBezTo>
                    <a:pt x="6950" y="3369"/>
                    <a:pt x="15374" y="7792"/>
                    <a:pt x="11793" y="7792"/>
                  </a:cubicBezTo>
                  <a:cubicBezTo>
                    <a:pt x="15583" y="7792"/>
                    <a:pt x="29905" y="12635"/>
                    <a:pt x="26113" y="12635"/>
                  </a:cubicBezTo>
                  <a:cubicBezTo>
                    <a:pt x="30957" y="12635"/>
                    <a:pt x="33906" y="14531"/>
                    <a:pt x="32852" y="14531"/>
                  </a:cubicBezTo>
                  <a:cubicBezTo>
                    <a:pt x="33695" y="14531"/>
                    <a:pt x="53069" y="19795"/>
                    <a:pt x="47383" y="19795"/>
                  </a:cubicBezTo>
                  <a:cubicBezTo>
                    <a:pt x="53069" y="19795"/>
                    <a:pt x="64651" y="25060"/>
                    <a:pt x="60861" y="25060"/>
                  </a:cubicBezTo>
                  <a:cubicBezTo>
                    <a:pt x="64651" y="25060"/>
                    <a:pt x="65704" y="26955"/>
                    <a:pt x="71390" y="26955"/>
                  </a:cubicBezTo>
                  <a:cubicBezTo>
                    <a:pt x="79182" y="26955"/>
                    <a:pt x="94554" y="33694"/>
                    <a:pt x="90553" y="33694"/>
                  </a:cubicBezTo>
                  <a:cubicBezTo>
                    <a:pt x="96029" y="33484"/>
                    <a:pt x="104663" y="33905"/>
                    <a:pt x="100873" y="33905"/>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sp>
          <p:nvSpPr>
            <p:cNvPr id="208" name="Forme libre : forme 192">
              <a:extLst>
                <a:ext uri="{FF2B5EF4-FFF2-40B4-BE49-F238E27FC236}">
                  <a16:creationId xmlns:a16="http://schemas.microsoft.com/office/drawing/2014/main" id="{3564FF80-7F5F-4A9B-9621-891FA7779809}"/>
                </a:ext>
              </a:extLst>
            </p:cNvPr>
            <p:cNvSpPr/>
            <p:nvPr/>
          </p:nvSpPr>
          <p:spPr>
            <a:xfrm>
              <a:off x="11322611" y="2698665"/>
              <a:ext cx="81197" cy="37484"/>
            </a:xfrm>
            <a:custGeom>
              <a:avLst/>
              <a:gdLst>
                <a:gd name="connsiteX0" fmla="*/ 37275 w 81197"/>
                <a:gd name="connsiteY0" fmla="*/ 13899 h 37484"/>
                <a:gd name="connsiteX1" fmla="*/ 16216 w 81197"/>
                <a:gd name="connsiteY1" fmla="*/ 7160 h 37484"/>
                <a:gd name="connsiteX2" fmla="*/ 0 w 81197"/>
                <a:gd name="connsiteY2" fmla="*/ 0 h 37484"/>
                <a:gd name="connsiteX3" fmla="*/ 5686 w 81197"/>
                <a:gd name="connsiteY3" fmla="*/ 6739 h 37484"/>
                <a:gd name="connsiteX4" fmla="*/ 26745 w 81197"/>
                <a:gd name="connsiteY4" fmla="*/ 14952 h 37484"/>
                <a:gd name="connsiteX5" fmla="*/ 49910 w 81197"/>
                <a:gd name="connsiteY5" fmla="*/ 25902 h 37484"/>
                <a:gd name="connsiteX6" fmla="*/ 67178 w 81197"/>
                <a:gd name="connsiteY6" fmla="*/ 32641 h 37484"/>
                <a:gd name="connsiteX7" fmla="*/ 80656 w 81197"/>
                <a:gd name="connsiteY7" fmla="*/ 37485 h 37484"/>
                <a:gd name="connsiteX8" fmla="*/ 66125 w 81197"/>
                <a:gd name="connsiteY8" fmla="*/ 28851 h 37484"/>
                <a:gd name="connsiteX9" fmla="*/ 37275 w 81197"/>
                <a:gd name="connsiteY9" fmla="*/ 13899 h 37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197" h="37484">
                  <a:moveTo>
                    <a:pt x="37275" y="13899"/>
                  </a:moveTo>
                  <a:cubicBezTo>
                    <a:pt x="42118" y="13899"/>
                    <a:pt x="20006" y="7160"/>
                    <a:pt x="16216" y="7160"/>
                  </a:cubicBezTo>
                  <a:cubicBezTo>
                    <a:pt x="21059" y="7160"/>
                    <a:pt x="1896" y="0"/>
                    <a:pt x="0" y="0"/>
                  </a:cubicBezTo>
                  <a:cubicBezTo>
                    <a:pt x="2949" y="0"/>
                    <a:pt x="-1053" y="6739"/>
                    <a:pt x="5686" y="6739"/>
                  </a:cubicBezTo>
                  <a:cubicBezTo>
                    <a:pt x="13478" y="6739"/>
                    <a:pt x="12425" y="14952"/>
                    <a:pt x="26745" y="14952"/>
                  </a:cubicBezTo>
                  <a:cubicBezTo>
                    <a:pt x="40222" y="14952"/>
                    <a:pt x="57490" y="25902"/>
                    <a:pt x="49910" y="25902"/>
                  </a:cubicBezTo>
                  <a:cubicBezTo>
                    <a:pt x="58543" y="25902"/>
                    <a:pt x="59597" y="32641"/>
                    <a:pt x="67178" y="32641"/>
                  </a:cubicBezTo>
                  <a:cubicBezTo>
                    <a:pt x="74759" y="32641"/>
                    <a:pt x="82551" y="37485"/>
                    <a:pt x="80656" y="37485"/>
                  </a:cubicBezTo>
                  <a:cubicBezTo>
                    <a:pt x="83603" y="37485"/>
                    <a:pt x="73917" y="28851"/>
                    <a:pt x="66125" y="28851"/>
                  </a:cubicBezTo>
                  <a:cubicBezTo>
                    <a:pt x="58334" y="28851"/>
                    <a:pt x="46750" y="13899"/>
                    <a:pt x="37275" y="13899"/>
                  </a:cubicBezTo>
                  <a:close/>
                </a:path>
              </a:pathLst>
            </a:custGeom>
            <a:grpFill/>
            <a:ln w="21048" cap="flat">
              <a:noFill/>
              <a:prstDash val="solid"/>
              <a:miter/>
            </a:ln>
          </p:spPr>
          <p:txBody>
            <a:bodyPr rtlCol="0" anchor="ctr"/>
            <a:lstStyle/>
            <a:p>
              <a:pPr marL="0" marR="0" lvl="0" indent="0" algn="l" defTabSz="685800" rtl="0" eaLnBrk="1" fontAlgn="auto" latinLnBrk="0" hangingPunct="0">
                <a:lnSpc>
                  <a:spcPct val="100000"/>
                </a:lnSpc>
                <a:spcBef>
                  <a:spcPts val="600"/>
                </a:spcBef>
                <a:spcAft>
                  <a:spcPts val="0"/>
                </a:spcAft>
                <a:buClrTx/>
                <a:buSzTx/>
                <a:buFontTx/>
                <a:buNone/>
                <a:tabLst/>
                <a:defRPr/>
              </a:pPr>
              <a:endParaRPr kumimoji="0" lang="fr-FR" sz="1300" b="0" i="0" u="none" strike="noStrike" kern="0" cap="none" spc="0" normalizeH="0" baseline="0" noProof="0">
                <a:ln>
                  <a:noFill/>
                </a:ln>
                <a:solidFill>
                  <a:srgbClr val="FFFFFF"/>
                </a:solidFill>
                <a:effectLst/>
                <a:uLnTx/>
                <a:uFillTx/>
                <a:latin typeface="Arial"/>
                <a:ea typeface="+mn-ea"/>
                <a:cs typeface="+mn-cs"/>
                <a:sym typeface="Arial"/>
              </a:endParaRPr>
            </a:p>
          </p:txBody>
        </p:sp>
      </p:grpSp>
      <p:sp>
        <p:nvSpPr>
          <p:cNvPr id="32" name="Title 31"/>
          <p:cNvSpPr>
            <a:spLocks noGrp="1"/>
          </p:cNvSpPr>
          <p:nvPr>
            <p:ph type="title"/>
          </p:nvPr>
        </p:nvSpPr>
        <p:spPr>
          <a:xfrm>
            <a:off x="741529" y="440971"/>
            <a:ext cx="10942471" cy="757130"/>
          </a:xfrm>
        </p:spPr>
        <p:txBody>
          <a:bodyPr/>
          <a:lstStyle/>
          <a:p>
            <a:pPr defTabSz="914377">
              <a:defRPr/>
            </a:pPr>
            <a:r>
              <a:rPr lang="sl-SI" sz="2400" dirty="0">
                <a:solidFill>
                  <a:srgbClr val="03365F"/>
                </a:solidFill>
              </a:rPr>
              <a:t>NAŠA KLJUČNA ODLIKA: </a:t>
            </a:r>
            <a:br>
              <a:rPr lang="sl-SI" sz="2400" dirty="0">
                <a:solidFill>
                  <a:srgbClr val="03365F"/>
                </a:solidFill>
              </a:rPr>
            </a:br>
            <a:r>
              <a:rPr lang="sl-SI" sz="2400" dirty="0">
                <a:solidFill>
                  <a:srgbClr val="03365F"/>
                </a:solidFill>
              </a:rPr>
              <a:t>OCENJEVANJE INFORMACIJ (po vsem svetu)</a:t>
            </a:r>
          </a:p>
        </p:txBody>
      </p:sp>
      <p:sp>
        <p:nvSpPr>
          <p:cNvPr id="2" name="Slide Number Placeholder 1"/>
          <p:cNvSpPr>
            <a:spLocks noGrp="1"/>
          </p:cNvSpPr>
          <p:nvPr>
            <p:ph type="sldNum" sz="quarter" idx="4294967295"/>
          </p:nvPr>
        </p:nvSpPr>
        <p:spPr>
          <a:xfrm>
            <a:off x="11863388" y="6432550"/>
            <a:ext cx="328612" cy="307975"/>
          </a:xfrm>
          <a:prstGeom prst="rect">
            <a:avLst/>
          </a:prstGeom>
        </p:spPr>
        <p:txBody>
          <a:bodyPr/>
          <a:lstStyle/>
          <a:p>
            <a:pPr marL="0" marR="0" lvl="0" indent="0" algn="l" defTabSz="685800" rtl="0" eaLnBrk="1" fontAlgn="auto" latinLnBrk="0" hangingPunct="0">
              <a:lnSpc>
                <a:spcPct val="100000"/>
              </a:lnSpc>
              <a:spcBef>
                <a:spcPts val="600"/>
              </a:spcBef>
              <a:spcAft>
                <a:spcPts val="0"/>
              </a:spcAft>
              <a:buClrTx/>
              <a:buSzTx/>
              <a:buFontTx/>
              <a:buNone/>
              <a:tabLst/>
              <a:defRPr/>
            </a:pPr>
            <a:fld id="{86CB4B4D-7CA3-9044-876B-883B54F8677D}" type="slidenum">
              <a:rPr kumimoji="0" lang="en-GB" sz="1300" b="0" i="0" u="none" strike="noStrike" kern="0" cap="none" spc="0" normalizeH="0" baseline="0" noProof="0" smtClean="0">
                <a:ln>
                  <a:noFill/>
                </a:ln>
                <a:solidFill>
                  <a:srgbClr val="FFFFFF"/>
                </a:solidFill>
                <a:effectLst/>
                <a:uLnTx/>
                <a:uFillTx/>
                <a:latin typeface="Arial"/>
                <a:ea typeface="+mn-ea"/>
                <a:cs typeface="+mn-cs"/>
                <a:sym typeface="Arial"/>
              </a:rPr>
              <a:pPr marL="0" marR="0" lvl="0" indent="0" algn="l" defTabSz="685800" rtl="0" eaLnBrk="1" fontAlgn="auto" latinLnBrk="0" hangingPunct="0">
                <a:lnSpc>
                  <a:spcPct val="100000"/>
                </a:lnSpc>
                <a:spcBef>
                  <a:spcPts val="600"/>
                </a:spcBef>
                <a:spcAft>
                  <a:spcPts val="0"/>
                </a:spcAft>
                <a:buClrTx/>
                <a:buSzTx/>
                <a:buFontTx/>
                <a:buNone/>
                <a:tabLst/>
                <a:defRPr/>
              </a:pPr>
              <a:t>14</a:t>
            </a:fld>
            <a:endParaRPr kumimoji="0" lang="en-GB" sz="1300" b="0" i="0" u="none" strike="noStrike" kern="0" cap="none" spc="0" normalizeH="0" baseline="0" noProof="0">
              <a:ln>
                <a:noFill/>
              </a:ln>
              <a:solidFill>
                <a:srgbClr val="FFFFFF"/>
              </a:solidFill>
              <a:effectLst/>
              <a:uLnTx/>
              <a:uFillTx/>
              <a:latin typeface="Arial"/>
              <a:ea typeface="+mn-ea"/>
              <a:cs typeface="+mn-cs"/>
              <a:sym typeface="Arial"/>
            </a:endParaRPr>
          </a:p>
        </p:txBody>
      </p:sp>
      <p:grpSp>
        <p:nvGrpSpPr>
          <p:cNvPr id="209" name="Gruppieren 80"/>
          <p:cNvGrpSpPr/>
          <p:nvPr/>
        </p:nvGrpSpPr>
        <p:grpSpPr bwMode="gray">
          <a:xfrm>
            <a:off x="664261" y="1451648"/>
            <a:ext cx="10704587" cy="5301170"/>
            <a:chOff x="504000" y="1544302"/>
            <a:chExt cx="8133588" cy="4319249"/>
          </a:xfrm>
        </p:grpSpPr>
        <p:sp>
          <p:nvSpPr>
            <p:cNvPr id="210" name="Line 60"/>
            <p:cNvSpPr>
              <a:spLocks noChangeShapeType="1"/>
            </p:cNvSpPr>
            <p:nvPr/>
          </p:nvSpPr>
          <p:spPr bwMode="gray">
            <a:xfrm>
              <a:off x="4572000" y="3606385"/>
              <a:ext cx="0" cy="1224696"/>
            </a:xfrm>
            <a:prstGeom prst="line">
              <a:avLst/>
            </a:prstGeom>
            <a:noFill/>
            <a:ln w="38100">
              <a:solidFill>
                <a:srgbClr val="E06E2B"/>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1" name="Line 31"/>
            <p:cNvSpPr>
              <a:spLocks noChangeAspect="1" noChangeShapeType="1"/>
            </p:cNvSpPr>
            <p:nvPr/>
          </p:nvSpPr>
          <p:spPr bwMode="gray">
            <a:xfrm flipH="1" flipV="1">
              <a:off x="3398838" y="2181222"/>
              <a:ext cx="1150937" cy="1165225"/>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2" name="Line 32"/>
            <p:cNvSpPr>
              <a:spLocks noChangeAspect="1" noChangeShapeType="1"/>
            </p:cNvSpPr>
            <p:nvPr/>
          </p:nvSpPr>
          <p:spPr bwMode="gray">
            <a:xfrm flipV="1">
              <a:off x="4576763" y="2179634"/>
              <a:ext cx="0" cy="922750"/>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3" name="Line 33"/>
            <p:cNvSpPr>
              <a:spLocks noChangeAspect="1" noChangeShapeType="1"/>
            </p:cNvSpPr>
            <p:nvPr/>
          </p:nvSpPr>
          <p:spPr bwMode="gray">
            <a:xfrm flipV="1">
              <a:off x="3567906" y="3346447"/>
              <a:ext cx="978694" cy="1000294"/>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4" name="Line 34"/>
            <p:cNvSpPr>
              <a:spLocks noChangeAspect="1" noChangeShapeType="1"/>
            </p:cNvSpPr>
            <p:nvPr/>
          </p:nvSpPr>
          <p:spPr bwMode="gray">
            <a:xfrm>
              <a:off x="2579688" y="2674935"/>
              <a:ext cx="1976437" cy="663575"/>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5" name="Line 35"/>
            <p:cNvSpPr>
              <a:spLocks noChangeAspect="1" noChangeShapeType="1"/>
            </p:cNvSpPr>
            <p:nvPr/>
          </p:nvSpPr>
          <p:spPr bwMode="gray">
            <a:xfrm>
              <a:off x="2579689" y="3338510"/>
              <a:ext cx="3922712" cy="0"/>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6" name="Line 36"/>
            <p:cNvSpPr>
              <a:spLocks noChangeAspect="1" noChangeShapeType="1"/>
            </p:cNvSpPr>
            <p:nvPr/>
          </p:nvSpPr>
          <p:spPr bwMode="gray">
            <a:xfrm flipH="1">
              <a:off x="4554538" y="2179635"/>
              <a:ext cx="1135062" cy="1152525"/>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7" name="Line 37"/>
            <p:cNvSpPr>
              <a:spLocks noChangeAspect="1" noChangeShapeType="1"/>
            </p:cNvSpPr>
            <p:nvPr/>
          </p:nvSpPr>
          <p:spPr bwMode="gray">
            <a:xfrm flipH="1">
              <a:off x="4548188" y="2673347"/>
              <a:ext cx="1954212" cy="669925"/>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8" name="Line 38"/>
            <p:cNvSpPr>
              <a:spLocks noChangeAspect="1" noChangeShapeType="1"/>
            </p:cNvSpPr>
            <p:nvPr/>
          </p:nvSpPr>
          <p:spPr bwMode="gray">
            <a:xfrm>
              <a:off x="4565650" y="3344860"/>
              <a:ext cx="1928813" cy="687387"/>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19" name="Line 39"/>
            <p:cNvSpPr>
              <a:spLocks noChangeAspect="1" noChangeShapeType="1"/>
            </p:cNvSpPr>
            <p:nvPr/>
          </p:nvSpPr>
          <p:spPr bwMode="gray">
            <a:xfrm>
              <a:off x="4554539" y="3340097"/>
              <a:ext cx="975518" cy="1002579"/>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20" name="Line 40"/>
            <p:cNvSpPr>
              <a:spLocks noChangeAspect="1" noChangeShapeType="1"/>
            </p:cNvSpPr>
            <p:nvPr/>
          </p:nvSpPr>
          <p:spPr bwMode="gray">
            <a:xfrm flipH="1">
              <a:off x="2597150" y="3336922"/>
              <a:ext cx="1960563" cy="690563"/>
            </a:xfrm>
            <a:prstGeom prst="line">
              <a:avLst/>
            </a:prstGeom>
            <a:noFill/>
            <a:ln w="15875">
              <a:solidFill>
                <a:srgbClr val="E06E2B"/>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nchor="ct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133" b="0" i="0" u="none" strike="noStrike" kern="0" cap="none" spc="0" normalizeH="0" baseline="0" noProof="0" dirty="0">
                <a:ln>
                  <a:noFill/>
                </a:ln>
                <a:solidFill>
                  <a:prstClr val="black"/>
                </a:solidFill>
                <a:effectLst/>
                <a:uLnTx/>
                <a:uFillTx/>
                <a:latin typeface="Arial"/>
                <a:ea typeface="+mn-ea"/>
                <a:cs typeface="+mn-cs"/>
                <a:sym typeface="Arial"/>
              </a:endParaRPr>
            </a:p>
          </p:txBody>
        </p:sp>
        <p:sp>
          <p:nvSpPr>
            <p:cNvPr id="221" name="Oval 51"/>
            <p:cNvSpPr>
              <a:spLocks noChangeArrowheads="1"/>
            </p:cNvSpPr>
            <p:nvPr/>
          </p:nvSpPr>
          <p:spPr bwMode="gray">
            <a:xfrm>
              <a:off x="504000" y="3136311"/>
              <a:ext cx="1944000" cy="504000"/>
            </a:xfrm>
            <a:prstGeom prst="rect">
              <a:avLst/>
            </a:prstGeom>
            <a:solidFill>
              <a:sysClr val="window" lastClr="FFFFFF">
                <a:lumMod val="95000"/>
              </a:sysClr>
            </a:solidFill>
            <a:ln w="38100">
              <a:noFill/>
              <a:round/>
              <a:headEnd/>
              <a:tailEnd/>
            </a:ln>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KREDITNE INFORMACIJE</a:t>
              </a:r>
            </a:p>
          </p:txBody>
        </p:sp>
        <p:sp>
          <p:nvSpPr>
            <p:cNvPr id="222" name="Oval 45"/>
            <p:cNvSpPr>
              <a:spLocks noChangeArrowheads="1"/>
            </p:cNvSpPr>
            <p:nvPr/>
          </p:nvSpPr>
          <p:spPr bwMode="gray">
            <a:xfrm>
              <a:off x="6693588" y="3136311"/>
              <a:ext cx="1944000" cy="504000"/>
            </a:xfrm>
            <a:prstGeom prst="rect">
              <a:avLst/>
            </a:prstGeom>
            <a:solidFill>
              <a:srgbClr val="DDDDDD"/>
            </a:solidFill>
            <a:ln w="38100">
              <a:noFill/>
              <a:round/>
              <a:headEnd/>
              <a:tailEnd/>
            </a:ln>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1" i="0" u="none" strike="noStrike" kern="0" cap="none" spc="0" normalizeH="0" baseline="0" noProof="0" dirty="0">
                  <a:ln>
                    <a:noFill/>
                  </a:ln>
                  <a:solidFill>
                    <a:srgbClr val="03365F"/>
                  </a:solidFill>
                  <a:effectLst/>
                  <a:uLnTx/>
                  <a:uFillTx/>
                  <a:latin typeface="Arial"/>
                  <a:ea typeface="+mn-ea"/>
                  <a:cs typeface="+mn-cs"/>
                  <a:sym typeface="Arial"/>
                </a:rPr>
                <a:t>DOBAVITELJI OBVESTIJO COFACE O SLABIH TERJATVAH</a:t>
              </a:r>
            </a:p>
          </p:txBody>
        </p:sp>
        <p:sp>
          <p:nvSpPr>
            <p:cNvPr id="223" name="Oval 42"/>
            <p:cNvSpPr>
              <a:spLocks noChangeArrowheads="1"/>
            </p:cNvSpPr>
            <p:nvPr/>
          </p:nvSpPr>
          <p:spPr bwMode="gray">
            <a:xfrm>
              <a:off x="1149032" y="1544302"/>
              <a:ext cx="1944000" cy="504000"/>
            </a:xfrm>
            <a:prstGeom prst="rect">
              <a:avLst/>
            </a:prstGeom>
            <a:solidFill>
              <a:sysClr val="window" lastClr="FFFFFF">
                <a:lumMod val="95000"/>
              </a:sysClr>
            </a:solidFill>
            <a:ln w="38100">
              <a:noFill/>
              <a:round/>
              <a:headEnd/>
              <a:tailEnd/>
            </a:ln>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SEKTORSKA ANALIZA</a:t>
              </a:r>
            </a:p>
          </p:txBody>
        </p:sp>
        <p:sp>
          <p:nvSpPr>
            <p:cNvPr id="224" name="Oval 43"/>
            <p:cNvSpPr>
              <a:spLocks noChangeArrowheads="1"/>
            </p:cNvSpPr>
            <p:nvPr/>
          </p:nvSpPr>
          <p:spPr bwMode="gray">
            <a:xfrm>
              <a:off x="5919152" y="1544302"/>
              <a:ext cx="1944000" cy="504000"/>
            </a:xfrm>
            <a:prstGeom prst="rect">
              <a:avLst/>
            </a:prstGeom>
            <a:solidFill>
              <a:sysClr val="window" lastClr="FFFFFF">
                <a:lumMod val="95000"/>
              </a:sysClr>
            </a:solidFill>
            <a:ln w="38100">
              <a:noFill/>
              <a:round/>
              <a:headEnd/>
              <a:tailEnd/>
            </a:ln>
            <a:effectLst/>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PARTNERSKA’ MREŽA</a:t>
              </a:r>
            </a:p>
          </p:txBody>
        </p:sp>
        <p:sp>
          <p:nvSpPr>
            <p:cNvPr id="225" name="Oval 44"/>
            <p:cNvSpPr>
              <a:spLocks noChangeArrowheads="1"/>
            </p:cNvSpPr>
            <p:nvPr/>
          </p:nvSpPr>
          <p:spPr bwMode="gray">
            <a:xfrm>
              <a:off x="6693588" y="2340306"/>
              <a:ext cx="1944000" cy="504000"/>
            </a:xfrm>
            <a:prstGeom prst="rect">
              <a:avLst/>
            </a:prstGeom>
            <a:solidFill>
              <a:sysClr val="window" lastClr="FFFFFF">
                <a:lumMod val="95000"/>
              </a:sysClr>
            </a:solidFill>
            <a:ln w="38100">
              <a:noFill/>
              <a:round/>
              <a:headEnd/>
              <a:tailEnd/>
            </a:ln>
            <a:effectLst/>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200" b="0" i="0" u="none" strike="noStrike" kern="0" cap="none" spc="0" normalizeH="0" baseline="0" noProof="0" dirty="0">
                  <a:ln>
                    <a:noFill/>
                  </a:ln>
                  <a:solidFill>
                    <a:srgbClr val="03365F"/>
                  </a:solidFill>
                  <a:effectLst/>
                  <a:uLnTx/>
                  <a:uFillTx/>
                  <a:latin typeface="Arial"/>
                  <a:ea typeface="+mn-ea"/>
                  <a:cs typeface="+mn-cs"/>
                  <a:sym typeface="Arial"/>
                </a:rPr>
                <a:t>POSLOVNE INFORMACIJE,</a:t>
              </a:r>
            </a:p>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200" b="0" i="0" u="none" strike="noStrike" kern="0" cap="none" spc="0" normalizeH="0" baseline="0" noProof="0" dirty="0">
                  <a:ln>
                    <a:noFill/>
                  </a:ln>
                  <a:solidFill>
                    <a:srgbClr val="03365F"/>
                  </a:solidFill>
                  <a:effectLst/>
                  <a:uLnTx/>
                  <a:uFillTx/>
                  <a:latin typeface="Arial"/>
                  <a:ea typeface="+mn-ea"/>
                  <a:cs typeface="+mn-cs"/>
                  <a:sym typeface="Arial"/>
                </a:rPr>
                <a:t>SAMODEJNA ANALIZA BILANC</a:t>
              </a:r>
            </a:p>
          </p:txBody>
        </p:sp>
        <p:sp>
          <p:nvSpPr>
            <p:cNvPr id="226" name="Oval 46"/>
            <p:cNvSpPr>
              <a:spLocks noChangeArrowheads="1"/>
            </p:cNvSpPr>
            <p:nvPr/>
          </p:nvSpPr>
          <p:spPr bwMode="gray">
            <a:xfrm>
              <a:off x="6693588" y="3910598"/>
              <a:ext cx="1944000" cy="504000"/>
            </a:xfrm>
            <a:prstGeom prst="rect">
              <a:avLst/>
            </a:prstGeom>
            <a:solidFill>
              <a:sysClr val="window" lastClr="FFFFFF">
                <a:lumMod val="95000"/>
              </a:sysClr>
            </a:solidFill>
            <a:ln w="38100">
              <a:noFill/>
              <a:round/>
              <a:headEnd/>
              <a:tailEnd/>
            </a:ln>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KONKURENTI/PRIMERJAVA</a:t>
              </a:r>
            </a:p>
          </p:txBody>
        </p:sp>
        <p:sp>
          <p:nvSpPr>
            <p:cNvPr id="227" name="Oval 47"/>
            <p:cNvSpPr>
              <a:spLocks noChangeArrowheads="1"/>
            </p:cNvSpPr>
            <p:nvPr/>
          </p:nvSpPr>
          <p:spPr bwMode="gray">
            <a:xfrm>
              <a:off x="5294312" y="4736641"/>
              <a:ext cx="1944000" cy="504000"/>
            </a:xfrm>
            <a:prstGeom prst="rect">
              <a:avLst/>
            </a:prstGeom>
            <a:solidFill>
              <a:sysClr val="window" lastClr="FFFFFF">
                <a:lumMod val="95000"/>
              </a:sysClr>
            </a:solidFill>
            <a:ln w="38100">
              <a:noFill/>
              <a:round/>
              <a:headEnd/>
              <a:tailEnd/>
            </a:ln>
            <a:effectLst/>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INFORMATIVNI</a:t>
              </a:r>
              <a:b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b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RAZGOVORI V PODJETJU</a:t>
              </a:r>
            </a:p>
          </p:txBody>
        </p:sp>
        <p:sp>
          <p:nvSpPr>
            <p:cNvPr id="228" name="Oval 49"/>
            <p:cNvSpPr>
              <a:spLocks noChangeArrowheads="1"/>
            </p:cNvSpPr>
            <p:nvPr/>
          </p:nvSpPr>
          <p:spPr bwMode="gray">
            <a:xfrm>
              <a:off x="1908650" y="4716096"/>
              <a:ext cx="1944000" cy="504000"/>
            </a:xfrm>
            <a:prstGeom prst="rect">
              <a:avLst/>
            </a:prstGeom>
            <a:solidFill>
              <a:sysClr val="window" lastClr="FFFFFF">
                <a:lumMod val="95000"/>
              </a:sysClr>
            </a:solidFill>
            <a:ln w="38100">
              <a:noFill/>
              <a:round/>
              <a:headEnd/>
              <a:tailEnd/>
            </a:ln>
            <a:effectLst/>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ANALIZA PODJETJA</a:t>
              </a:r>
            </a:p>
          </p:txBody>
        </p:sp>
        <p:sp>
          <p:nvSpPr>
            <p:cNvPr id="229" name="Oval 50"/>
            <p:cNvSpPr>
              <a:spLocks noChangeArrowheads="1"/>
            </p:cNvSpPr>
            <p:nvPr/>
          </p:nvSpPr>
          <p:spPr bwMode="gray">
            <a:xfrm>
              <a:off x="504000" y="3910598"/>
              <a:ext cx="1944000" cy="504000"/>
            </a:xfrm>
            <a:prstGeom prst="rect">
              <a:avLst/>
            </a:prstGeom>
            <a:solidFill>
              <a:sysClr val="window" lastClr="FFFFFF">
                <a:lumMod val="95000"/>
              </a:sysClr>
            </a:solidFill>
            <a:ln w="38100">
              <a:noFill/>
              <a:round/>
              <a:headEnd/>
              <a:tailEnd/>
            </a:ln>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POROČILA O STANJU</a:t>
              </a:r>
            </a:p>
          </p:txBody>
        </p:sp>
        <p:sp>
          <p:nvSpPr>
            <p:cNvPr id="230" name="Oval 52"/>
            <p:cNvSpPr>
              <a:spLocks noChangeArrowheads="1"/>
            </p:cNvSpPr>
            <p:nvPr/>
          </p:nvSpPr>
          <p:spPr bwMode="gray">
            <a:xfrm>
              <a:off x="504000" y="2340306"/>
              <a:ext cx="1944000" cy="504000"/>
            </a:xfrm>
            <a:prstGeom prst="rect">
              <a:avLst/>
            </a:prstGeom>
            <a:solidFill>
              <a:sysClr val="window" lastClr="FFFFFF">
                <a:lumMod val="95000"/>
              </a:sysClr>
            </a:solidFill>
            <a:ln w="38100">
              <a:noFill/>
              <a:round/>
              <a:headEnd/>
              <a:tailEnd/>
            </a:ln>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TISKOVNE INFORMACIJE</a:t>
              </a:r>
            </a:p>
          </p:txBody>
        </p:sp>
        <p:sp>
          <p:nvSpPr>
            <p:cNvPr id="231" name="Oval 53"/>
            <p:cNvSpPr>
              <a:spLocks noChangeArrowheads="1"/>
            </p:cNvSpPr>
            <p:nvPr/>
          </p:nvSpPr>
          <p:spPr bwMode="gray">
            <a:xfrm>
              <a:off x="3567906" y="1548398"/>
              <a:ext cx="1944000" cy="504000"/>
            </a:xfrm>
            <a:prstGeom prst="rect">
              <a:avLst/>
            </a:prstGeom>
            <a:solidFill>
              <a:sysClr val="window" lastClr="FFFFFF">
                <a:lumMod val="95000"/>
              </a:sysClr>
            </a:solidFill>
            <a:ln w="38100">
              <a:noFill/>
              <a:round/>
              <a:headEnd/>
              <a:tailEnd/>
            </a:ln>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400" b="0" i="0" u="none" strike="noStrike" kern="0" cap="none" spc="0" normalizeH="0" baseline="0" noProof="0" dirty="0">
                  <a:ln>
                    <a:noFill/>
                  </a:ln>
                  <a:solidFill>
                    <a:srgbClr val="03365F"/>
                  </a:solidFill>
                  <a:effectLst/>
                  <a:uLnTx/>
                  <a:uFillTx/>
                  <a:latin typeface="Arial"/>
                  <a:ea typeface="+mn-ea"/>
                  <a:cs typeface="+mn-cs"/>
                  <a:sym typeface="Arial"/>
                </a:rPr>
                <a:t>EKONOMSKA ANALIZA</a:t>
              </a:r>
            </a:p>
          </p:txBody>
        </p:sp>
        <p:sp>
          <p:nvSpPr>
            <p:cNvPr id="232" name="Text Box 24"/>
            <p:cNvSpPr txBox="1">
              <a:spLocks noChangeArrowheads="1"/>
            </p:cNvSpPr>
            <p:nvPr/>
          </p:nvSpPr>
          <p:spPr bwMode="gray">
            <a:xfrm>
              <a:off x="3097418" y="5520887"/>
              <a:ext cx="3251121" cy="342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sl-SI" sz="2133" b="1" i="0" u="none" strike="noStrike" kern="0" cap="none" spc="0" normalizeH="0" baseline="0" noProof="0" dirty="0">
                  <a:ln>
                    <a:noFill/>
                  </a:ln>
                  <a:solidFill>
                    <a:srgbClr val="03365F"/>
                  </a:solidFill>
                  <a:effectLst/>
                  <a:uLnTx/>
                  <a:uFillTx/>
                  <a:latin typeface="Arial" charset="0"/>
                  <a:ea typeface="MS PGothic" pitchFamily="34" charset="-128"/>
                  <a:cs typeface="Arial" charset="0"/>
                  <a:sym typeface="Arial"/>
                </a:rPr>
                <a:t>Ocena tveganja dolžnika (</a:t>
              </a:r>
              <a:r>
                <a:rPr kumimoji="0" lang="sl-SI" sz="2133" b="1" i="0" u="none" strike="noStrike" kern="0" cap="none" spc="0" normalizeH="0" baseline="0" noProof="0">
                  <a:ln>
                    <a:noFill/>
                  </a:ln>
                  <a:solidFill>
                    <a:srgbClr val="03365F"/>
                  </a:solidFill>
                  <a:effectLst/>
                  <a:uLnTx/>
                  <a:uFillTx/>
                  <a:latin typeface="Arial" charset="0"/>
                  <a:ea typeface="MS PGothic" pitchFamily="34" charset="-128"/>
                  <a:cs typeface="Arial" charset="0"/>
                  <a:sym typeface="Arial"/>
                </a:rPr>
                <a:t>DRA</a:t>
              </a:r>
              <a:r>
                <a:rPr kumimoji="0" lang="sl-SI" sz="2133" b="1" i="0" u="none" strike="noStrike" kern="0" cap="none" spc="0" normalizeH="0" baseline="0" noProof="0" dirty="0">
                  <a:ln>
                    <a:noFill/>
                  </a:ln>
                  <a:solidFill>
                    <a:srgbClr val="03365F"/>
                  </a:solidFill>
                  <a:effectLst/>
                  <a:uLnTx/>
                  <a:uFillTx/>
                  <a:latin typeface="Arial" charset="0"/>
                  <a:ea typeface="MS PGothic" pitchFamily="34" charset="-128"/>
                  <a:cs typeface="Arial" charset="0"/>
                  <a:sym typeface="Arial"/>
                </a:rPr>
                <a:t>)</a:t>
              </a:r>
            </a:p>
          </p:txBody>
        </p:sp>
      </p:grpSp>
      <p:sp>
        <p:nvSpPr>
          <p:cNvPr id="233" name="Oval 41"/>
          <p:cNvSpPr>
            <a:spLocks noChangeArrowheads="1"/>
          </p:cNvSpPr>
          <p:nvPr/>
        </p:nvSpPr>
        <p:spPr bwMode="gray">
          <a:xfrm>
            <a:off x="4412111" y="2981224"/>
            <a:ext cx="3208887" cy="1051519"/>
          </a:xfrm>
          <a:prstGeom prst="rect">
            <a:avLst/>
          </a:prstGeom>
          <a:solidFill>
            <a:srgbClr val="6A7293"/>
          </a:solidFill>
          <a:ln w="63500">
            <a:noFill/>
            <a:round/>
            <a:headEnd/>
            <a:tailEnd/>
          </a:ln>
          <a:effectLst/>
        </p:spPr>
        <p:txBody>
          <a:bodyPr anchor="ctr"/>
          <a:lstStyle/>
          <a:p>
            <a:pPr marL="0" marR="0" lvl="0" indent="0" algn="ctr" defTabSz="1219170" rtl="0" eaLnBrk="1" fontAlgn="auto" latinLnBrk="0" hangingPunct="1">
              <a:lnSpc>
                <a:spcPct val="90000"/>
              </a:lnSpc>
              <a:spcBef>
                <a:spcPts val="0"/>
              </a:spcBef>
              <a:spcAft>
                <a:spcPts val="0"/>
              </a:spcAft>
              <a:buClrTx/>
              <a:buSzTx/>
              <a:buFontTx/>
              <a:buNone/>
              <a:tabLst/>
              <a:defRPr/>
            </a:pPr>
            <a:r>
              <a:rPr kumimoji="0" lang="sl-SI" sz="1600" b="0" i="0" u="none" strike="noStrike" kern="0" cap="none" spc="0" normalizeH="0" baseline="0" noProof="0" dirty="0">
                <a:ln>
                  <a:noFill/>
                </a:ln>
                <a:solidFill>
                  <a:prstClr val="white"/>
                </a:solidFill>
                <a:effectLst/>
                <a:uLnTx/>
                <a:uFillTx/>
                <a:latin typeface="Arial"/>
                <a:ea typeface="+mn-ea"/>
                <a:cs typeface="+mn-cs"/>
                <a:sym typeface="Arial"/>
              </a:rPr>
              <a:t>ZBIRANJE IN OBDELAVA INFORMACIJ V GLOBALNI PODATKOVNI ZBIRKI</a:t>
            </a:r>
          </a:p>
        </p:txBody>
      </p:sp>
      <p:sp>
        <p:nvSpPr>
          <p:cNvPr id="234" name="METRO ICON - traffic"/>
          <p:cNvSpPr>
            <a:spLocks noChangeAspect="1" noEditPoints="1"/>
          </p:cNvSpPr>
          <p:nvPr/>
        </p:nvSpPr>
        <p:spPr bwMode="gray">
          <a:xfrm>
            <a:off x="5711273" y="5652387"/>
            <a:ext cx="626273" cy="576064"/>
          </a:xfrm>
          <a:custGeom>
            <a:avLst/>
            <a:gdLst>
              <a:gd name="T0" fmla="*/ 166 w 333"/>
              <a:gd name="T1" fmla="*/ 187 h 306"/>
              <a:gd name="T2" fmla="*/ 242 w 333"/>
              <a:gd name="T3" fmla="*/ 155 h 306"/>
              <a:gd name="T4" fmla="*/ 223 w 333"/>
              <a:gd name="T5" fmla="*/ 102 h 306"/>
              <a:gd name="T6" fmla="*/ 166 w 333"/>
              <a:gd name="T7" fmla="*/ 124 h 306"/>
              <a:gd name="T8" fmla="*/ 109 w 333"/>
              <a:gd name="T9" fmla="*/ 102 h 306"/>
              <a:gd name="T10" fmla="*/ 90 w 333"/>
              <a:gd name="T11" fmla="*/ 155 h 306"/>
              <a:gd name="T12" fmla="*/ 166 w 333"/>
              <a:gd name="T13" fmla="*/ 187 h 306"/>
              <a:gd name="T14" fmla="*/ 166 w 333"/>
              <a:gd name="T15" fmla="*/ 74 h 306"/>
              <a:gd name="T16" fmla="*/ 208 w 333"/>
              <a:gd name="T17" fmla="*/ 59 h 306"/>
              <a:gd name="T18" fmla="*/ 191 w 333"/>
              <a:gd name="T19" fmla="*/ 11 h 306"/>
              <a:gd name="T20" fmla="*/ 166 w 333"/>
              <a:gd name="T21" fmla="*/ 0 h 306"/>
              <a:gd name="T22" fmla="*/ 142 w 333"/>
              <a:gd name="T23" fmla="*/ 11 h 306"/>
              <a:gd name="T24" fmla="*/ 125 w 333"/>
              <a:gd name="T25" fmla="*/ 59 h 306"/>
              <a:gd name="T26" fmla="*/ 166 w 333"/>
              <a:gd name="T27" fmla="*/ 74 h 306"/>
              <a:gd name="T28" fmla="*/ 314 w 333"/>
              <a:gd name="T29" fmla="*/ 204 h 306"/>
              <a:gd name="T30" fmla="*/ 251 w 333"/>
              <a:gd name="T31" fmla="*/ 178 h 306"/>
              <a:gd name="T32" fmla="*/ 258 w 333"/>
              <a:gd name="T33" fmla="*/ 198 h 306"/>
              <a:gd name="T34" fmla="*/ 166 w 333"/>
              <a:gd name="T35" fmla="*/ 237 h 306"/>
              <a:gd name="T36" fmla="*/ 74 w 333"/>
              <a:gd name="T37" fmla="*/ 198 h 306"/>
              <a:gd name="T38" fmla="*/ 82 w 333"/>
              <a:gd name="T39" fmla="*/ 178 h 306"/>
              <a:gd name="T40" fmla="*/ 18 w 333"/>
              <a:gd name="T41" fmla="*/ 204 h 306"/>
              <a:gd name="T42" fmla="*/ 17 w 333"/>
              <a:gd name="T43" fmla="*/ 233 h 306"/>
              <a:gd name="T44" fmla="*/ 136 w 333"/>
              <a:gd name="T45" fmla="*/ 297 h 306"/>
              <a:gd name="T46" fmla="*/ 197 w 333"/>
              <a:gd name="T47" fmla="*/ 297 h 306"/>
              <a:gd name="T48" fmla="*/ 316 w 333"/>
              <a:gd name="T49" fmla="*/ 233 h 306"/>
              <a:gd name="T50" fmla="*/ 314 w 333"/>
              <a:gd name="T51" fmla="*/ 204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3" h="306">
                <a:moveTo>
                  <a:pt x="166" y="187"/>
                </a:moveTo>
                <a:cubicBezTo>
                  <a:pt x="206" y="187"/>
                  <a:pt x="240" y="173"/>
                  <a:pt x="242" y="155"/>
                </a:cubicBezTo>
                <a:cubicBezTo>
                  <a:pt x="236" y="139"/>
                  <a:pt x="230" y="120"/>
                  <a:pt x="223" y="102"/>
                </a:cubicBezTo>
                <a:cubicBezTo>
                  <a:pt x="219" y="115"/>
                  <a:pt x="194" y="124"/>
                  <a:pt x="166" y="124"/>
                </a:cubicBezTo>
                <a:cubicBezTo>
                  <a:pt x="138" y="124"/>
                  <a:pt x="114" y="115"/>
                  <a:pt x="109" y="102"/>
                </a:cubicBezTo>
                <a:cubicBezTo>
                  <a:pt x="103" y="120"/>
                  <a:pt x="96" y="139"/>
                  <a:pt x="90" y="155"/>
                </a:cubicBezTo>
                <a:cubicBezTo>
                  <a:pt x="92" y="173"/>
                  <a:pt x="126" y="187"/>
                  <a:pt x="166" y="187"/>
                </a:cubicBezTo>
                <a:close/>
                <a:moveTo>
                  <a:pt x="166" y="74"/>
                </a:moveTo>
                <a:cubicBezTo>
                  <a:pt x="185" y="74"/>
                  <a:pt x="203" y="68"/>
                  <a:pt x="208" y="59"/>
                </a:cubicBezTo>
                <a:cubicBezTo>
                  <a:pt x="201" y="39"/>
                  <a:pt x="195" y="22"/>
                  <a:pt x="191" y="11"/>
                </a:cubicBezTo>
                <a:cubicBezTo>
                  <a:pt x="188" y="4"/>
                  <a:pt x="177" y="0"/>
                  <a:pt x="166" y="0"/>
                </a:cubicBezTo>
                <a:cubicBezTo>
                  <a:pt x="156" y="0"/>
                  <a:pt x="144" y="4"/>
                  <a:pt x="142" y="11"/>
                </a:cubicBezTo>
                <a:cubicBezTo>
                  <a:pt x="138" y="22"/>
                  <a:pt x="132" y="39"/>
                  <a:pt x="125" y="59"/>
                </a:cubicBezTo>
                <a:cubicBezTo>
                  <a:pt x="130" y="68"/>
                  <a:pt x="147" y="74"/>
                  <a:pt x="166" y="74"/>
                </a:cubicBezTo>
                <a:close/>
                <a:moveTo>
                  <a:pt x="314" y="204"/>
                </a:moveTo>
                <a:cubicBezTo>
                  <a:pt x="251" y="178"/>
                  <a:pt x="251" y="178"/>
                  <a:pt x="251" y="178"/>
                </a:cubicBezTo>
                <a:cubicBezTo>
                  <a:pt x="258" y="198"/>
                  <a:pt x="258" y="198"/>
                  <a:pt x="258" y="198"/>
                </a:cubicBezTo>
                <a:cubicBezTo>
                  <a:pt x="258" y="220"/>
                  <a:pt x="216" y="237"/>
                  <a:pt x="166" y="237"/>
                </a:cubicBezTo>
                <a:cubicBezTo>
                  <a:pt x="117" y="237"/>
                  <a:pt x="75" y="220"/>
                  <a:pt x="74" y="198"/>
                </a:cubicBezTo>
                <a:cubicBezTo>
                  <a:pt x="82" y="178"/>
                  <a:pt x="82" y="178"/>
                  <a:pt x="82" y="178"/>
                </a:cubicBezTo>
                <a:cubicBezTo>
                  <a:pt x="18" y="204"/>
                  <a:pt x="18" y="204"/>
                  <a:pt x="18" y="204"/>
                </a:cubicBezTo>
                <a:cubicBezTo>
                  <a:pt x="1" y="211"/>
                  <a:pt x="0" y="224"/>
                  <a:pt x="17" y="233"/>
                </a:cubicBezTo>
                <a:cubicBezTo>
                  <a:pt x="136" y="297"/>
                  <a:pt x="136" y="297"/>
                  <a:pt x="136" y="297"/>
                </a:cubicBezTo>
                <a:cubicBezTo>
                  <a:pt x="152" y="306"/>
                  <a:pt x="180" y="306"/>
                  <a:pt x="197" y="297"/>
                </a:cubicBezTo>
                <a:cubicBezTo>
                  <a:pt x="316" y="233"/>
                  <a:pt x="316" y="233"/>
                  <a:pt x="316" y="233"/>
                </a:cubicBezTo>
                <a:cubicBezTo>
                  <a:pt x="333" y="224"/>
                  <a:pt x="332" y="211"/>
                  <a:pt x="314" y="204"/>
                </a:cubicBezTo>
                <a:close/>
              </a:path>
            </a:pathLst>
          </a:custGeom>
          <a:solidFill>
            <a:srgbClr val="03365F"/>
          </a:solidFill>
          <a:ln>
            <a:noFill/>
          </a:ln>
        </p:spPr>
        <p:txBody>
          <a:bodyPr vert="horz" wrap="square" lIns="121920" tIns="60960" rIns="121920" bIns="60960" numCol="1" anchor="t" anchorCtr="0" compatLnSpc="1">
            <a:prstTxWarp prst="textNoShape">
              <a:avLst/>
            </a:prstTxWarp>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Arial"/>
              <a:ea typeface="+mn-ea"/>
              <a:cs typeface="+mn-cs"/>
              <a:sym typeface="Arial"/>
            </a:endParaRPr>
          </a:p>
        </p:txBody>
      </p:sp>
    </p:spTree>
    <p:extLst>
      <p:ext uri="{BB962C8B-B14F-4D97-AF65-F5344CB8AC3E}">
        <p14:creationId xmlns:p14="http://schemas.microsoft.com/office/powerpoint/2010/main" val="231105619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a:blip r:embed="rId3"/>
          <a:stretch>
            <a:fillRect/>
          </a:stretch>
        </p:blipFill>
        <p:spPr>
          <a:xfrm>
            <a:off x="7799059" y="1115864"/>
            <a:ext cx="3783536" cy="4498831"/>
          </a:xfrm>
          <a:prstGeom prst="rect">
            <a:avLst/>
          </a:prstGeom>
          <a:ln>
            <a:noFill/>
          </a:ln>
          <a:effectLst>
            <a:outerShdw blurRad="292100" dist="139700" dir="2700000" algn="tl" rotWithShape="0">
              <a:srgbClr val="333333">
                <a:alpha val="65000"/>
              </a:srgbClr>
            </a:outerShdw>
          </a:effectLst>
        </p:spPr>
      </p:pic>
      <p:sp>
        <p:nvSpPr>
          <p:cNvPr id="263" name="Shape"/>
          <p:cNvSpPr/>
          <p:nvPr/>
        </p:nvSpPr>
        <p:spPr>
          <a:xfrm>
            <a:off x="7876419" y="440971"/>
            <a:ext cx="3706176" cy="507014"/>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 y="0"/>
                </a:lnTo>
                <a:lnTo>
                  <a:pt x="21600" y="0"/>
                </a:lnTo>
                <a:lnTo>
                  <a:pt x="21593" y="21600"/>
                </a:lnTo>
                <a:lnTo>
                  <a:pt x="0" y="21600"/>
                </a:lnTo>
                <a:close/>
              </a:path>
            </a:pathLst>
          </a:custGeom>
          <a:solidFill>
            <a:srgbClr val="1D3561"/>
          </a:solidFill>
          <a:ln w="12700">
            <a:miter lim="400000"/>
          </a:ln>
        </p:spPr>
        <p:txBody>
          <a:bodyPr lIns="45718" tIns="45718" rIns="45718" bIns="45718" anchor="ctr"/>
          <a:lstStyle/>
          <a:p>
            <a:pPr marL="0" marR="0" lvl="0" indent="0" algn="ctr" defTabSz="914400" rtl="0" eaLnBrk="1" fontAlgn="auto" latinLnBrk="0" hangingPunct="0">
              <a:lnSpc>
                <a:spcPct val="100000"/>
              </a:lnSpc>
              <a:spcBef>
                <a:spcPts val="0"/>
              </a:spcBef>
              <a:spcAft>
                <a:spcPts val="0"/>
              </a:spcAft>
              <a:buClrTx/>
              <a:buSzTx/>
              <a:buFontTx/>
              <a:buNone/>
              <a:tabLst/>
              <a:defRPr sz="1400">
                <a:latin typeface="PFBeauSansPro-Regular"/>
                <a:ea typeface="PFBeauSansPro-Regular"/>
                <a:cs typeface="PFBeauSansPro-Regular"/>
                <a:sym typeface="PFBeauSansPro-Regular"/>
              </a:defRPr>
            </a:pPr>
            <a:endParaRPr kumimoji="0" sz="1400" b="0" i="0" u="none" strike="noStrike" kern="0" cap="none" spc="0" normalizeH="0" baseline="0" noProof="0">
              <a:ln>
                <a:noFill/>
              </a:ln>
              <a:solidFill>
                <a:srgbClr val="FFFFFF"/>
              </a:solidFill>
              <a:effectLst/>
              <a:uLnTx/>
              <a:uFillTx/>
              <a:latin typeface="PFBeauSansPro-Regular"/>
              <a:sym typeface="PFBeauSansPro-Regular"/>
            </a:endParaRPr>
          </a:p>
        </p:txBody>
      </p:sp>
      <p:sp>
        <p:nvSpPr>
          <p:cNvPr id="265" name="DEBTOR RISK ASSESSMENT"/>
          <p:cNvSpPr txBox="1"/>
          <p:nvPr/>
        </p:nvSpPr>
        <p:spPr>
          <a:xfrm>
            <a:off x="4285330" y="1168669"/>
            <a:ext cx="3130454"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lvl1pPr algn="ctr">
              <a:defRPr sz="1600" spc="48">
                <a:latin typeface="Gotham-Bold"/>
                <a:ea typeface="Gotham-Bold"/>
                <a:cs typeface="Gotham-Bold"/>
                <a:sym typeface="Gotham-Bold"/>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pl-PL" sz="1600" b="0" i="0" u="none" strike="noStrike" kern="0" cap="none" spc="48" normalizeH="0" baseline="0" noProof="0" dirty="0">
                <a:ln>
                  <a:noFill/>
                </a:ln>
                <a:solidFill>
                  <a:srgbClr val="FFFFFF"/>
                </a:solidFill>
                <a:effectLst/>
                <a:uLnTx/>
                <a:uFillTx/>
                <a:latin typeface="Gotham-Bold"/>
                <a:sym typeface="Gotham-Bold"/>
              </a:rPr>
              <a:t>DRA</a:t>
            </a:r>
            <a:endParaRPr kumimoji="0" sz="1600" b="0" i="0" u="none" strike="noStrike" kern="0" cap="none" spc="48" normalizeH="0" baseline="0" noProof="0" dirty="0">
              <a:ln>
                <a:noFill/>
              </a:ln>
              <a:solidFill>
                <a:srgbClr val="FFFFFF"/>
              </a:solidFill>
              <a:effectLst/>
              <a:uLnTx/>
              <a:uFillTx/>
              <a:latin typeface="Gotham-Bold"/>
              <a:sym typeface="Gotham-Bold"/>
            </a:endParaRPr>
          </a:p>
        </p:txBody>
      </p:sp>
      <p:sp>
        <p:nvSpPr>
          <p:cNvPr id="266" name="COFACE CREDIT OPINION"/>
          <p:cNvSpPr txBox="1"/>
          <p:nvPr/>
        </p:nvSpPr>
        <p:spPr>
          <a:xfrm>
            <a:off x="8056844" y="564081"/>
            <a:ext cx="3335915"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lvl1pPr algn="ctr">
              <a:defRPr sz="1600" spc="48">
                <a:latin typeface="Gotham-Bold"/>
                <a:ea typeface="Gotham-Bold"/>
                <a:cs typeface="Gotham-Bold"/>
                <a:sym typeface="Gotham-Bold"/>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pl-PL" sz="1600" b="1" i="0" u="none" strike="noStrike" kern="0" cap="none" spc="48" normalizeH="0" baseline="0" noProof="0" dirty="0">
                <a:ln>
                  <a:noFill/>
                </a:ln>
                <a:solidFill>
                  <a:srgbClr val="FFFFFF"/>
                </a:solidFill>
                <a:effectLst/>
                <a:uLnTx/>
                <a:uFillTx/>
                <a:latin typeface="Arial"/>
                <a:sym typeface="Gotham-Bold"/>
              </a:rPr>
              <a:t>DRA</a:t>
            </a:r>
            <a:endParaRPr kumimoji="0" sz="1600" b="1" i="0" u="none" strike="noStrike" kern="0" cap="none" spc="48" normalizeH="0" baseline="0" noProof="0" dirty="0">
              <a:ln>
                <a:noFill/>
              </a:ln>
              <a:solidFill>
                <a:srgbClr val="FFFFFF"/>
              </a:solidFill>
              <a:effectLst/>
              <a:uLnTx/>
              <a:uFillTx/>
              <a:latin typeface="Arial"/>
              <a:sym typeface="Gotham-Bold"/>
            </a:endParaRPr>
          </a:p>
        </p:txBody>
      </p:sp>
      <p:pic>
        <p:nvPicPr>
          <p:cNvPr id="280" name="Image" descr="Image"/>
          <p:cNvPicPr>
            <a:picLocks noChangeAspect="1"/>
          </p:cNvPicPr>
          <p:nvPr/>
        </p:nvPicPr>
        <p:blipFill>
          <a:blip r:embed="rId4"/>
          <a:stretch>
            <a:fillRect/>
          </a:stretch>
        </p:blipFill>
        <p:spPr>
          <a:xfrm>
            <a:off x="953797" y="2521593"/>
            <a:ext cx="250201" cy="189808"/>
          </a:xfrm>
          <a:prstGeom prst="rect">
            <a:avLst/>
          </a:prstGeom>
          <a:ln w="12700">
            <a:miter lim="400000"/>
          </a:ln>
        </p:spPr>
      </p:pic>
      <p:pic>
        <p:nvPicPr>
          <p:cNvPr id="27" name="Picture 26"/>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9068391" y="6070986"/>
            <a:ext cx="2872039" cy="574797"/>
          </a:xfrm>
          <a:prstGeom prst="rect">
            <a:avLst/>
          </a:prstGeom>
        </p:spPr>
      </p:pic>
      <p:sp>
        <p:nvSpPr>
          <p:cNvPr id="29" name="summary"/>
          <p:cNvSpPr txBox="1"/>
          <p:nvPr/>
        </p:nvSpPr>
        <p:spPr>
          <a:xfrm>
            <a:off x="2044596" y="6235049"/>
            <a:ext cx="92394" cy="41087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8" tIns="45718" rIns="45718" bIns="45718">
            <a:spAutoFit/>
          </a:bodyPr>
          <a:lstStyle>
            <a:lvl1pPr defTabSz="914400">
              <a:lnSpc>
                <a:spcPct val="90000"/>
              </a:lnSpc>
              <a:spcBef>
                <a:spcPts val="0"/>
              </a:spcBef>
              <a:defRPr sz="2300" b="1" cap="all" spc="115">
                <a:solidFill>
                  <a:srgbClr val="03365F"/>
                </a:solidFill>
              </a:defRPr>
            </a:lvl1pPr>
          </a:lstStyle>
          <a:p>
            <a:pPr marL="0" marR="0" lvl="0" indent="0" algn="l" defTabSz="914400" rtl="0" eaLnBrk="1" fontAlgn="auto" latinLnBrk="0" hangingPunct="0">
              <a:lnSpc>
                <a:spcPct val="90000"/>
              </a:lnSpc>
              <a:spcBef>
                <a:spcPts val="0"/>
              </a:spcBef>
              <a:spcAft>
                <a:spcPts val="0"/>
              </a:spcAft>
              <a:buClrTx/>
              <a:buSzTx/>
              <a:buFontTx/>
              <a:buNone/>
              <a:tabLst/>
              <a:defRPr sz="2300" b="1" cap="all" spc="230">
                <a:solidFill>
                  <a:srgbClr val="03365F"/>
                </a:solidFill>
              </a:defRPr>
            </a:pPr>
            <a:endParaRPr kumimoji="0" lang="en-US" sz="2300" b="1" i="0" u="none" strike="noStrike" kern="0" cap="all" spc="230" normalizeH="0" baseline="0" noProof="0" dirty="0">
              <a:ln>
                <a:noFill/>
              </a:ln>
              <a:solidFill>
                <a:srgbClr val="5CB781"/>
              </a:solidFill>
              <a:effectLst/>
              <a:uLnTx/>
              <a:uFillTx/>
              <a:latin typeface="Arial"/>
              <a:ea typeface="+mn-ea"/>
              <a:cs typeface="+mn-cs"/>
              <a:sym typeface="Arial"/>
            </a:endParaRPr>
          </a:p>
        </p:txBody>
      </p:sp>
      <p:sp>
        <p:nvSpPr>
          <p:cNvPr id="23" name="OBJECTIVE"/>
          <p:cNvSpPr txBox="1"/>
          <p:nvPr/>
        </p:nvSpPr>
        <p:spPr>
          <a:xfrm>
            <a:off x="611472" y="1142089"/>
            <a:ext cx="261264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defRPr sz="1800" b="1" spc="90"/>
            </a:lvl1p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lang="pl-PL" sz="1800" b="1" i="0" u="none" strike="noStrike" kern="0" cap="none" spc="90" normalizeH="0" baseline="0" noProof="0" dirty="0">
                <a:ln>
                  <a:noFill/>
                </a:ln>
                <a:solidFill>
                  <a:srgbClr val="FFFFFF"/>
                </a:solidFill>
                <a:effectLst/>
                <a:uLnTx/>
                <a:uFillTx/>
                <a:latin typeface="Arial"/>
                <a:ea typeface="+mn-ea"/>
                <a:cs typeface="+mn-cs"/>
                <a:sym typeface="Arial"/>
              </a:rPr>
              <a:t>DRA</a:t>
            </a:r>
            <a:endParaRPr kumimoji="0" sz="1800" b="1" i="0" u="none" strike="noStrike" kern="0" cap="none" spc="90" normalizeH="0" baseline="0" noProof="0" dirty="0">
              <a:ln>
                <a:noFill/>
              </a:ln>
              <a:solidFill>
                <a:srgbClr val="FFFFFF"/>
              </a:solidFill>
              <a:effectLst/>
              <a:uLnTx/>
              <a:uFillTx/>
              <a:latin typeface="Arial"/>
              <a:ea typeface="+mn-ea"/>
              <a:cs typeface="+mn-cs"/>
              <a:sym typeface="Arial"/>
            </a:endParaRPr>
          </a:p>
        </p:txBody>
      </p:sp>
      <p:sp>
        <p:nvSpPr>
          <p:cNvPr id="25" name="Access commercial risk scores and exclusive sector and economic analysis"/>
          <p:cNvSpPr txBox="1"/>
          <p:nvPr/>
        </p:nvSpPr>
        <p:spPr>
          <a:xfrm>
            <a:off x="1049309" y="2668124"/>
            <a:ext cx="2874387" cy="3454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2000" tIns="72000" rIns="72000" bIns="72000">
            <a:spAutoFit/>
          </a:bodyPr>
          <a:lstStyle>
            <a:lvl1pPr>
              <a:spcBef>
                <a:spcPts val="0"/>
              </a:spcBef>
              <a:defRPr>
                <a:solidFill>
                  <a:srgbClr val="43517A"/>
                </a:solidFill>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sz="1300" b="0" i="0" u="none" strike="noStrike" kern="0" cap="none" spc="0" normalizeH="0" baseline="0" noProof="0" dirty="0">
              <a:ln>
                <a:noFill/>
              </a:ln>
              <a:solidFill>
                <a:srgbClr val="43517A"/>
              </a:solidFill>
              <a:effectLst/>
              <a:uLnTx/>
              <a:uFillTx/>
              <a:latin typeface="Arial"/>
              <a:ea typeface="+mn-ea"/>
              <a:cs typeface="+mn-cs"/>
              <a:sym typeface="Arial"/>
            </a:endParaRPr>
          </a:p>
        </p:txBody>
      </p:sp>
      <p:sp>
        <p:nvSpPr>
          <p:cNvPr id="3" name="Title 2"/>
          <p:cNvSpPr>
            <a:spLocks noGrp="1"/>
          </p:cNvSpPr>
          <p:nvPr>
            <p:ph type="title"/>
          </p:nvPr>
        </p:nvSpPr>
        <p:spPr>
          <a:xfrm>
            <a:off x="741529" y="440971"/>
            <a:ext cx="10942471" cy="480131"/>
          </a:xfrm>
        </p:spPr>
        <p:txBody>
          <a:bodyPr/>
          <a:lstStyle/>
          <a:p>
            <a:r>
              <a:rPr lang="pl-PL" dirty="0"/>
              <a:t>Ocena tveganja dolžnika (DRA)</a:t>
            </a:r>
          </a:p>
        </p:txBody>
      </p:sp>
      <p:sp>
        <p:nvSpPr>
          <p:cNvPr id="2" name="Slide Number Placeholder 1"/>
          <p:cNvSpPr>
            <a:spLocks noGrp="1"/>
          </p:cNvSpPr>
          <p:nvPr>
            <p:ph type="sldNum" sz="quarter" idx="4294967295"/>
          </p:nvPr>
        </p:nvSpPr>
        <p:spPr>
          <a:xfrm>
            <a:off x="11863388" y="6440488"/>
            <a:ext cx="328612" cy="307975"/>
          </a:xfrm>
          <a:prstGeom prst="rect">
            <a:avLst/>
          </a:prstGeom>
        </p:spPr>
        <p:txBody>
          <a:bodyPr/>
          <a:lstStyle/>
          <a:p>
            <a:pPr marL="0" marR="0" lvl="0" indent="0" algn="l" defTabSz="685800" rtl="0" eaLnBrk="1" fontAlgn="auto" latinLnBrk="0" hangingPunct="0">
              <a:lnSpc>
                <a:spcPct val="100000"/>
              </a:lnSpc>
              <a:spcBef>
                <a:spcPts val="600"/>
              </a:spcBef>
              <a:spcAft>
                <a:spcPts val="0"/>
              </a:spcAft>
              <a:buClrTx/>
              <a:buSzTx/>
              <a:buFontTx/>
              <a:buNone/>
              <a:tabLst/>
              <a:defRPr/>
            </a:pPr>
            <a:fld id="{86CB4B4D-7CA3-9044-876B-883B54F8677D}" type="slidenum">
              <a:rPr kumimoji="0" lang="en-GB" sz="1300" b="0" i="0" u="none" strike="noStrike" kern="0" cap="none" spc="0" normalizeH="0" baseline="0" noProof="0" smtClean="0">
                <a:ln>
                  <a:noFill/>
                </a:ln>
                <a:solidFill>
                  <a:srgbClr val="FFFFFF"/>
                </a:solidFill>
                <a:effectLst/>
                <a:uLnTx/>
                <a:uFillTx/>
                <a:latin typeface="Arial"/>
                <a:ea typeface="+mn-ea"/>
                <a:cs typeface="+mn-cs"/>
                <a:sym typeface="Arial"/>
              </a:rPr>
              <a:pPr marL="0" marR="0" lvl="0" indent="0" algn="l" defTabSz="685800" rtl="0" eaLnBrk="1" fontAlgn="auto" latinLnBrk="0" hangingPunct="0">
                <a:lnSpc>
                  <a:spcPct val="100000"/>
                </a:lnSpc>
                <a:spcBef>
                  <a:spcPts val="600"/>
                </a:spcBef>
                <a:spcAft>
                  <a:spcPts val="0"/>
                </a:spcAft>
                <a:buClrTx/>
                <a:buSzTx/>
                <a:buFontTx/>
                <a:buNone/>
                <a:tabLst/>
                <a:defRPr/>
              </a:pPr>
              <a:t>15</a:t>
            </a:fld>
            <a:endParaRPr kumimoji="0" lang="en-GB" sz="13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8" name="Rectangle 7"/>
          <p:cNvSpPr/>
          <p:nvPr/>
        </p:nvSpPr>
        <p:spPr>
          <a:xfrm>
            <a:off x="558239" y="3125161"/>
            <a:ext cx="2849244" cy="1879645"/>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0">
              <a:lnSpc>
                <a:spcPct val="100000"/>
              </a:lnSpc>
              <a:spcBef>
                <a:spcPts val="60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39" name="The Debtor Risk Assessment (DRA) evaluates a company's capacity to honor its financial obligations."/>
          <p:cNvSpPr txBox="1"/>
          <p:nvPr/>
        </p:nvSpPr>
        <p:spPr>
          <a:xfrm>
            <a:off x="1025253" y="3464551"/>
            <a:ext cx="1952956" cy="1145680"/>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2000" tIns="72000" rIns="72000" bIns="72000">
            <a:spAutoFit/>
          </a:bodyPr>
          <a:lstStyle>
            <a:lvl1pPr>
              <a:spcBef>
                <a:spcPts val="0"/>
              </a:spcBef>
              <a:defRPr>
                <a:solidFill>
                  <a:srgbClr val="43517A"/>
                </a:solidFill>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sl-SI" sz="1300" b="0" i="0" u="none" strike="noStrike" kern="0" cap="none" spc="0" normalizeH="0" baseline="0" noProof="0" dirty="0">
                <a:ln>
                  <a:noFill/>
                </a:ln>
                <a:solidFill>
                  <a:srgbClr val="43517A"/>
                </a:solidFill>
                <a:effectLst/>
                <a:uLnTx/>
                <a:uFillTx/>
                <a:latin typeface="Arial"/>
                <a:ea typeface="+mn-ea"/>
                <a:cs typeface="+mn-cs"/>
                <a:sym typeface="Arial"/>
              </a:rPr>
              <a:t>Ocena tveganja dolžnika (DRA) je ocena sposobnosti podjetja, da bo izpolnilo svoje finančne obveznosti</a:t>
            </a:r>
          </a:p>
        </p:txBody>
      </p:sp>
      <p:sp>
        <p:nvSpPr>
          <p:cNvPr id="7" name="Rectangle 6"/>
          <p:cNvSpPr/>
          <p:nvPr/>
        </p:nvSpPr>
        <p:spPr>
          <a:xfrm>
            <a:off x="824759" y="2151019"/>
            <a:ext cx="2337185" cy="1120764"/>
          </a:xfrm>
          <a:prstGeom prst="rect">
            <a:avLst/>
          </a:prstGeom>
          <a:solidFill>
            <a:schemeClr val="tx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0">
              <a:lnSpc>
                <a:spcPct val="100000"/>
              </a:lnSpc>
              <a:spcBef>
                <a:spcPts val="60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26" name="Monitored Debtor Risk Assessment or DRA (Score)"/>
          <p:cNvSpPr txBox="1"/>
          <p:nvPr/>
        </p:nvSpPr>
        <p:spPr>
          <a:xfrm>
            <a:off x="856075" y="2205088"/>
            <a:ext cx="2305869" cy="100718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2000" tIns="72000" rIns="72000" bIns="72000">
            <a:spAutoFit/>
          </a:bodyPr>
          <a:lstStyle>
            <a:lvl1pPr>
              <a:defRPr sz="1400" b="1" cap="all" spc="42">
                <a:solidFill>
                  <a:srgbClr val="5CB781"/>
                </a:solidFill>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sl-SI" sz="1400" b="1" i="0" u="none" strike="noStrike" kern="0" cap="all" spc="42" normalizeH="0" baseline="0" dirty="0">
                <a:ln>
                  <a:noFill/>
                </a:ln>
                <a:solidFill>
                  <a:prstClr val="white"/>
                </a:solidFill>
                <a:effectLst/>
                <a:uLnTx/>
                <a:uFillTx/>
                <a:latin typeface="Arial"/>
                <a:ea typeface="+mn-ea"/>
                <a:cs typeface="+mn-cs"/>
                <a:sym typeface="Arial"/>
              </a:rPr>
              <a:t>ocena tveganja dolžnika (</a:t>
            </a:r>
            <a:r>
              <a:rPr kumimoji="0" lang="sl-SI" sz="1400" b="1" i="0" u="none" strike="noStrike" kern="0" cap="all" spc="42" normalizeH="0" baseline="0" dirty="0" err="1">
                <a:ln>
                  <a:noFill/>
                </a:ln>
                <a:solidFill>
                  <a:prstClr val="white"/>
                </a:solidFill>
                <a:effectLst/>
                <a:uLnTx/>
                <a:uFillTx/>
                <a:latin typeface="Arial"/>
                <a:ea typeface="+mn-ea"/>
                <a:cs typeface="+mn-cs"/>
                <a:sym typeface="Arial"/>
              </a:rPr>
              <a:t>dra</a:t>
            </a:r>
            <a:r>
              <a:rPr kumimoji="0" lang="sl-SI" sz="1400" b="1" i="0" u="none" strike="noStrike" kern="0" cap="all" spc="42" normalizeH="0" baseline="0" dirty="0">
                <a:ln>
                  <a:noFill/>
                </a:ln>
                <a:solidFill>
                  <a:prstClr val="white"/>
                </a:solidFill>
                <a:effectLst/>
                <a:uLnTx/>
                <a:uFillTx/>
                <a:latin typeface="Arial"/>
                <a:ea typeface="+mn-ea"/>
                <a:cs typeface="+mn-cs"/>
                <a:sym typeface="Arial"/>
              </a:rPr>
              <a:t>) S SPREMLJANJEM (STOPENJSKA ocena</a:t>
            </a:r>
            <a:r>
              <a:rPr kumimoji="0" lang="en-US" sz="1400" b="1" i="0" u="none" strike="noStrike" kern="0" cap="all" spc="42" normalizeH="0" baseline="0" noProof="0" dirty="0">
                <a:ln>
                  <a:noFill/>
                </a:ln>
                <a:solidFill>
                  <a:prstClr val="white"/>
                </a:solidFill>
                <a:effectLst/>
                <a:uLnTx/>
                <a:uFillTx/>
                <a:latin typeface="Arial"/>
                <a:ea typeface="+mn-ea"/>
                <a:cs typeface="+mn-cs"/>
                <a:sym typeface="Arial"/>
              </a:rPr>
              <a:t>)</a:t>
            </a:r>
          </a:p>
        </p:txBody>
      </p:sp>
      <p:sp>
        <p:nvSpPr>
          <p:cNvPr id="31" name="Rectangle 30"/>
          <p:cNvSpPr/>
          <p:nvPr/>
        </p:nvSpPr>
        <p:spPr>
          <a:xfrm>
            <a:off x="4144955" y="2434184"/>
            <a:ext cx="2806712" cy="4006304"/>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0">
              <a:lnSpc>
                <a:spcPct val="100000"/>
              </a:lnSpc>
              <a:spcBef>
                <a:spcPts val="60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32" name="Rectangle 31"/>
          <p:cNvSpPr/>
          <p:nvPr/>
        </p:nvSpPr>
        <p:spPr>
          <a:xfrm>
            <a:off x="4387359" y="1513590"/>
            <a:ext cx="2337185" cy="1120764"/>
          </a:xfrm>
          <a:prstGeom prst="rect">
            <a:avLst/>
          </a:prstGeom>
          <a:solidFill>
            <a:schemeClr val="bg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0">
              <a:lnSpc>
                <a:spcPct val="100000"/>
              </a:lnSpc>
              <a:spcBef>
                <a:spcPts val="60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10" name="Rectangle 9"/>
          <p:cNvSpPr/>
          <p:nvPr/>
        </p:nvSpPr>
        <p:spPr>
          <a:xfrm>
            <a:off x="4551948" y="1916082"/>
            <a:ext cx="2082621" cy="307777"/>
          </a:xfrm>
          <a:prstGeom prst="rect">
            <a:avLst/>
          </a:prstGeom>
        </p:spPr>
        <p:txBody>
          <a:bodyPr wrap="none">
            <a:spAutoFit/>
          </a:body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lang="hr-HR" sz="1400" b="1" i="0" u="none" strike="noStrike" kern="0" cap="none" spc="0" normalizeH="0" baseline="0" noProof="0" dirty="0">
                <a:ln>
                  <a:noFill/>
                </a:ln>
                <a:solidFill>
                  <a:prstClr val="white"/>
                </a:solidFill>
                <a:effectLst/>
                <a:uLnTx/>
                <a:uFillTx/>
                <a:latin typeface="Arial"/>
                <a:ea typeface="+mn-ea"/>
                <a:cs typeface="+mn-cs"/>
                <a:sym typeface="Arial"/>
              </a:rPr>
              <a:t>PODROBNA VSEBINA</a:t>
            </a:r>
          </a:p>
        </p:txBody>
      </p:sp>
      <p:sp>
        <p:nvSpPr>
          <p:cNvPr id="278" name="Rectangle 43"/>
          <p:cNvSpPr txBox="1"/>
          <p:nvPr/>
        </p:nvSpPr>
        <p:spPr>
          <a:xfrm>
            <a:off x="4234851" y="2767966"/>
            <a:ext cx="2716816" cy="73680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45718" tIns="45718" rIns="45718" bIns="45718">
            <a:spAutoFit/>
          </a:bodyPr>
          <a:lstStyle>
            <a:lvl1pPr>
              <a:defRPr b="1" spc="65"/>
            </a:lvl1pPr>
          </a:lstStyle>
          <a:p>
            <a:pPr marL="0" marR="0" lvl="0" indent="0" algn="l" defTabSz="685800" rtl="0" eaLnBrk="1" fontAlgn="auto" latinLnBrk="0" hangingPunct="0">
              <a:lnSpc>
                <a:spcPct val="120000"/>
              </a:lnSpc>
              <a:spcBef>
                <a:spcPts val="0"/>
              </a:spcBef>
              <a:spcAft>
                <a:spcPts val="0"/>
              </a:spcAft>
              <a:buClrTx/>
              <a:buSzTx/>
              <a:buFontTx/>
              <a:buNone/>
              <a:tabLst/>
              <a:defRPr sz="1200">
                <a:solidFill>
                  <a:srgbClr val="43517A"/>
                </a:solidFill>
              </a:defRPr>
            </a:pPr>
            <a:r>
              <a:rPr kumimoji="0" lang="sl-SI" sz="1200" b="0" i="0" u="none" strike="noStrike" kern="0" cap="none" spc="0" normalizeH="0" baseline="0" noProof="0" dirty="0">
                <a:ln>
                  <a:noFill/>
                </a:ln>
                <a:solidFill>
                  <a:srgbClr val="43517A"/>
                </a:solidFill>
                <a:effectLst/>
                <a:uLnTx/>
                <a:uFillTx/>
                <a:latin typeface="Arial"/>
                <a:ea typeface="+mn-ea"/>
                <a:cs typeface="+mn-cs"/>
                <a:sym typeface="Arial"/>
              </a:rPr>
              <a:t>Ocena tveganja dolžnika (DRA) je rezultat zbiranja informacij o podjetjih po vsem svetu na podlagi</a:t>
            </a:r>
            <a:r>
              <a:rPr kumimoji="0" lang="en-GB" sz="1200" b="0" i="0" u="none" strike="noStrike" kern="0" cap="none" spc="0" normalizeH="0" baseline="0" noProof="0" dirty="0">
                <a:ln>
                  <a:noFill/>
                </a:ln>
                <a:solidFill>
                  <a:srgbClr val="43517A"/>
                </a:solidFill>
                <a:effectLst/>
                <a:uLnTx/>
                <a:uFillTx/>
                <a:latin typeface="Arial"/>
                <a:ea typeface="+mn-ea"/>
                <a:cs typeface="+mn-cs"/>
                <a:sym typeface="Arial"/>
              </a:rPr>
              <a:t>:</a:t>
            </a:r>
          </a:p>
        </p:txBody>
      </p:sp>
      <p:sp>
        <p:nvSpPr>
          <p:cNvPr id="11" name="Rectangle 10"/>
          <p:cNvSpPr/>
          <p:nvPr/>
        </p:nvSpPr>
        <p:spPr>
          <a:xfrm>
            <a:off x="4197544" y="3583053"/>
            <a:ext cx="2716816" cy="2723823"/>
          </a:xfrm>
          <a:prstGeom prst="rect">
            <a:avLst/>
          </a:prstGeom>
        </p:spPr>
        <p:txBody>
          <a:bodyPr wrap="square">
            <a:spAutoFit/>
          </a:bodyPr>
          <a:lstStyle/>
          <a:p>
            <a:pPr marL="171450" marR="0" lvl="0" indent="-171450" algn="l" defTabSz="685800" rtl="0" eaLnBrk="1" fontAlgn="auto" latinLnBrk="0" hangingPunct="0">
              <a:lnSpc>
                <a:spcPct val="100000"/>
              </a:lnSpc>
              <a:spcBef>
                <a:spcPts val="600"/>
              </a:spcBef>
              <a:spcAft>
                <a:spcPts val="0"/>
              </a:spcAft>
              <a:buClrTx/>
              <a:buSzTx/>
              <a:buFont typeface="Wingdings" panose="05000000000000000000" pitchFamily="2" charset="2"/>
              <a:buChar char="Ø"/>
              <a:tabLst/>
              <a:defRPr/>
            </a:pPr>
            <a:r>
              <a:rPr kumimoji="0" lang="sl-SI" sz="1200" b="0" i="0" u="none" strike="noStrike" kern="0" cap="none" spc="0" normalizeH="0" baseline="0" noProof="0" dirty="0">
                <a:ln>
                  <a:noFill/>
                </a:ln>
                <a:solidFill>
                  <a:srgbClr val="1C355E"/>
                </a:solidFill>
                <a:effectLst/>
                <a:uLnTx/>
                <a:uFillTx/>
                <a:latin typeface="Arial"/>
                <a:ea typeface="+mn-ea"/>
                <a:cs typeface="+mn-cs"/>
                <a:sym typeface="Arial"/>
              </a:rPr>
              <a:t>finančnih ocen – na osnovi finančnih podatkov podjetja;</a:t>
            </a:r>
          </a:p>
          <a:p>
            <a:pPr marL="171450" marR="0" lvl="0" indent="-171450" algn="l" defTabSz="685800" rtl="0" eaLnBrk="1" fontAlgn="auto" latinLnBrk="0" hangingPunct="0">
              <a:lnSpc>
                <a:spcPct val="100000"/>
              </a:lnSpc>
              <a:spcBef>
                <a:spcPts val="600"/>
              </a:spcBef>
              <a:spcAft>
                <a:spcPts val="0"/>
              </a:spcAft>
              <a:buClrTx/>
              <a:buSzTx/>
              <a:buFont typeface="Wingdings" panose="05000000000000000000" pitchFamily="2" charset="2"/>
              <a:buChar char="Ø"/>
              <a:tabLst/>
              <a:defRPr/>
            </a:pPr>
            <a:r>
              <a:rPr kumimoji="0" lang="sl-SI" sz="1200" b="0" i="0" u="none" strike="noStrike" kern="0" cap="none" spc="0" normalizeH="0" baseline="0" noProof="0" dirty="0">
                <a:ln>
                  <a:noFill/>
                </a:ln>
                <a:solidFill>
                  <a:srgbClr val="1C355E"/>
                </a:solidFill>
                <a:effectLst/>
                <a:uLnTx/>
                <a:uFillTx/>
                <a:latin typeface="Arial"/>
                <a:ea typeface="+mn-ea"/>
                <a:cs typeface="+mn-cs"/>
                <a:sym typeface="Arial"/>
              </a:rPr>
              <a:t>ocen plačilnih izkušenj – na podlagi statističnih podatkov;</a:t>
            </a:r>
          </a:p>
          <a:p>
            <a:pPr marL="171450" marR="0" lvl="0" indent="-171450" algn="l" defTabSz="685800" rtl="0" eaLnBrk="1" fontAlgn="auto" latinLnBrk="0" hangingPunct="0">
              <a:lnSpc>
                <a:spcPct val="100000"/>
              </a:lnSpc>
              <a:spcBef>
                <a:spcPts val="600"/>
              </a:spcBef>
              <a:spcAft>
                <a:spcPts val="0"/>
              </a:spcAft>
              <a:buClrTx/>
              <a:buSzTx/>
              <a:buFont typeface="Wingdings" panose="05000000000000000000" pitchFamily="2" charset="2"/>
              <a:buChar char="Ø"/>
              <a:tabLst/>
              <a:defRPr/>
            </a:pPr>
            <a:r>
              <a:rPr kumimoji="0" lang="sl-SI" sz="1200" b="0" i="0" u="none" strike="noStrike" kern="0" cap="none" spc="0" normalizeH="0" baseline="0" noProof="0" dirty="0">
                <a:ln>
                  <a:noFill/>
                </a:ln>
                <a:solidFill>
                  <a:srgbClr val="1C355E"/>
                </a:solidFill>
                <a:effectLst/>
                <a:uLnTx/>
                <a:uFillTx/>
                <a:latin typeface="Arial"/>
                <a:ea typeface="+mn-ea"/>
                <a:cs typeface="+mn-cs"/>
                <a:sym typeface="Arial"/>
              </a:rPr>
              <a:t>matičnih podatkov podjetja (starost, lokacija, panoga, sodne odločbe itd.);</a:t>
            </a:r>
          </a:p>
          <a:p>
            <a:pPr marL="171450" marR="0" lvl="0" indent="-171450" algn="l" defTabSz="685800" rtl="0" eaLnBrk="1" fontAlgn="auto" latinLnBrk="0" hangingPunct="0">
              <a:lnSpc>
                <a:spcPct val="100000"/>
              </a:lnSpc>
              <a:spcBef>
                <a:spcPts val="600"/>
              </a:spcBef>
              <a:spcAft>
                <a:spcPts val="0"/>
              </a:spcAft>
              <a:buClrTx/>
              <a:buSzTx/>
              <a:buFont typeface="Wingdings" panose="05000000000000000000" pitchFamily="2" charset="2"/>
              <a:buChar char="Ø"/>
              <a:tabLst/>
              <a:defRPr/>
            </a:pPr>
            <a:r>
              <a:rPr kumimoji="0" lang="sl-SI" sz="1200" b="0" i="0" u="none" strike="noStrike" kern="0" cap="none" spc="0" normalizeH="0" baseline="0" noProof="0" dirty="0">
                <a:ln>
                  <a:noFill/>
                </a:ln>
                <a:solidFill>
                  <a:srgbClr val="1C355E"/>
                </a:solidFill>
                <a:effectLst/>
                <a:uLnTx/>
                <a:uFillTx/>
                <a:latin typeface="Arial"/>
                <a:ea typeface="+mn-ea"/>
                <a:cs typeface="+mn-cs"/>
                <a:sym typeface="Arial"/>
              </a:rPr>
              <a:t>naprednih kazalnikov </a:t>
            </a:r>
            <a:r>
              <a:rPr kumimoji="0" lang="sl-SI" sz="1200" b="0" i="0" u="none" strike="noStrike" kern="0" cap="none" spc="0" normalizeH="0" baseline="0" noProof="0" dirty="0" err="1">
                <a:ln>
                  <a:noFill/>
                </a:ln>
                <a:solidFill>
                  <a:srgbClr val="1C355E"/>
                </a:solidFill>
                <a:effectLst/>
                <a:uLnTx/>
                <a:uFillTx/>
                <a:latin typeface="Arial"/>
                <a:ea typeface="+mn-ea"/>
                <a:cs typeface="+mn-cs"/>
                <a:sym typeface="Arial"/>
              </a:rPr>
              <a:t>Coface</a:t>
            </a:r>
            <a:r>
              <a:rPr kumimoji="0" lang="sl-SI" sz="1200" b="0" i="0" u="none" strike="noStrike" kern="0" cap="none" spc="0" normalizeH="0" baseline="0" noProof="0" dirty="0">
                <a:ln>
                  <a:noFill/>
                </a:ln>
                <a:solidFill>
                  <a:srgbClr val="1C355E"/>
                </a:solidFill>
                <a:effectLst/>
                <a:uLnTx/>
                <a:uFillTx/>
                <a:latin typeface="Arial"/>
                <a:ea typeface="+mn-ea"/>
                <a:cs typeface="+mn-cs"/>
                <a:sym typeface="Arial"/>
              </a:rPr>
              <a:t> (</a:t>
            </a:r>
            <a:r>
              <a:rPr kumimoji="0" lang="sl-SI" sz="1200" b="0" i="0" u="none" strike="noStrike" kern="0" cap="none" spc="0" normalizeH="0" baseline="0" noProof="0" dirty="0" err="1">
                <a:ln>
                  <a:noFill/>
                </a:ln>
                <a:solidFill>
                  <a:srgbClr val="1C355E"/>
                </a:solidFill>
                <a:effectLst/>
                <a:uLnTx/>
                <a:uFillTx/>
                <a:latin typeface="Arial"/>
                <a:ea typeface="+mn-ea"/>
                <a:cs typeface="+mn-cs"/>
                <a:sym typeface="Arial"/>
              </a:rPr>
              <a:t>Advanced</a:t>
            </a:r>
            <a:r>
              <a:rPr kumimoji="0" lang="sl-SI" sz="1200" b="0" i="0" u="none" strike="noStrike" kern="0" cap="none" spc="0" normalizeH="0" baseline="0" noProof="0" dirty="0">
                <a:ln>
                  <a:noFill/>
                </a:ln>
                <a:solidFill>
                  <a:srgbClr val="1C355E"/>
                </a:solidFill>
                <a:effectLst/>
                <a:uLnTx/>
                <a:uFillTx/>
                <a:latin typeface="Arial"/>
                <a:ea typeface="+mn-ea"/>
                <a:cs typeface="+mn-cs"/>
                <a:sym typeface="Arial"/>
              </a:rPr>
              <a:t> </a:t>
            </a:r>
            <a:r>
              <a:rPr kumimoji="0" lang="sl-SI" sz="1200" b="0" i="0" u="none" strike="noStrike" kern="0" cap="none" spc="0" normalizeH="0" baseline="0" noProof="0" dirty="0" err="1">
                <a:ln>
                  <a:noFill/>
                </a:ln>
                <a:solidFill>
                  <a:srgbClr val="1C355E"/>
                </a:solidFill>
                <a:effectLst/>
                <a:uLnTx/>
                <a:uFillTx/>
                <a:latin typeface="Arial"/>
                <a:ea typeface="+mn-ea"/>
                <a:cs typeface="+mn-cs"/>
                <a:sym typeface="Arial"/>
              </a:rPr>
              <a:t>Coface</a:t>
            </a:r>
            <a:r>
              <a:rPr kumimoji="0" lang="sl-SI" sz="1200" b="0" i="0" u="none" strike="noStrike" kern="0" cap="none" spc="0" normalizeH="0" baseline="0" noProof="0" dirty="0">
                <a:ln>
                  <a:noFill/>
                </a:ln>
                <a:solidFill>
                  <a:srgbClr val="1C355E"/>
                </a:solidFill>
                <a:effectLst/>
                <a:uLnTx/>
                <a:uFillTx/>
                <a:latin typeface="Arial"/>
                <a:ea typeface="+mn-ea"/>
                <a:cs typeface="+mn-cs"/>
                <a:sym typeface="Arial"/>
              </a:rPr>
              <a:t> </a:t>
            </a:r>
            <a:r>
              <a:rPr kumimoji="0" lang="sl-SI" sz="1200" b="0" i="0" u="none" strike="noStrike" kern="0" cap="none" spc="0" normalizeH="0" baseline="0" noProof="0" dirty="0" err="1">
                <a:ln>
                  <a:noFill/>
                </a:ln>
                <a:solidFill>
                  <a:srgbClr val="1C355E"/>
                </a:solidFill>
                <a:effectLst/>
                <a:uLnTx/>
                <a:uFillTx/>
                <a:latin typeface="Arial"/>
                <a:ea typeface="+mn-ea"/>
                <a:cs typeface="+mn-cs"/>
                <a:sym typeface="Arial"/>
              </a:rPr>
              <a:t>Indicators</a:t>
            </a:r>
            <a:r>
              <a:rPr kumimoji="0" lang="sl-SI" sz="1200" b="0" i="0" u="none" strike="noStrike" kern="0" cap="none" spc="0" normalizeH="0" baseline="0" noProof="0" dirty="0">
                <a:ln>
                  <a:noFill/>
                </a:ln>
                <a:solidFill>
                  <a:srgbClr val="1C355E"/>
                </a:solidFill>
                <a:effectLst/>
                <a:uLnTx/>
                <a:uFillTx/>
                <a:latin typeface="Arial"/>
                <a:ea typeface="+mn-ea"/>
                <a:cs typeface="+mn-cs"/>
                <a:sym typeface="Arial"/>
              </a:rPr>
              <a:t>) – prilagoditev v primeru zunanjih pretresov za gospodarstvo ob upoštevanju panoge, velikosti in geografske umestitve podjetja</a:t>
            </a:r>
          </a:p>
        </p:txBody>
      </p:sp>
      <p:sp>
        <p:nvSpPr>
          <p:cNvPr id="12" name="Rectangle 11"/>
          <p:cNvSpPr/>
          <p:nvPr/>
        </p:nvSpPr>
        <p:spPr>
          <a:xfrm>
            <a:off x="11015330" y="6440488"/>
            <a:ext cx="1176670" cy="4175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0">
              <a:lnSpc>
                <a:spcPct val="100000"/>
              </a:lnSpc>
              <a:spcBef>
                <a:spcPts val="600"/>
              </a:spcBef>
              <a:spcAft>
                <a:spcPts val="0"/>
              </a:spcAft>
              <a:buClrTx/>
              <a:buSzTx/>
              <a:buFontTx/>
              <a:buNone/>
              <a:tabLst/>
              <a:defRPr/>
            </a:pPr>
            <a:endParaRPr kumimoji="0" lang="en-US" sz="1300" b="0" i="0" u="none" strike="noStrike" kern="0" cap="none" spc="0" normalizeH="0" baseline="0" noProof="0">
              <a:ln>
                <a:noFill/>
              </a:ln>
              <a:solidFill>
                <a:prstClr val="white"/>
              </a:solidFill>
              <a:effectLst/>
              <a:uLnTx/>
              <a:uFillTx/>
              <a:latin typeface="Arial"/>
              <a:ea typeface="+mn-ea"/>
              <a:cs typeface="+mn-cs"/>
              <a:sym typeface="Arial"/>
            </a:endParaRPr>
          </a:p>
        </p:txBody>
      </p:sp>
    </p:spTree>
    <p:extLst>
      <p:ext uri="{BB962C8B-B14F-4D97-AF65-F5344CB8AC3E}">
        <p14:creationId xmlns:p14="http://schemas.microsoft.com/office/powerpoint/2010/main" val="1000825631"/>
      </p:ext>
    </p:extLst>
  </p:cSld>
  <p:clrMapOvr>
    <a:masterClrMapping/>
  </p:clrMapOvr>
  <mc:AlternateContent xmlns:mc="http://schemas.openxmlformats.org/markup-compatibility/2006" xmlns:p14="http://schemas.microsoft.com/office/powerpoint/2010/main">
    <mc:Choice Requires="p14">
      <p:transition spd="slow">
        <p:fade/>
      </p:transition>
    </mc:Choice>
    <mc:Fallback xmlns="" xmlns:m="http://schemas.openxmlformats.org/officeDocument/2006/math" xmlns:a14="http://schemas.microsoft.com/office/drawing/2010/main">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a:blip r:embed="rId3"/>
          <a:stretch>
            <a:fillRect/>
          </a:stretch>
        </p:blipFill>
        <p:spPr>
          <a:xfrm>
            <a:off x="9452346" y="2451921"/>
            <a:ext cx="2614673" cy="3414581"/>
          </a:xfrm>
          <a:prstGeom prst="rect">
            <a:avLst/>
          </a:prstGeom>
          <a:effectLst>
            <a:outerShdw blurRad="63500" sx="102000" sy="102000" algn="ctr" rotWithShape="0">
              <a:prstClr val="black">
                <a:alpha val="40000"/>
              </a:prstClr>
            </a:outerShdw>
          </a:effectLst>
        </p:spPr>
      </p:pic>
      <p:sp>
        <p:nvSpPr>
          <p:cNvPr id="263" name="Shape"/>
          <p:cNvSpPr/>
          <p:nvPr/>
        </p:nvSpPr>
        <p:spPr>
          <a:xfrm>
            <a:off x="6554741" y="1258543"/>
            <a:ext cx="2378198" cy="463935"/>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7" y="0"/>
                </a:lnTo>
                <a:lnTo>
                  <a:pt x="21600" y="0"/>
                </a:lnTo>
                <a:lnTo>
                  <a:pt x="21593" y="21600"/>
                </a:lnTo>
                <a:lnTo>
                  <a:pt x="0" y="21600"/>
                </a:lnTo>
                <a:close/>
              </a:path>
            </a:pathLst>
          </a:custGeom>
          <a:solidFill>
            <a:srgbClr val="1D3561"/>
          </a:solidFill>
          <a:ln w="12700">
            <a:miter lim="400000"/>
          </a:ln>
        </p:spPr>
        <p:txBody>
          <a:bodyPr lIns="45718" tIns="45718" rIns="45718" bIns="45718" anchor="ctr"/>
          <a:lstStyle/>
          <a:p>
            <a:pPr marL="0" marR="0" lvl="0" indent="0" algn="ctr" defTabSz="914400" rtl="0" eaLnBrk="1" fontAlgn="auto" latinLnBrk="0" hangingPunct="0">
              <a:lnSpc>
                <a:spcPct val="100000"/>
              </a:lnSpc>
              <a:spcBef>
                <a:spcPts val="0"/>
              </a:spcBef>
              <a:spcAft>
                <a:spcPts val="0"/>
              </a:spcAft>
              <a:buClrTx/>
              <a:buSzTx/>
              <a:buFontTx/>
              <a:buNone/>
              <a:tabLst/>
              <a:defRPr sz="1400">
                <a:latin typeface="PFBeauSansPro-Regular"/>
                <a:ea typeface="PFBeauSansPro-Regular"/>
                <a:cs typeface="PFBeauSansPro-Regular"/>
                <a:sym typeface="PFBeauSansPro-Regular"/>
              </a:defRPr>
            </a:pPr>
            <a:endParaRPr kumimoji="0" sz="1400" b="0" i="0" u="none" strike="noStrike" kern="0" cap="none" spc="0" normalizeH="0" baseline="0" noProof="0">
              <a:ln>
                <a:noFill/>
              </a:ln>
              <a:solidFill>
                <a:srgbClr val="FFFFFF"/>
              </a:solidFill>
              <a:effectLst/>
              <a:uLnTx/>
              <a:uFillTx/>
              <a:latin typeface="PFBeauSansPro-Regular"/>
              <a:sym typeface="PFBeauSansPro-Regular"/>
            </a:endParaRPr>
          </a:p>
        </p:txBody>
      </p:sp>
      <p:sp>
        <p:nvSpPr>
          <p:cNvPr id="264" name="Shape"/>
          <p:cNvSpPr/>
          <p:nvPr/>
        </p:nvSpPr>
        <p:spPr>
          <a:xfrm>
            <a:off x="9599949" y="1222865"/>
            <a:ext cx="2283118" cy="66396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 y="0"/>
                </a:lnTo>
                <a:lnTo>
                  <a:pt x="21600" y="0"/>
                </a:lnTo>
                <a:lnTo>
                  <a:pt x="21599" y="21600"/>
                </a:lnTo>
                <a:lnTo>
                  <a:pt x="0" y="21600"/>
                </a:lnTo>
                <a:close/>
              </a:path>
            </a:pathLst>
          </a:custGeom>
          <a:solidFill>
            <a:schemeClr val="tx2"/>
          </a:solidFill>
          <a:ln w="12700">
            <a:miter lim="400000"/>
          </a:ln>
        </p:spPr>
        <p:txBody>
          <a:bodyPr lIns="45718" tIns="45718" rIns="45718" bIns="45718" anchor="ctr"/>
          <a:lstStyle/>
          <a:p>
            <a:pPr marL="0" marR="0" lvl="0" indent="0" algn="ctr" defTabSz="914400" rtl="0" eaLnBrk="1" fontAlgn="auto" latinLnBrk="0" hangingPunct="0">
              <a:lnSpc>
                <a:spcPct val="100000"/>
              </a:lnSpc>
              <a:spcBef>
                <a:spcPts val="0"/>
              </a:spcBef>
              <a:spcAft>
                <a:spcPts val="0"/>
              </a:spcAft>
              <a:buClrTx/>
              <a:buSzTx/>
              <a:buFontTx/>
              <a:buNone/>
              <a:tabLst/>
              <a:defRPr sz="1400">
                <a:latin typeface="PFBeauSansPro-Regular"/>
                <a:ea typeface="PFBeauSansPro-Regular"/>
                <a:cs typeface="PFBeauSansPro-Regular"/>
                <a:sym typeface="PFBeauSansPro-Regular"/>
              </a:defRPr>
            </a:pPr>
            <a:endParaRPr kumimoji="0" sz="1400" b="0" i="0" u="none" strike="noStrike" kern="0" cap="none" spc="0" normalizeH="0" baseline="0" noProof="0">
              <a:ln>
                <a:noFill/>
              </a:ln>
              <a:solidFill>
                <a:srgbClr val="FFFFFF"/>
              </a:solidFill>
              <a:effectLst/>
              <a:uLnTx/>
              <a:uFillTx/>
              <a:latin typeface="PFBeauSansPro-Regular"/>
              <a:sym typeface="PFBeauSansPro-Regular"/>
            </a:endParaRPr>
          </a:p>
        </p:txBody>
      </p:sp>
      <p:sp>
        <p:nvSpPr>
          <p:cNvPr id="265" name="DEBTOR RISK ASSESSMENT"/>
          <p:cNvSpPr txBox="1"/>
          <p:nvPr/>
        </p:nvSpPr>
        <p:spPr>
          <a:xfrm>
            <a:off x="6596403" y="1400486"/>
            <a:ext cx="2336536"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lvl1pPr algn="ctr">
              <a:defRPr sz="1600" spc="48">
                <a:latin typeface="Gotham-Bold"/>
                <a:ea typeface="Gotham-Bold"/>
                <a:cs typeface="Gotham-Bold"/>
                <a:sym typeface="Gotham-Bold"/>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pl-PL" sz="1600" b="1" i="0" u="none" strike="noStrike" kern="0" cap="none" spc="48" normalizeH="0" baseline="0" noProof="0" dirty="0">
                <a:ln>
                  <a:noFill/>
                </a:ln>
                <a:solidFill>
                  <a:srgbClr val="FFFFFF"/>
                </a:solidFill>
                <a:effectLst/>
                <a:uLnTx/>
                <a:uFillTx/>
                <a:latin typeface="Arial"/>
                <a:sym typeface="Gotham-Bold"/>
              </a:rPr>
              <a:t>@kreditno mnenje</a:t>
            </a:r>
          </a:p>
        </p:txBody>
      </p:sp>
      <p:sp>
        <p:nvSpPr>
          <p:cNvPr id="266" name="COFACE CREDIT OPINION"/>
          <p:cNvSpPr txBox="1"/>
          <p:nvPr/>
        </p:nvSpPr>
        <p:spPr>
          <a:xfrm>
            <a:off x="9452347" y="1215736"/>
            <a:ext cx="2614672" cy="64633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lvl1pPr algn="ctr">
              <a:defRPr sz="1600" spc="48">
                <a:latin typeface="Gotham-Bold"/>
                <a:ea typeface="Gotham-Bold"/>
                <a:cs typeface="Gotham-Bold"/>
                <a:sym typeface="Gotham-Bold"/>
              </a:defRPr>
            </a:lvl1pPr>
          </a:lstStyle>
          <a:p>
            <a:pPr marL="0" marR="0" lvl="0" indent="0" algn="ctr" defTabSz="685800" rtl="0" eaLnBrk="1" fontAlgn="auto" latinLnBrk="0" hangingPunct="0">
              <a:lnSpc>
                <a:spcPct val="100000"/>
              </a:lnSpc>
              <a:spcBef>
                <a:spcPts val="600"/>
              </a:spcBef>
              <a:spcAft>
                <a:spcPts val="0"/>
              </a:spcAft>
              <a:buClrTx/>
              <a:buSzTx/>
              <a:buFontTx/>
              <a:buNone/>
              <a:tabLst/>
              <a:defRPr/>
            </a:pPr>
            <a:r>
              <a:rPr kumimoji="0" lang="en-US" sz="1400" b="1" i="0" u="none" strike="noStrike" kern="0" cap="none" spc="48" normalizeH="0" baseline="0" noProof="0" dirty="0">
                <a:ln>
                  <a:noFill/>
                </a:ln>
                <a:solidFill>
                  <a:srgbClr val="FFFFFF"/>
                </a:solidFill>
                <a:effectLst/>
                <a:uLnTx/>
                <a:uFillTx/>
                <a:latin typeface="Arial"/>
                <a:sym typeface="Gotham-Bold"/>
              </a:rPr>
              <a:t>NAPREDNO KREDITNO MNENJE (COFACE ADVANCED OPINION)</a:t>
            </a:r>
          </a:p>
        </p:txBody>
      </p:sp>
      <p:sp>
        <p:nvSpPr>
          <p:cNvPr id="278" name="Rectangle 43"/>
          <p:cNvSpPr txBox="1"/>
          <p:nvPr/>
        </p:nvSpPr>
        <p:spPr>
          <a:xfrm>
            <a:off x="390068" y="3889142"/>
            <a:ext cx="1487348" cy="4670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spAutoFit/>
          </a:bodyPr>
          <a:lstStyle>
            <a:lvl1pPr>
              <a:defRPr b="1" spc="65"/>
            </a:lvl1p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sz="1300" b="1" i="0" u="none" strike="noStrike" kern="0" cap="none" spc="65" normalizeH="0" baseline="0" noProof="0" dirty="0">
                <a:ln>
                  <a:noFill/>
                </a:ln>
                <a:solidFill>
                  <a:srgbClr val="FFFFFF"/>
                </a:solidFill>
                <a:effectLst/>
                <a:uLnTx/>
                <a:uFillTx/>
                <a:latin typeface="Arial"/>
                <a:ea typeface="+mn-ea"/>
                <a:cs typeface="+mn-cs"/>
                <a:sym typeface="Arial"/>
              </a:rPr>
              <a:t>DETAILED CONTENT</a:t>
            </a:r>
          </a:p>
        </p:txBody>
      </p:sp>
      <p:pic>
        <p:nvPicPr>
          <p:cNvPr id="280" name="Image" descr="Image"/>
          <p:cNvPicPr>
            <a:picLocks noChangeAspect="1"/>
          </p:cNvPicPr>
          <p:nvPr/>
        </p:nvPicPr>
        <p:blipFill>
          <a:blip r:embed="rId4"/>
          <a:stretch>
            <a:fillRect/>
          </a:stretch>
        </p:blipFill>
        <p:spPr>
          <a:xfrm>
            <a:off x="492620" y="2521593"/>
            <a:ext cx="250201" cy="189808"/>
          </a:xfrm>
          <a:prstGeom prst="rect">
            <a:avLst/>
          </a:prstGeom>
          <a:ln w="12700">
            <a:miter lim="400000"/>
          </a:ln>
        </p:spPr>
      </p:pic>
      <p:pic>
        <p:nvPicPr>
          <p:cNvPr id="28" name="Picture 27"/>
          <p:cNvPicPr>
            <a:picLocks noChangeAspect="1"/>
          </p:cNvPicPr>
          <p:nvPr/>
        </p:nvPicPr>
        <p:blipFill>
          <a:blip r:embed="rId5"/>
          <a:stretch>
            <a:fillRect/>
          </a:stretch>
        </p:blipFill>
        <p:spPr>
          <a:xfrm>
            <a:off x="6392395" y="2431567"/>
            <a:ext cx="2901651" cy="3434935"/>
          </a:xfrm>
          <a:prstGeom prst="rect">
            <a:avLst/>
          </a:prstGeom>
          <a:effectLst>
            <a:outerShdw blurRad="63500" sx="102000" sy="102000" algn="ctr" rotWithShape="0">
              <a:prstClr val="black">
                <a:alpha val="40000"/>
              </a:prstClr>
            </a:outerShdw>
          </a:effectLst>
        </p:spPr>
      </p:pic>
      <p:sp>
        <p:nvSpPr>
          <p:cNvPr id="31" name="Shape"/>
          <p:cNvSpPr/>
          <p:nvPr/>
        </p:nvSpPr>
        <p:spPr>
          <a:xfrm>
            <a:off x="6436553" y="1750751"/>
            <a:ext cx="2656235" cy="555199"/>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4190"/>
                </a:lnTo>
                <a:lnTo>
                  <a:pt x="17593" y="21600"/>
                </a:lnTo>
                <a:lnTo>
                  <a:pt x="0" y="21600"/>
                </a:lnTo>
                <a:lnTo>
                  <a:pt x="0" y="0"/>
                </a:lnTo>
                <a:close/>
              </a:path>
            </a:pathLst>
          </a:custGeom>
          <a:solidFill>
            <a:schemeClr val="bg2">
              <a:lumMod val="20000"/>
              <a:lumOff val="80000"/>
            </a:schemeClr>
          </a:solidFill>
          <a:ln w="12700">
            <a:miter lim="400000"/>
          </a:ln>
        </p:spPr>
        <p:txBody>
          <a:bodyPr lIns="45718" tIns="45718" rIns="45718" bIns="45718" anchor="ct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lang="pl-PL" sz="1200" b="0" i="0" u="none" strike="noStrike" kern="0" cap="none" spc="0" normalizeH="0" baseline="0" noProof="0" dirty="0">
                <a:ln>
                  <a:noFill/>
                </a:ln>
                <a:solidFill>
                  <a:srgbClr val="1226AA">
                    <a:lumMod val="50000"/>
                  </a:srgbClr>
                </a:solidFill>
                <a:effectLst/>
                <a:uLnTx/>
                <a:uFillTx/>
                <a:latin typeface="Arial"/>
                <a:ea typeface="+mn-ea"/>
                <a:cs typeface="+mn-cs"/>
                <a:sym typeface="Arial"/>
              </a:rPr>
              <a:t>Podaja </a:t>
            </a:r>
            <a:r>
              <a:rPr kumimoji="0" lang="pl-PL" sz="1200" b="1" i="0" u="none" strike="noStrike" kern="0" cap="none" spc="0" normalizeH="0" baseline="0" noProof="0" dirty="0">
                <a:ln>
                  <a:noFill/>
                </a:ln>
                <a:solidFill>
                  <a:srgbClr val="1226AA">
                    <a:lumMod val="50000"/>
                  </a:srgbClr>
                </a:solidFill>
                <a:effectLst/>
                <a:uLnTx/>
                <a:uFillTx/>
                <a:latin typeface="Arial"/>
                <a:ea typeface="+mn-ea"/>
                <a:cs typeface="+mn-cs"/>
                <a:sym typeface="Arial"/>
              </a:rPr>
              <a:t>višino</a:t>
            </a:r>
            <a:r>
              <a:rPr kumimoji="0" lang="pl-PL" sz="1200" b="0" i="0" u="none" strike="noStrike" kern="0" cap="none" spc="0" normalizeH="0" baseline="0" noProof="0" dirty="0">
                <a:ln>
                  <a:noFill/>
                </a:ln>
                <a:solidFill>
                  <a:srgbClr val="1226AA">
                    <a:lumMod val="50000"/>
                  </a:srgbClr>
                </a:solidFill>
                <a:effectLst/>
                <a:uLnTx/>
                <a:uFillTx/>
                <a:latin typeface="Arial"/>
                <a:ea typeface="+mn-ea"/>
                <a:cs typeface="+mn-cs"/>
                <a:sym typeface="Arial"/>
              </a:rPr>
              <a:t> priporočene izpostavljenosti do največ </a:t>
            </a:r>
            <a:r>
              <a:rPr kumimoji="0" lang="pl-PL" sz="1200" b="1" i="0" u="none" strike="noStrike" kern="0" cap="none" spc="0" normalizeH="0" baseline="0" noProof="0" dirty="0">
                <a:ln>
                  <a:noFill/>
                </a:ln>
                <a:solidFill>
                  <a:srgbClr val="1226AA">
                    <a:lumMod val="50000"/>
                  </a:srgbClr>
                </a:solidFill>
                <a:effectLst/>
                <a:uLnTx/>
                <a:uFillTx/>
                <a:latin typeface="Arial"/>
                <a:ea typeface="+mn-ea"/>
                <a:cs typeface="+mn-cs"/>
                <a:sym typeface="Arial"/>
              </a:rPr>
              <a:t>100.000 €</a:t>
            </a:r>
          </a:p>
        </p:txBody>
      </p:sp>
      <p:sp>
        <p:nvSpPr>
          <p:cNvPr id="34" name="Shape"/>
          <p:cNvSpPr/>
          <p:nvPr/>
        </p:nvSpPr>
        <p:spPr>
          <a:xfrm>
            <a:off x="9610581" y="1896564"/>
            <a:ext cx="2251220" cy="48444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0"/>
                </a:lnTo>
                <a:lnTo>
                  <a:pt x="21600" y="14190"/>
                </a:lnTo>
                <a:lnTo>
                  <a:pt x="17593" y="21600"/>
                </a:lnTo>
                <a:lnTo>
                  <a:pt x="0" y="21600"/>
                </a:lnTo>
                <a:lnTo>
                  <a:pt x="0" y="0"/>
                </a:lnTo>
                <a:close/>
              </a:path>
            </a:pathLst>
          </a:custGeom>
          <a:solidFill>
            <a:schemeClr val="tx2">
              <a:lumMod val="20000"/>
              <a:lumOff val="80000"/>
            </a:schemeClr>
          </a:solidFill>
          <a:ln w="12700">
            <a:miter lim="400000"/>
          </a:ln>
        </p:spPr>
        <p:txBody>
          <a:bodyPr lIns="45718" tIns="45718" rIns="45718" bIns="45718" anchor="ctr"/>
          <a:lstStyle/>
          <a:p>
            <a:pPr marL="0" marR="0" lvl="3" indent="0" algn="l" defTabSz="685800" rtl="0" eaLnBrk="1" fontAlgn="auto" latinLnBrk="0" hangingPunct="0">
              <a:lnSpc>
                <a:spcPct val="100000"/>
              </a:lnSpc>
              <a:spcBef>
                <a:spcPts val="600"/>
              </a:spcBef>
              <a:spcAft>
                <a:spcPts val="0"/>
              </a:spcAft>
              <a:buClrTx/>
              <a:buSzTx/>
              <a:buFontTx/>
              <a:buNone/>
              <a:tabLst/>
              <a:defRPr/>
            </a:pPr>
            <a:r>
              <a:rPr kumimoji="0" lang="sl-SI" sz="1200" b="0" i="0" u="none" strike="noStrike" kern="0" cap="none" spc="0" normalizeH="0" baseline="0" noProof="0" dirty="0">
                <a:ln>
                  <a:noFill/>
                </a:ln>
                <a:solidFill>
                  <a:srgbClr val="1226AA">
                    <a:lumMod val="50000"/>
                  </a:srgbClr>
                </a:solidFill>
                <a:effectLst/>
                <a:uLnTx/>
                <a:uFillTx/>
                <a:latin typeface="Gotham Medium" panose="02000604030000020004" pitchFamily="50" charset="0"/>
                <a:ea typeface="+mn-ea"/>
                <a:cs typeface="+mn-cs"/>
                <a:sym typeface="Arial"/>
              </a:rPr>
              <a:t>Podaja individualno priporočen znesek odprtih terjatev</a:t>
            </a:r>
          </a:p>
        </p:txBody>
      </p:sp>
      <p:sp>
        <p:nvSpPr>
          <p:cNvPr id="23" name="OBJECTIVE"/>
          <p:cNvSpPr txBox="1"/>
          <p:nvPr/>
        </p:nvSpPr>
        <p:spPr>
          <a:xfrm>
            <a:off x="611472" y="1142089"/>
            <a:ext cx="2612640"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spAutoFit/>
          </a:bodyPr>
          <a:lstStyle>
            <a:lvl1pPr>
              <a:defRPr sz="1800" b="1" spc="90"/>
            </a:lvl1pPr>
          </a:lstStyle>
          <a:p>
            <a:pPr marL="0" marR="0" lvl="0" indent="0" algn="l" defTabSz="685800" rtl="0" eaLnBrk="1" fontAlgn="auto" latinLnBrk="0" hangingPunct="0">
              <a:lnSpc>
                <a:spcPct val="100000"/>
              </a:lnSpc>
              <a:spcBef>
                <a:spcPts val="600"/>
              </a:spcBef>
              <a:spcAft>
                <a:spcPts val="0"/>
              </a:spcAft>
              <a:buClrTx/>
              <a:buSzTx/>
              <a:buFontTx/>
              <a:buNone/>
              <a:tabLst/>
              <a:defRPr/>
            </a:pPr>
            <a:r>
              <a:rPr kumimoji="0" lang="pl-PL" sz="1800" b="1" i="0" u="none" strike="noStrike" kern="0" cap="none" spc="90" normalizeH="0" baseline="0" noProof="0" dirty="0">
                <a:ln>
                  <a:noFill/>
                </a:ln>
                <a:solidFill>
                  <a:srgbClr val="FFFFFF"/>
                </a:solidFill>
                <a:effectLst/>
                <a:uLnTx/>
                <a:uFillTx/>
                <a:latin typeface="Arial"/>
                <a:ea typeface="+mn-ea"/>
                <a:cs typeface="+mn-cs"/>
                <a:sym typeface="Arial"/>
              </a:rPr>
              <a:t>DRA</a:t>
            </a:r>
            <a:endParaRPr kumimoji="0" sz="1800" b="1" i="0" u="none" strike="noStrike" kern="0" cap="none" spc="90" normalizeH="0" baseline="0" noProof="0" dirty="0">
              <a:ln>
                <a:noFill/>
              </a:ln>
              <a:solidFill>
                <a:srgbClr val="FFFFFF"/>
              </a:solidFill>
              <a:effectLst/>
              <a:uLnTx/>
              <a:uFillTx/>
              <a:latin typeface="Arial"/>
              <a:ea typeface="+mn-ea"/>
              <a:cs typeface="+mn-cs"/>
              <a:sym typeface="Arial"/>
            </a:endParaRPr>
          </a:p>
        </p:txBody>
      </p:sp>
      <p:sp>
        <p:nvSpPr>
          <p:cNvPr id="25" name="Access commercial risk scores and exclusive sector and economic analysis"/>
          <p:cNvSpPr txBox="1"/>
          <p:nvPr/>
        </p:nvSpPr>
        <p:spPr>
          <a:xfrm>
            <a:off x="588132" y="2668124"/>
            <a:ext cx="2874387" cy="3454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72000" tIns="72000" rIns="72000" bIns="72000">
            <a:spAutoFit/>
          </a:bodyPr>
          <a:lstStyle>
            <a:lvl1pPr>
              <a:spcBef>
                <a:spcPts val="0"/>
              </a:spcBef>
              <a:defRPr>
                <a:solidFill>
                  <a:srgbClr val="43517A"/>
                </a:solidFill>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endParaRPr kumimoji="0" sz="1300" b="0" i="0" u="none" strike="noStrike" kern="0" cap="none" spc="0" normalizeH="0" baseline="0" noProof="0" dirty="0">
              <a:ln>
                <a:noFill/>
              </a:ln>
              <a:solidFill>
                <a:srgbClr val="43517A"/>
              </a:solidFill>
              <a:effectLst/>
              <a:uLnTx/>
              <a:uFillTx/>
              <a:latin typeface="Arial"/>
              <a:ea typeface="+mn-ea"/>
              <a:cs typeface="+mn-cs"/>
              <a:sym typeface="Arial"/>
            </a:endParaRPr>
          </a:p>
        </p:txBody>
      </p:sp>
      <p:sp>
        <p:nvSpPr>
          <p:cNvPr id="4" name="Title 3"/>
          <p:cNvSpPr>
            <a:spLocks noGrp="1"/>
          </p:cNvSpPr>
          <p:nvPr>
            <p:ph type="title"/>
          </p:nvPr>
        </p:nvSpPr>
        <p:spPr>
          <a:xfrm>
            <a:off x="741529" y="440971"/>
            <a:ext cx="10942471" cy="480131"/>
          </a:xfrm>
        </p:spPr>
        <p:txBody>
          <a:bodyPr/>
          <a:lstStyle/>
          <a:p>
            <a:r>
              <a:rPr lang="sl-SI" dirty="0"/>
              <a:t>Dve vrsti </a:t>
            </a:r>
            <a:r>
              <a:rPr lang="sl-SI" dirty="0">
                <a:solidFill>
                  <a:schemeClr val="tx2"/>
                </a:solidFill>
              </a:rPr>
              <a:t>kreditnih mnenj</a:t>
            </a:r>
          </a:p>
        </p:txBody>
      </p:sp>
      <p:sp>
        <p:nvSpPr>
          <p:cNvPr id="3" name="Slide Number Placeholder 2"/>
          <p:cNvSpPr>
            <a:spLocks noGrp="1"/>
          </p:cNvSpPr>
          <p:nvPr>
            <p:ph type="sldNum" sz="quarter" idx="4294967295"/>
          </p:nvPr>
        </p:nvSpPr>
        <p:spPr>
          <a:xfrm>
            <a:off x="11861800" y="6423025"/>
            <a:ext cx="330200" cy="307975"/>
          </a:xfrm>
          <a:prstGeom prst="rect">
            <a:avLst/>
          </a:prstGeom>
        </p:spPr>
        <p:txBody>
          <a:bodyPr/>
          <a:lstStyle/>
          <a:p>
            <a:pPr marL="0" marR="0" lvl="0" indent="0" algn="l" defTabSz="685800" rtl="0" eaLnBrk="1" fontAlgn="auto" latinLnBrk="0" hangingPunct="0">
              <a:lnSpc>
                <a:spcPct val="100000"/>
              </a:lnSpc>
              <a:spcBef>
                <a:spcPts val="600"/>
              </a:spcBef>
              <a:spcAft>
                <a:spcPts val="0"/>
              </a:spcAft>
              <a:buClrTx/>
              <a:buSzTx/>
              <a:buFontTx/>
              <a:buNone/>
              <a:tabLst/>
              <a:defRPr/>
            </a:pPr>
            <a:fld id="{86CB4B4D-7CA3-9044-876B-883B54F8677D}" type="slidenum">
              <a:rPr kumimoji="0" lang="en-GB" sz="1300" b="0" i="0" u="none" strike="noStrike" kern="0" cap="none" spc="0" normalizeH="0" baseline="0" noProof="0" smtClean="0">
                <a:ln>
                  <a:noFill/>
                </a:ln>
                <a:solidFill>
                  <a:srgbClr val="FFFFFF"/>
                </a:solidFill>
                <a:effectLst/>
                <a:uLnTx/>
                <a:uFillTx/>
                <a:latin typeface="Arial"/>
                <a:ea typeface="+mn-ea"/>
                <a:cs typeface="+mn-cs"/>
                <a:sym typeface="Arial"/>
              </a:rPr>
              <a:pPr marL="0" marR="0" lvl="0" indent="0" algn="l" defTabSz="685800" rtl="0" eaLnBrk="1" fontAlgn="auto" latinLnBrk="0" hangingPunct="0">
                <a:lnSpc>
                  <a:spcPct val="100000"/>
                </a:lnSpc>
                <a:spcBef>
                  <a:spcPts val="600"/>
                </a:spcBef>
                <a:spcAft>
                  <a:spcPts val="0"/>
                </a:spcAft>
                <a:buClrTx/>
                <a:buSzTx/>
                <a:buFontTx/>
                <a:buNone/>
                <a:tabLst/>
                <a:defRPr/>
              </a:pPr>
              <a:t>16</a:t>
            </a:fld>
            <a:endParaRPr kumimoji="0" lang="en-GB" sz="1300" b="0" i="0" u="none" strike="noStrike" kern="0" cap="none" spc="0" normalizeH="0" baseline="0" noProof="0" dirty="0">
              <a:ln>
                <a:noFill/>
              </a:ln>
              <a:solidFill>
                <a:srgbClr val="FFFFFF"/>
              </a:solidFill>
              <a:effectLst/>
              <a:uLnTx/>
              <a:uFillTx/>
              <a:latin typeface="Arial"/>
              <a:ea typeface="+mn-ea"/>
              <a:cs typeface="+mn-cs"/>
              <a:sym typeface="Arial"/>
            </a:endParaRPr>
          </a:p>
        </p:txBody>
      </p:sp>
      <p:sp>
        <p:nvSpPr>
          <p:cNvPr id="48" name="Rectangle 47"/>
          <p:cNvSpPr/>
          <p:nvPr/>
        </p:nvSpPr>
        <p:spPr>
          <a:xfrm>
            <a:off x="321611" y="2791570"/>
            <a:ext cx="2410956" cy="1833594"/>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49" name="The Debtor Risk Assessment (DRA) evaluates a company's capacity to honor its financial obligations."/>
          <p:cNvSpPr txBox="1"/>
          <p:nvPr/>
        </p:nvSpPr>
        <p:spPr>
          <a:xfrm>
            <a:off x="390069" y="3216549"/>
            <a:ext cx="2179948" cy="106873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2000" tIns="72000" rIns="72000" bIns="72000">
            <a:spAutoFit/>
          </a:bodyPr>
          <a:lstStyle>
            <a:lvl1pPr>
              <a:spcBef>
                <a:spcPts val="0"/>
              </a:spcBef>
              <a:defRPr>
                <a:solidFill>
                  <a:srgbClr val="43517A"/>
                </a:solidFill>
              </a:defRPr>
            </a:lvl1pPr>
          </a:lstStyle>
          <a:p>
            <a:pPr marL="0" marR="0" lvl="0" indent="0" algn="l" defTabSz="685800" rtl="0" eaLnBrk="1" fontAlgn="auto" latinLnBrk="0" hangingPunct="0">
              <a:lnSpc>
                <a:spcPct val="100000"/>
              </a:lnSpc>
              <a:spcBef>
                <a:spcPts val="0"/>
              </a:spcBef>
              <a:spcAft>
                <a:spcPts val="0"/>
              </a:spcAft>
              <a:buClrTx/>
              <a:buSzTx/>
              <a:buFontTx/>
              <a:buNone/>
              <a:tabLst/>
              <a:defRPr/>
            </a:pPr>
            <a:r>
              <a:rPr kumimoji="0" lang="sl-SI" sz="1200" b="0" i="0" u="none" strike="noStrike" kern="0" cap="none" spc="0" normalizeH="0" baseline="0" noProof="0" dirty="0">
                <a:ln>
                  <a:noFill/>
                </a:ln>
                <a:solidFill>
                  <a:srgbClr val="43517A"/>
                </a:solidFill>
                <a:effectLst/>
                <a:uLnTx/>
                <a:uFillTx/>
                <a:latin typeface="Arial"/>
                <a:ea typeface="+mn-ea"/>
                <a:cs typeface="+mn-cs"/>
                <a:sym typeface="Arial"/>
              </a:rPr>
              <a:t>Podaja mnenje naših ocenjevalcev tveganj glede priporočenega najvišjega  obsega odprtih terjatev, DRA in ocene tveganja države</a:t>
            </a:r>
          </a:p>
        </p:txBody>
      </p:sp>
      <p:sp>
        <p:nvSpPr>
          <p:cNvPr id="50" name="Rectangle 49"/>
          <p:cNvSpPr/>
          <p:nvPr/>
        </p:nvSpPr>
        <p:spPr>
          <a:xfrm>
            <a:off x="558268" y="1956652"/>
            <a:ext cx="1981884" cy="1047407"/>
          </a:xfrm>
          <a:prstGeom prst="rect">
            <a:avLst/>
          </a:prstGeom>
          <a:solidFill>
            <a:schemeClr val="tx2"/>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1" name="Monitored Debtor Risk Assessment or DRA (Score)"/>
          <p:cNvSpPr txBox="1"/>
          <p:nvPr/>
        </p:nvSpPr>
        <p:spPr>
          <a:xfrm>
            <a:off x="603536" y="2130560"/>
            <a:ext cx="1950568" cy="57629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72000" tIns="72000" rIns="72000" bIns="72000">
            <a:spAutoFit/>
          </a:bodyPr>
          <a:lstStyle>
            <a:lvl1pPr>
              <a:defRPr sz="1400" b="1" cap="all" spc="42">
                <a:solidFill>
                  <a:srgbClr val="5CB78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hr-HR" sz="1400" b="1" i="0" u="none" strike="noStrike" kern="0" cap="all" spc="42" normalizeH="0" baseline="0" noProof="0" dirty="0">
                <a:ln>
                  <a:noFill/>
                </a:ln>
                <a:solidFill>
                  <a:prstClr val="white"/>
                </a:solidFill>
                <a:effectLst/>
                <a:uLnTx/>
                <a:uFillTx/>
                <a:latin typeface="Arial"/>
                <a:ea typeface="+mn-ea"/>
                <a:cs typeface="+mn-cs"/>
                <a:sym typeface="Arial"/>
              </a:rPr>
              <a:t>Coface kreditno mnenje</a:t>
            </a:r>
          </a:p>
        </p:txBody>
      </p:sp>
      <p:sp>
        <p:nvSpPr>
          <p:cNvPr id="52" name="Rectangle 51"/>
          <p:cNvSpPr/>
          <p:nvPr/>
        </p:nvSpPr>
        <p:spPr>
          <a:xfrm>
            <a:off x="3139312" y="2691439"/>
            <a:ext cx="2849244" cy="2808609"/>
          </a:xfrm>
          <a:prstGeom prst="rect">
            <a:avLst/>
          </a:prstGeom>
          <a:solidFill>
            <a:sysClr val="window" lastClr="FFFFFF"/>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sym typeface="Arial"/>
            </a:endParaRPr>
          </a:p>
        </p:txBody>
      </p:sp>
      <p:sp>
        <p:nvSpPr>
          <p:cNvPr id="53" name="Rectangle 52"/>
          <p:cNvSpPr/>
          <p:nvPr/>
        </p:nvSpPr>
        <p:spPr>
          <a:xfrm>
            <a:off x="3393786" y="1559792"/>
            <a:ext cx="2337185" cy="1282147"/>
          </a:xfrm>
          <a:prstGeom prst="rect">
            <a:avLst/>
          </a:prstGeom>
          <a:solidFill>
            <a:srgbClr val="1C355E"/>
          </a:solidFill>
          <a:ln w="12700" cap="flat" cmpd="sng" algn="ctr">
            <a:noFill/>
            <a:prstDash val="solid"/>
            <a:miter lim="800000"/>
          </a:ln>
          <a:effectLst>
            <a:outerShdw blurRad="63500" sx="102000" sy="102000" algn="ctr"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Arial"/>
              <a:ea typeface="+mn-ea"/>
              <a:cs typeface="+mn-cs"/>
              <a:sym typeface="Arial"/>
            </a:endParaRPr>
          </a:p>
        </p:txBody>
      </p:sp>
      <p:sp>
        <p:nvSpPr>
          <p:cNvPr id="54" name="Rectangle 53"/>
          <p:cNvSpPr/>
          <p:nvPr/>
        </p:nvSpPr>
        <p:spPr>
          <a:xfrm>
            <a:off x="3574881" y="1774853"/>
            <a:ext cx="2082621"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hr-HR" sz="1400" b="1" i="0" u="none" strike="noStrike" kern="0" cap="none" spc="0" normalizeH="0" baseline="0" noProof="0" dirty="0">
                <a:ln>
                  <a:noFill/>
                </a:ln>
                <a:solidFill>
                  <a:prstClr val="white"/>
                </a:solidFill>
                <a:effectLst/>
                <a:uLnTx/>
                <a:uFillTx/>
                <a:latin typeface="Arial"/>
                <a:ea typeface="+mn-ea"/>
                <a:cs typeface="+mn-cs"/>
                <a:sym typeface="Arial"/>
              </a:rPr>
              <a:t>PODROBNA VSEBINA</a:t>
            </a:r>
          </a:p>
        </p:txBody>
      </p:sp>
      <p:sp>
        <p:nvSpPr>
          <p:cNvPr id="56" name="Rectangle 55"/>
          <p:cNvSpPr/>
          <p:nvPr/>
        </p:nvSpPr>
        <p:spPr>
          <a:xfrm>
            <a:off x="3139312" y="3070873"/>
            <a:ext cx="2849244" cy="2287999"/>
          </a:xfrm>
          <a:prstGeom prst="rect">
            <a:avLst/>
          </a:prstGeom>
        </p:spPr>
        <p:txBody>
          <a:bodyPr wrap="square">
            <a:spAutoFit/>
          </a:bodyPr>
          <a:lstStyle/>
          <a:p>
            <a:pPr marL="171450" marR="0" lvl="0" indent="-171450" algn="l" defTabSz="685800" rtl="0" eaLnBrk="1" fontAlgn="auto" latinLnBrk="0" hangingPunct="0">
              <a:lnSpc>
                <a:spcPct val="120000"/>
              </a:lnSpc>
              <a:spcBef>
                <a:spcPts val="0"/>
              </a:spcBef>
              <a:spcAft>
                <a:spcPts val="0"/>
              </a:spcAft>
              <a:buClrTx/>
              <a:buSzPct val="100000"/>
              <a:buFont typeface="Wingdings" panose="05000000000000000000" pitchFamily="2" charset="2"/>
              <a:buChar char="Ø"/>
              <a:tabLst/>
              <a:defRPr sz="1200">
                <a:solidFill>
                  <a:srgbClr val="43517A"/>
                </a:solidFill>
              </a:defRPr>
            </a:pPr>
            <a:r>
              <a:rPr kumimoji="0" lang="sl-SI" sz="1200" b="0" i="0" u="none" strike="noStrike" kern="0" cap="none" spc="0" normalizeH="0" baseline="0" noProof="0" dirty="0" err="1">
                <a:ln>
                  <a:noFill/>
                </a:ln>
                <a:solidFill>
                  <a:srgbClr val="43517A"/>
                </a:solidFill>
                <a:effectLst/>
                <a:uLnTx/>
                <a:uFillTx/>
                <a:latin typeface="Arial"/>
                <a:ea typeface="+mn-ea"/>
                <a:cs typeface="Arial" panose="020B0604020202020204" pitchFamily="34" charset="0"/>
                <a:sym typeface="Arial"/>
              </a:rPr>
              <a:t>Coface</a:t>
            </a:r>
            <a:r>
              <a:rPr kumimoji="0" lang="sl-SI" sz="1200" b="0" i="0" u="none" strike="noStrike" kern="0" cap="none" spc="0" normalizeH="0" baseline="0" noProof="0" dirty="0">
                <a:ln>
                  <a:noFill/>
                </a:ln>
                <a:solidFill>
                  <a:srgbClr val="43517A"/>
                </a:solidFill>
                <a:effectLst/>
                <a:uLnTx/>
                <a:uFillTx/>
                <a:latin typeface="Arial"/>
                <a:ea typeface="+mn-ea"/>
                <a:cs typeface="Arial" panose="020B0604020202020204" pitchFamily="34" charset="0"/>
                <a:sym typeface="Arial"/>
              </a:rPr>
              <a:t> kreditno priporočilo: največja možna izpostavljenost do dobavitelja, ki dobavlja blago ali izvaja storitve na odprt račun</a:t>
            </a:r>
          </a:p>
          <a:p>
            <a:pPr marL="171450" marR="0" lvl="0" indent="-171450" algn="l" defTabSz="685800" rtl="0" eaLnBrk="1" fontAlgn="auto" latinLnBrk="0" hangingPunct="0">
              <a:lnSpc>
                <a:spcPct val="120000"/>
              </a:lnSpc>
              <a:spcBef>
                <a:spcPts val="0"/>
              </a:spcBef>
              <a:spcAft>
                <a:spcPts val="0"/>
              </a:spcAft>
              <a:buClrTx/>
              <a:buSzPct val="100000"/>
              <a:buFont typeface="Wingdings" panose="05000000000000000000" pitchFamily="2" charset="2"/>
              <a:buChar char="Ø"/>
              <a:tabLst/>
              <a:defRPr sz="1200">
                <a:solidFill>
                  <a:srgbClr val="43517A"/>
                </a:solidFill>
              </a:defRPr>
            </a:pPr>
            <a:r>
              <a:rPr kumimoji="0" lang="sl-SI" sz="1200" b="0" i="0" u="none" strike="noStrike" kern="0" cap="none" spc="0" normalizeH="0" baseline="0" noProof="0" dirty="0">
                <a:ln>
                  <a:noFill/>
                </a:ln>
                <a:solidFill>
                  <a:srgbClr val="43517A"/>
                </a:solidFill>
                <a:effectLst/>
                <a:uLnTx/>
                <a:uFillTx/>
                <a:latin typeface="Arial"/>
                <a:ea typeface="+mn-ea"/>
                <a:cs typeface="Arial" panose="020B0604020202020204" pitchFamily="34" charset="0"/>
                <a:sym typeface="Arial"/>
              </a:rPr>
              <a:t>Ocena tveganja dolžnika (DRA)</a:t>
            </a:r>
          </a:p>
          <a:p>
            <a:pPr marL="171450" marR="0" lvl="0" indent="-171450" algn="l" defTabSz="685800" rtl="0" eaLnBrk="1" fontAlgn="auto" latinLnBrk="0" hangingPunct="0">
              <a:lnSpc>
                <a:spcPct val="120000"/>
              </a:lnSpc>
              <a:spcBef>
                <a:spcPts val="0"/>
              </a:spcBef>
              <a:spcAft>
                <a:spcPts val="0"/>
              </a:spcAft>
              <a:buClrTx/>
              <a:buSzPct val="100000"/>
              <a:buFont typeface="Wingdings" panose="05000000000000000000" pitchFamily="2" charset="2"/>
              <a:buChar char="Ø"/>
              <a:tabLst/>
              <a:defRPr sz="1200">
                <a:solidFill>
                  <a:srgbClr val="43517A"/>
                </a:solidFill>
              </a:defRPr>
            </a:pPr>
            <a:r>
              <a:rPr kumimoji="0" lang="sl-SI" sz="1200" b="0" i="0" u="none" strike="noStrike" kern="0" cap="none" spc="0" normalizeH="0" baseline="0" noProof="0" dirty="0">
                <a:ln>
                  <a:noFill/>
                </a:ln>
                <a:solidFill>
                  <a:srgbClr val="43517A"/>
                </a:solidFill>
                <a:effectLst/>
                <a:uLnTx/>
                <a:uFillTx/>
                <a:latin typeface="Arial"/>
                <a:ea typeface="+mn-ea"/>
                <a:cs typeface="Arial" panose="020B0604020202020204" pitchFamily="34" charset="0"/>
                <a:sym typeface="Arial"/>
              </a:rPr>
              <a:t>Ocena tveganja države: celovita ocena tveganj podjetij v posamezni državi, prikazana na 8-stopenjski lestvici od A1 do E. Na voljo za 162 držav.</a:t>
            </a:r>
          </a:p>
        </p:txBody>
      </p:sp>
    </p:spTree>
    <p:extLst>
      <p:ext uri="{BB962C8B-B14F-4D97-AF65-F5344CB8AC3E}">
        <p14:creationId xmlns:p14="http://schemas.microsoft.com/office/powerpoint/2010/main" val="4096883437"/>
      </p:ext>
    </p:extLst>
  </p:cSld>
  <p:clrMapOvr>
    <a:masterClrMapping/>
  </p:clrMapOvr>
  <mc:AlternateContent xmlns:mc="http://schemas.openxmlformats.org/markup-compatibility/2006" xmlns:p14="http://schemas.microsoft.com/office/powerpoint/2010/main">
    <mc:Choice Requires="p14">
      <p:transition spd="slow">
        <p:fade/>
      </p:transition>
    </mc:Choice>
    <mc:Fallback xmlns="" xmlns:m="http://schemas.openxmlformats.org/officeDocument/2006/math" xmlns:a14="http://schemas.microsoft.com/office/drawing/2010/main">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89156E4-9C44-4B4E-95DB-C8F590C182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44" name="Diapositive think-cell" r:id="rId5" imgW="532" imgH="530" progId="TCLayout.ActiveDocument.1">
                  <p:embed/>
                </p:oleObj>
              </mc:Choice>
              <mc:Fallback>
                <p:oleObj name="Diapositive think-cell" r:id="rId5" imgW="532" imgH="530" progId="TCLayout.ActiveDocument.1">
                  <p:embed/>
                  <p:pic>
                    <p:nvPicPr>
                      <p:cNvPr id="8" name="Objet 7" hidden="1">
                        <a:extLst>
                          <a:ext uri="{FF2B5EF4-FFF2-40B4-BE49-F238E27FC236}">
                            <a16:creationId xmlns:a16="http://schemas.microsoft.com/office/drawing/2014/main" id="{689156E4-9C44-4B4E-95DB-C8F590C182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AC2EFB11-94F7-44A2-9A1E-41B136046292}"/>
              </a:ext>
            </a:extLst>
          </p:cNvPr>
          <p:cNvSpPr>
            <a:spLocks noGrp="1"/>
          </p:cNvSpPr>
          <p:nvPr>
            <p:ph type="title"/>
          </p:nvPr>
        </p:nvSpPr>
        <p:spPr>
          <a:xfrm>
            <a:off x="741529" y="564775"/>
            <a:ext cx="10942471" cy="480131"/>
          </a:xfrm>
        </p:spPr>
        <p:txBody>
          <a:bodyPr vert="horz"/>
          <a:lstStyle/>
          <a:p>
            <a:r>
              <a:rPr lang="sl-SI" dirty="0"/>
              <a:t>IZTERJAVA DOLGOV</a:t>
            </a:r>
            <a:endParaRPr lang="en-GB" dirty="0">
              <a:solidFill>
                <a:schemeClr val="tx2"/>
              </a:solidFill>
            </a:endParaRPr>
          </a:p>
        </p:txBody>
      </p:sp>
      <p:sp>
        <p:nvSpPr>
          <p:cNvPr id="5" name="Espace réservé du texte 4">
            <a:extLst>
              <a:ext uri="{FF2B5EF4-FFF2-40B4-BE49-F238E27FC236}">
                <a16:creationId xmlns:a16="http://schemas.microsoft.com/office/drawing/2014/main" id="{5ED4CC6E-C633-4CA1-8415-DBA022E892FD}"/>
              </a:ext>
            </a:extLst>
          </p:cNvPr>
          <p:cNvSpPr>
            <a:spLocks noGrp="1"/>
          </p:cNvSpPr>
          <p:nvPr>
            <p:ph type="body" sz="quarter" idx="10"/>
          </p:nvPr>
        </p:nvSpPr>
        <p:spPr>
          <a:xfrm>
            <a:off x="544606" y="1156447"/>
            <a:ext cx="11264900" cy="4827495"/>
          </a:xfrm>
        </p:spPr>
        <p:txBody>
          <a:bodyPr/>
          <a:lstStyle/>
          <a:p>
            <a:pPr lvl="1"/>
            <a:endParaRPr lang="sl-SI" dirty="0"/>
          </a:p>
          <a:p>
            <a:pPr lvl="1"/>
            <a:endParaRPr lang="sl-SI" dirty="0"/>
          </a:p>
          <a:p>
            <a:pPr lvl="1"/>
            <a:r>
              <a:rPr lang="sl-SI" sz="2000" b="1" dirty="0"/>
              <a:t>Svetovna pokritost – mednarodna izterjava: </a:t>
            </a:r>
            <a:r>
              <a:rPr lang="sl-SI" sz="2000" dirty="0"/>
              <a:t>pokrivamo več kot 190 držav, nudimo izvensodno iz sodno izterjavo.</a:t>
            </a:r>
          </a:p>
          <a:p>
            <a:pPr lvl="1"/>
            <a:endParaRPr lang="sl-SI" sz="2000" dirty="0"/>
          </a:p>
          <a:p>
            <a:pPr lvl="1"/>
            <a:r>
              <a:rPr lang="sl-SI" sz="2000" b="1" dirty="0"/>
              <a:t>Lokalni pristop: </a:t>
            </a:r>
            <a:r>
              <a:rPr lang="sl-SI" sz="2000" dirty="0"/>
              <a:t>dolžniki se preko lokalne agencije izterjujejo v državi, kjer se nahajajo. </a:t>
            </a:r>
          </a:p>
          <a:p>
            <a:pPr lvl="1"/>
            <a:endParaRPr lang="sl-SI" sz="2000" dirty="0"/>
          </a:p>
          <a:p>
            <a:pPr lvl="1"/>
            <a:r>
              <a:rPr lang="sl-SI" sz="2000" b="1" dirty="0"/>
              <a:t>Profesionalni odnos: </a:t>
            </a:r>
            <a:r>
              <a:rPr lang="sl-SI" sz="2000" dirty="0"/>
              <a:t>s korektnim odnosom do neplačnikov poskrbimo, da stranka ohrani poslovne partnerje in tako celo izboljša sodelovanje z njimi.</a:t>
            </a:r>
          </a:p>
          <a:p>
            <a:pPr lvl="1"/>
            <a:endParaRPr lang="sl-SI" sz="2000" dirty="0"/>
          </a:p>
          <a:p>
            <a:pPr lvl="1"/>
            <a:r>
              <a:rPr lang="sl-SI" sz="2000" b="1" dirty="0"/>
              <a:t>Plačilo provizije izključno le ob uspešni izterjavi </a:t>
            </a:r>
            <a:r>
              <a:rPr lang="sl-SI" sz="2000" dirty="0"/>
              <a:t>(brez začetnih stroškov).</a:t>
            </a:r>
          </a:p>
          <a:p>
            <a:endParaRPr lang="sl-SI" sz="2000"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solidFill>
                <a:srgbClr val="FF0000"/>
              </a:solidFill>
            </a:endParaRPr>
          </a:p>
          <a:p>
            <a:pPr lvl="1"/>
            <a:endParaRPr lang="sl-SI" dirty="0">
              <a:solidFill>
                <a:srgbClr val="FF0000"/>
              </a:solidFill>
            </a:endParaRPr>
          </a:p>
          <a:p>
            <a:pPr lvl="1"/>
            <a:endParaRPr lang="sl-SI" dirty="0"/>
          </a:p>
          <a:p>
            <a:pPr lvl="1"/>
            <a:endParaRPr lang="sl-SI" dirty="0"/>
          </a:p>
          <a:p>
            <a:pPr lvl="1"/>
            <a:endParaRPr lang="sl-SI" dirty="0"/>
          </a:p>
          <a:p>
            <a:pPr marL="755650" lvl="3" indent="0">
              <a:buNone/>
            </a:pPr>
            <a:endParaRPr lang="sl-SI" dirty="0"/>
          </a:p>
        </p:txBody>
      </p:sp>
      <p:pic>
        <p:nvPicPr>
          <p:cNvPr id="12" name="Graphique 11">
            <a:extLst>
              <a:ext uri="{FF2B5EF4-FFF2-40B4-BE49-F238E27FC236}">
                <a16:creationId xmlns:a16="http://schemas.microsoft.com/office/drawing/2014/main" id="{9F974B59-B121-4C34-BB68-71E0857FCE3D}"/>
              </a:ext>
            </a:extLst>
          </p:cNvPr>
          <p:cNvPicPr>
            <a:picLocks noChangeAspect="1"/>
          </p:cNvPicPr>
          <p:nvPr/>
        </p:nvPicPr>
        <p:blipFill>
          <a:blip r:embed="rId7"/>
          <a:stretch>
            <a:fillRect/>
          </a:stretch>
        </p:blipFill>
        <p:spPr>
          <a:xfrm>
            <a:off x="0" y="6126385"/>
            <a:ext cx="2659139" cy="731615"/>
          </a:xfrm>
          <a:prstGeom prst="rect">
            <a:avLst/>
          </a:prstGeom>
        </p:spPr>
      </p:pic>
      <p:sp>
        <p:nvSpPr>
          <p:cNvPr id="15" name="Graphique 13">
            <a:extLst>
              <a:ext uri="{FF2B5EF4-FFF2-40B4-BE49-F238E27FC236}">
                <a16:creationId xmlns:a16="http://schemas.microsoft.com/office/drawing/2014/main" id="{038F299F-333D-404F-A5B1-0EFF554470E0}"/>
              </a:ext>
            </a:extLst>
          </p:cNvPr>
          <p:cNvSpPr/>
          <p:nvPr/>
        </p:nvSpPr>
        <p:spPr>
          <a:xfrm>
            <a:off x="9535886" y="0"/>
            <a:ext cx="2656114" cy="728519"/>
          </a:xfrm>
          <a:custGeom>
            <a:avLst/>
            <a:gdLst>
              <a:gd name="connsiteX0" fmla="*/ 2790267 w 3596354"/>
              <a:gd name="connsiteY0" fmla="*/ 0 h 986408"/>
              <a:gd name="connsiteX1" fmla="*/ 1711179 w 3596354"/>
              <a:gd name="connsiteY1" fmla="*/ 560261 h 986408"/>
              <a:gd name="connsiteX2" fmla="*/ 593516 w 3596354"/>
              <a:gd name="connsiteY2" fmla="*/ 0 h 986408"/>
              <a:gd name="connsiteX3" fmla="*/ 213659 w 3596354"/>
              <a:gd name="connsiteY3" fmla="*/ 0 h 986408"/>
              <a:gd name="connsiteX4" fmla="*/ -464 w 3596354"/>
              <a:gd name="connsiteY4" fmla="*/ 431578 h 986408"/>
              <a:gd name="connsiteX5" fmla="*/ 1697558 w 3596354"/>
              <a:gd name="connsiteY5" fmla="*/ 986409 h 986408"/>
              <a:gd name="connsiteX6" fmla="*/ 3595891 w 3596354"/>
              <a:gd name="connsiteY6" fmla="*/ 0 h 9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6354" h="986408">
                <a:moveTo>
                  <a:pt x="2790267" y="0"/>
                </a:moveTo>
                <a:cubicBezTo>
                  <a:pt x="2584812" y="358712"/>
                  <a:pt x="2206193" y="560261"/>
                  <a:pt x="1711179" y="560261"/>
                </a:cubicBezTo>
                <a:cubicBezTo>
                  <a:pt x="1171016" y="560261"/>
                  <a:pt x="804875" y="328041"/>
                  <a:pt x="593516" y="0"/>
                </a:cubicBezTo>
                <a:lnTo>
                  <a:pt x="213659" y="0"/>
                </a:lnTo>
                <a:lnTo>
                  <a:pt x="-464" y="431578"/>
                </a:lnTo>
                <a:cubicBezTo>
                  <a:pt x="351390" y="722567"/>
                  <a:pt x="939845" y="986409"/>
                  <a:pt x="1697558" y="986409"/>
                </a:cubicBezTo>
                <a:cubicBezTo>
                  <a:pt x="2699684" y="986409"/>
                  <a:pt x="3330524" y="593598"/>
                  <a:pt x="3595891" y="0"/>
                </a:cubicBezTo>
                <a:close/>
              </a:path>
            </a:pathLst>
          </a:custGeom>
          <a:solidFill>
            <a:schemeClr val="accent4"/>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21280795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89156E4-9C44-4B4E-95DB-C8F590C182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8" name="Diapositive think-cell" r:id="rId5" imgW="532" imgH="530" progId="TCLayout.ActiveDocument.1">
                  <p:embed/>
                </p:oleObj>
              </mc:Choice>
              <mc:Fallback>
                <p:oleObj name="Diapositive think-cell" r:id="rId5" imgW="532" imgH="530" progId="TCLayout.ActiveDocument.1">
                  <p:embed/>
                  <p:pic>
                    <p:nvPicPr>
                      <p:cNvPr id="8" name="Objet 7" hidden="1">
                        <a:extLst>
                          <a:ext uri="{FF2B5EF4-FFF2-40B4-BE49-F238E27FC236}">
                            <a16:creationId xmlns:a16="http://schemas.microsoft.com/office/drawing/2014/main" id="{689156E4-9C44-4B4E-95DB-C8F590C182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AC2EFB11-94F7-44A2-9A1E-41B136046292}"/>
              </a:ext>
            </a:extLst>
          </p:cNvPr>
          <p:cNvSpPr>
            <a:spLocks noGrp="1"/>
          </p:cNvSpPr>
          <p:nvPr>
            <p:ph type="title"/>
          </p:nvPr>
        </p:nvSpPr>
        <p:spPr>
          <a:xfrm>
            <a:off x="741529" y="564775"/>
            <a:ext cx="10942471" cy="480131"/>
          </a:xfrm>
        </p:spPr>
        <p:txBody>
          <a:bodyPr vert="horz"/>
          <a:lstStyle/>
          <a:p>
            <a:r>
              <a:rPr lang="sl-SI" dirty="0"/>
              <a:t>ZAKLJUČEK</a:t>
            </a:r>
            <a:endParaRPr lang="en-GB" dirty="0">
              <a:solidFill>
                <a:schemeClr val="tx2"/>
              </a:solidFill>
            </a:endParaRPr>
          </a:p>
        </p:txBody>
      </p:sp>
      <p:sp>
        <p:nvSpPr>
          <p:cNvPr id="5" name="Espace réservé du texte 4">
            <a:extLst>
              <a:ext uri="{FF2B5EF4-FFF2-40B4-BE49-F238E27FC236}">
                <a16:creationId xmlns:a16="http://schemas.microsoft.com/office/drawing/2014/main" id="{5ED4CC6E-C633-4CA1-8415-DBA022E892FD}"/>
              </a:ext>
            </a:extLst>
          </p:cNvPr>
          <p:cNvSpPr>
            <a:spLocks noGrp="1"/>
          </p:cNvSpPr>
          <p:nvPr>
            <p:ph type="body" sz="quarter" idx="10"/>
          </p:nvPr>
        </p:nvSpPr>
        <p:spPr/>
        <p:txBody>
          <a:bodyPr/>
          <a:lstStyle/>
          <a:p>
            <a:pPr marL="223838" lvl="1" indent="0">
              <a:buNone/>
            </a:pPr>
            <a:endParaRPr lang="sl-SI" sz="2000" dirty="0"/>
          </a:p>
          <a:p>
            <a:pPr lvl="1"/>
            <a:r>
              <a:rPr lang="sl-SI" sz="2000" dirty="0"/>
              <a:t>COFACE</a:t>
            </a:r>
            <a:r>
              <a:rPr lang="sl-SI" sz="2000" b="1" dirty="0"/>
              <a:t> nudi učinkovite storitve za obvladovanje tveganj neplačil</a:t>
            </a:r>
            <a:r>
              <a:rPr lang="sl-SI" sz="2000" dirty="0"/>
              <a:t>:</a:t>
            </a:r>
          </a:p>
          <a:p>
            <a:pPr lvl="1"/>
            <a:endParaRPr lang="sl-SI" sz="2000" dirty="0"/>
          </a:p>
          <a:p>
            <a:pPr lvl="1"/>
            <a:r>
              <a:rPr lang="sl-SI" sz="2000" dirty="0"/>
              <a:t>s </a:t>
            </a:r>
            <a:r>
              <a:rPr lang="sl-SI" sz="2000" b="1" dirty="0"/>
              <a:t>poslovnimi informacijami </a:t>
            </a:r>
            <a:r>
              <a:rPr lang="sl-SI" sz="2000" dirty="0"/>
              <a:t>podjetje pridobi zelo dober pregled nad svojimi strankami, dogajanju v panogah iz katerih prihajajo in dogajanju v njihovih državah  Različni produkti pomagajo podjetju poiskati nove poslovne priložnosti, </a:t>
            </a:r>
          </a:p>
          <a:p>
            <a:pPr lvl="1"/>
            <a:endParaRPr lang="sl-SI" sz="2000" dirty="0"/>
          </a:p>
          <a:p>
            <a:pPr lvl="1"/>
            <a:r>
              <a:rPr lang="sl-SI" sz="2000" dirty="0"/>
              <a:t>z </a:t>
            </a:r>
            <a:r>
              <a:rPr lang="sl-SI" sz="2000" b="1" dirty="0"/>
              <a:t>zavarovanjem terjatev  </a:t>
            </a:r>
            <a:r>
              <a:rPr lang="sl-SI" sz="2000" dirty="0"/>
              <a:t>podjetje  prenese na zavarovalnico riziko neplačil njegovih kupcev, prav tako prenese na zavarovalnico stroške </a:t>
            </a:r>
            <a:r>
              <a:rPr lang="sl-SI" sz="2000" b="1" dirty="0"/>
              <a:t>izterjave. </a:t>
            </a:r>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solidFill>
                <a:srgbClr val="FF0000"/>
              </a:solidFill>
            </a:endParaRPr>
          </a:p>
          <a:p>
            <a:pPr lvl="1"/>
            <a:endParaRPr lang="sl-SI" dirty="0">
              <a:solidFill>
                <a:srgbClr val="FF0000"/>
              </a:solidFill>
            </a:endParaRPr>
          </a:p>
          <a:p>
            <a:pPr lvl="1"/>
            <a:endParaRPr lang="sl-SI" dirty="0">
              <a:solidFill>
                <a:srgbClr val="FF0000"/>
              </a:solidFill>
            </a:endParaRPr>
          </a:p>
          <a:p>
            <a:pPr lvl="1"/>
            <a:endParaRPr lang="sl-SI" dirty="0">
              <a:solidFill>
                <a:srgbClr val="FF0000"/>
              </a:solidFill>
            </a:endParaRPr>
          </a:p>
          <a:p>
            <a:pPr lvl="1"/>
            <a:endParaRPr lang="sl-SI" dirty="0"/>
          </a:p>
          <a:p>
            <a:pPr lvl="1"/>
            <a:endParaRPr lang="sl-SI" dirty="0"/>
          </a:p>
          <a:p>
            <a:pPr marL="223838" lvl="1" indent="0">
              <a:buNone/>
            </a:pPr>
            <a:endParaRPr lang="sl-SI" dirty="0">
              <a:solidFill>
                <a:srgbClr val="FF0000"/>
              </a:solidFill>
            </a:endParaRPr>
          </a:p>
          <a:p>
            <a:pPr lvl="1"/>
            <a:endParaRPr lang="sl-SI" dirty="0"/>
          </a:p>
          <a:p>
            <a:pPr lvl="1"/>
            <a:endParaRPr lang="sl-SI" dirty="0"/>
          </a:p>
          <a:p>
            <a:pPr lvl="1"/>
            <a:endParaRPr lang="sl-SI" dirty="0"/>
          </a:p>
          <a:p>
            <a:pPr lvl="1"/>
            <a:endParaRPr lang="sl-SI" dirty="0"/>
          </a:p>
          <a:p>
            <a:pPr lvl="1"/>
            <a:endParaRPr lang="sl-SI" dirty="0"/>
          </a:p>
          <a:p>
            <a:pPr lvl="1"/>
            <a:endParaRPr lang="sl-SI" dirty="0"/>
          </a:p>
          <a:p>
            <a:pPr lvl="1"/>
            <a:endParaRPr lang="sl-SI" dirty="0">
              <a:solidFill>
                <a:srgbClr val="FF0000"/>
              </a:solidFill>
            </a:endParaRPr>
          </a:p>
          <a:p>
            <a:pPr lvl="1"/>
            <a:endParaRPr lang="sl-SI" dirty="0">
              <a:solidFill>
                <a:srgbClr val="FF0000"/>
              </a:solidFill>
            </a:endParaRPr>
          </a:p>
          <a:p>
            <a:pPr lvl="1"/>
            <a:endParaRPr lang="sl-SI" dirty="0"/>
          </a:p>
          <a:p>
            <a:pPr lvl="1"/>
            <a:endParaRPr lang="sl-SI" dirty="0"/>
          </a:p>
          <a:p>
            <a:pPr lvl="1"/>
            <a:endParaRPr lang="sl-SI" dirty="0"/>
          </a:p>
          <a:p>
            <a:pPr marL="755650" lvl="3" indent="0">
              <a:buNone/>
            </a:pPr>
            <a:endParaRPr lang="sl-SI" dirty="0"/>
          </a:p>
        </p:txBody>
      </p:sp>
      <p:pic>
        <p:nvPicPr>
          <p:cNvPr id="12" name="Graphique 11">
            <a:extLst>
              <a:ext uri="{FF2B5EF4-FFF2-40B4-BE49-F238E27FC236}">
                <a16:creationId xmlns:a16="http://schemas.microsoft.com/office/drawing/2014/main" id="{9F974B59-B121-4C34-BB68-71E0857FCE3D}"/>
              </a:ext>
            </a:extLst>
          </p:cNvPr>
          <p:cNvPicPr>
            <a:picLocks noChangeAspect="1"/>
          </p:cNvPicPr>
          <p:nvPr/>
        </p:nvPicPr>
        <p:blipFill>
          <a:blip r:embed="rId7"/>
          <a:stretch>
            <a:fillRect/>
          </a:stretch>
        </p:blipFill>
        <p:spPr>
          <a:xfrm>
            <a:off x="0" y="6126385"/>
            <a:ext cx="2659139" cy="731615"/>
          </a:xfrm>
          <a:prstGeom prst="rect">
            <a:avLst/>
          </a:prstGeom>
        </p:spPr>
      </p:pic>
      <p:sp>
        <p:nvSpPr>
          <p:cNvPr id="15" name="Graphique 13">
            <a:extLst>
              <a:ext uri="{FF2B5EF4-FFF2-40B4-BE49-F238E27FC236}">
                <a16:creationId xmlns:a16="http://schemas.microsoft.com/office/drawing/2014/main" id="{038F299F-333D-404F-A5B1-0EFF554470E0}"/>
              </a:ext>
            </a:extLst>
          </p:cNvPr>
          <p:cNvSpPr/>
          <p:nvPr/>
        </p:nvSpPr>
        <p:spPr>
          <a:xfrm>
            <a:off x="9535886" y="0"/>
            <a:ext cx="2656114" cy="728519"/>
          </a:xfrm>
          <a:custGeom>
            <a:avLst/>
            <a:gdLst>
              <a:gd name="connsiteX0" fmla="*/ 2790267 w 3596354"/>
              <a:gd name="connsiteY0" fmla="*/ 0 h 986408"/>
              <a:gd name="connsiteX1" fmla="*/ 1711179 w 3596354"/>
              <a:gd name="connsiteY1" fmla="*/ 560261 h 986408"/>
              <a:gd name="connsiteX2" fmla="*/ 593516 w 3596354"/>
              <a:gd name="connsiteY2" fmla="*/ 0 h 986408"/>
              <a:gd name="connsiteX3" fmla="*/ 213659 w 3596354"/>
              <a:gd name="connsiteY3" fmla="*/ 0 h 986408"/>
              <a:gd name="connsiteX4" fmla="*/ -464 w 3596354"/>
              <a:gd name="connsiteY4" fmla="*/ 431578 h 986408"/>
              <a:gd name="connsiteX5" fmla="*/ 1697558 w 3596354"/>
              <a:gd name="connsiteY5" fmla="*/ 986409 h 986408"/>
              <a:gd name="connsiteX6" fmla="*/ 3595891 w 3596354"/>
              <a:gd name="connsiteY6" fmla="*/ 0 h 9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6354" h="986408">
                <a:moveTo>
                  <a:pt x="2790267" y="0"/>
                </a:moveTo>
                <a:cubicBezTo>
                  <a:pt x="2584812" y="358712"/>
                  <a:pt x="2206193" y="560261"/>
                  <a:pt x="1711179" y="560261"/>
                </a:cubicBezTo>
                <a:cubicBezTo>
                  <a:pt x="1171016" y="560261"/>
                  <a:pt x="804875" y="328041"/>
                  <a:pt x="593516" y="0"/>
                </a:cubicBezTo>
                <a:lnTo>
                  <a:pt x="213659" y="0"/>
                </a:lnTo>
                <a:lnTo>
                  <a:pt x="-464" y="431578"/>
                </a:lnTo>
                <a:cubicBezTo>
                  <a:pt x="351390" y="722567"/>
                  <a:pt x="939845" y="986409"/>
                  <a:pt x="1697558" y="986409"/>
                </a:cubicBezTo>
                <a:cubicBezTo>
                  <a:pt x="2699684" y="986409"/>
                  <a:pt x="3330524" y="593598"/>
                  <a:pt x="3595891" y="0"/>
                </a:cubicBezTo>
                <a:close/>
              </a:path>
            </a:pathLst>
          </a:custGeom>
          <a:solidFill>
            <a:schemeClr val="accent4"/>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4588586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Espace réservé pour une image  4" descr="Une image contenant herbe, vert, pose, champ&#10;&#10;Description générée automatiquement">
            <a:extLst>
              <a:ext uri="{FF2B5EF4-FFF2-40B4-BE49-F238E27FC236}">
                <a16:creationId xmlns:a16="http://schemas.microsoft.com/office/drawing/2014/main" id="{D434443C-9123-46AB-8524-40FF929AAE89}"/>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36094" r="36094"/>
          <a:stretch>
            <a:fillRect/>
          </a:stretch>
        </p:blipFill>
        <p:spPr/>
      </p:pic>
      <p:graphicFrame>
        <p:nvGraphicFramePr>
          <p:cNvPr id="11" name="Objet 10" hidden="1">
            <a:extLst>
              <a:ext uri="{FF2B5EF4-FFF2-40B4-BE49-F238E27FC236}">
                <a16:creationId xmlns:a16="http://schemas.microsoft.com/office/drawing/2014/main" id="{B6D777D3-5D0F-40AB-9292-C0D0B0F9EF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58" name="Diapositive think-cell" r:id="rId6" imgW="532" imgH="530" progId="TCLayout.ActiveDocument.1">
                  <p:embed/>
                </p:oleObj>
              </mc:Choice>
              <mc:Fallback>
                <p:oleObj name="Diapositive think-cell" r:id="rId6" imgW="532" imgH="530" progId="TCLayout.ActiveDocument.1">
                  <p:embed/>
                  <p:pic>
                    <p:nvPicPr>
                      <p:cNvPr id="11" name="Objet 10" hidden="1">
                        <a:extLst>
                          <a:ext uri="{FF2B5EF4-FFF2-40B4-BE49-F238E27FC236}">
                            <a16:creationId xmlns:a16="http://schemas.microsoft.com/office/drawing/2014/main" id="{B6D777D3-5D0F-40AB-9292-C0D0B0F9EF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Titre 5">
            <a:extLst>
              <a:ext uri="{FF2B5EF4-FFF2-40B4-BE49-F238E27FC236}">
                <a16:creationId xmlns:a16="http://schemas.microsoft.com/office/drawing/2014/main" id="{22B9405B-B645-4B6D-80E5-657589E92709}"/>
              </a:ext>
            </a:extLst>
          </p:cNvPr>
          <p:cNvSpPr>
            <a:spLocks noGrp="1"/>
          </p:cNvSpPr>
          <p:nvPr>
            <p:ph type="title"/>
          </p:nvPr>
        </p:nvSpPr>
        <p:spPr/>
        <p:txBody>
          <a:bodyPr vert="horz"/>
          <a:lstStyle/>
          <a:p>
            <a:r>
              <a:rPr lang="sl-SI" dirty="0"/>
              <a:t>kontakt</a:t>
            </a:r>
            <a:endParaRPr lang="en-GB" dirty="0"/>
          </a:p>
        </p:txBody>
      </p:sp>
      <p:sp>
        <p:nvSpPr>
          <p:cNvPr id="7" name="Espace réservé du texte 6">
            <a:extLst>
              <a:ext uri="{FF2B5EF4-FFF2-40B4-BE49-F238E27FC236}">
                <a16:creationId xmlns:a16="http://schemas.microsoft.com/office/drawing/2014/main" id="{414C7EA9-BF69-4739-9C22-DB768B62DDE6}"/>
              </a:ext>
            </a:extLst>
          </p:cNvPr>
          <p:cNvSpPr>
            <a:spLocks noGrp="1"/>
          </p:cNvSpPr>
          <p:nvPr>
            <p:ph type="body" sz="quarter" idx="10"/>
          </p:nvPr>
        </p:nvSpPr>
        <p:spPr>
          <a:xfrm>
            <a:off x="419100" y="1559859"/>
            <a:ext cx="6582335" cy="4459941"/>
          </a:xfrm>
        </p:spPr>
        <p:txBody>
          <a:bodyPr>
            <a:normAutofit lnSpcReduction="10000"/>
          </a:bodyPr>
          <a:lstStyle/>
          <a:p>
            <a:pPr marL="223838" lvl="1" indent="0">
              <a:buNone/>
            </a:pPr>
            <a:r>
              <a:rPr lang="sl-SI" b="1" dirty="0"/>
              <a:t>ZAVAROVANJE TERJATEV:</a:t>
            </a:r>
          </a:p>
          <a:p>
            <a:pPr marL="223838" lvl="1" indent="0">
              <a:buNone/>
            </a:pPr>
            <a:r>
              <a:rPr lang="sl-SI" dirty="0"/>
              <a:t>Aljoša Kohek</a:t>
            </a:r>
          </a:p>
          <a:p>
            <a:pPr marL="223838" lvl="1" indent="0">
              <a:buNone/>
            </a:pPr>
            <a:r>
              <a:rPr lang="sl-SI" dirty="0"/>
              <a:t>Direktor prodaje in podpore strankam</a:t>
            </a:r>
          </a:p>
          <a:p>
            <a:pPr marL="223838" lvl="1" indent="0">
              <a:buNone/>
            </a:pPr>
            <a:r>
              <a:rPr lang="sl-SI" dirty="0"/>
              <a:t>041/922-291</a:t>
            </a:r>
          </a:p>
          <a:p>
            <a:pPr marL="223838" lvl="1" indent="0">
              <a:buNone/>
            </a:pPr>
            <a:r>
              <a:rPr lang="sl-SI" dirty="0"/>
              <a:t>aljosa.kohek@coface.com</a:t>
            </a:r>
          </a:p>
          <a:p>
            <a:pPr marL="223838" lvl="1" indent="0">
              <a:buNone/>
            </a:pPr>
            <a:endParaRPr lang="sl-SI" dirty="0">
              <a:hlinkClick r:id="rId8"/>
            </a:endParaRPr>
          </a:p>
          <a:p>
            <a:pPr marL="223838" lvl="1" indent="0">
              <a:buNone/>
            </a:pPr>
            <a:r>
              <a:rPr lang="sl-SI" dirty="0">
                <a:hlinkClick r:id="rId8"/>
              </a:rPr>
              <a:t>www.coface.si</a:t>
            </a:r>
            <a:endParaRPr lang="sl-SI" dirty="0"/>
          </a:p>
          <a:p>
            <a:pPr marL="223838" lvl="1" indent="0">
              <a:buNone/>
            </a:pPr>
            <a:endParaRPr lang="sl-SI" dirty="0"/>
          </a:p>
          <a:p>
            <a:pPr marL="223838" lvl="1" indent="0">
              <a:buNone/>
            </a:pPr>
            <a:r>
              <a:rPr lang="sl-SI" b="1" dirty="0"/>
              <a:t>POSLOVNE INFORMACIJE IN IZTERJAVA DOLGOV: </a:t>
            </a:r>
          </a:p>
          <a:p>
            <a:pPr marL="223838" lvl="1" indent="0">
              <a:buNone/>
            </a:pPr>
            <a:r>
              <a:rPr lang="sl-SI" dirty="0"/>
              <a:t>Igor Pirnat</a:t>
            </a:r>
          </a:p>
          <a:p>
            <a:pPr marL="223838" lvl="1" indent="0">
              <a:buNone/>
            </a:pPr>
            <a:r>
              <a:rPr lang="sl-SI" dirty="0">
                <a:solidFill>
                  <a:srgbClr val="002060"/>
                </a:solidFill>
              </a:rPr>
              <a:t>Direktor prodaje</a:t>
            </a:r>
          </a:p>
          <a:p>
            <a:pPr marL="223838" lvl="1" indent="0">
              <a:buNone/>
            </a:pPr>
            <a:r>
              <a:rPr lang="sl-SI" dirty="0">
                <a:solidFill>
                  <a:srgbClr val="002060"/>
                </a:solidFill>
              </a:rPr>
              <a:t>051/692-492</a:t>
            </a:r>
          </a:p>
          <a:p>
            <a:pPr marL="223838" lvl="1" indent="0">
              <a:buNone/>
            </a:pPr>
            <a:r>
              <a:rPr lang="sl-SI" dirty="0">
                <a:solidFill>
                  <a:srgbClr val="002060"/>
                </a:solidFill>
              </a:rPr>
              <a:t>igor.pirnat@coface.com</a:t>
            </a:r>
          </a:p>
          <a:p>
            <a:pPr marL="223838" lvl="1" indent="0">
              <a:buNone/>
            </a:pPr>
            <a:endParaRPr lang="sl-SI" dirty="0"/>
          </a:p>
          <a:p>
            <a:pPr marL="223838" lvl="1" indent="0">
              <a:buNone/>
            </a:pPr>
            <a:r>
              <a:rPr lang="sl-SI" dirty="0">
                <a:hlinkClick r:id="rId9"/>
              </a:rPr>
              <a:t>www.cofacestoritoritve.si</a:t>
            </a:r>
            <a:endParaRPr lang="sl-SI" dirty="0"/>
          </a:p>
          <a:p>
            <a:pPr marL="223838" lvl="1" indent="0">
              <a:buNone/>
            </a:pPr>
            <a:endParaRPr lang="sl-SI" dirty="0"/>
          </a:p>
          <a:p>
            <a:pPr marL="223838" lvl="1" indent="0">
              <a:buNone/>
            </a:pPr>
            <a:endParaRPr lang="sl-SI" dirty="0"/>
          </a:p>
        </p:txBody>
      </p:sp>
      <p:sp>
        <p:nvSpPr>
          <p:cNvPr id="10" name="Espace réservé du texte 9">
            <a:extLst>
              <a:ext uri="{FF2B5EF4-FFF2-40B4-BE49-F238E27FC236}">
                <a16:creationId xmlns:a16="http://schemas.microsoft.com/office/drawing/2014/main" id="{F7AD2AF7-0A24-409D-AE30-1B3710B8E209}"/>
              </a:ext>
            </a:extLst>
          </p:cNvPr>
          <p:cNvSpPr>
            <a:spLocks noGrp="1"/>
          </p:cNvSpPr>
          <p:nvPr>
            <p:ph type="body" sz="quarter" idx="13"/>
          </p:nvPr>
        </p:nvSpPr>
        <p:spPr>
          <a:xfrm>
            <a:off x="7682304" y="1993900"/>
            <a:ext cx="3200849" cy="3285921"/>
          </a:xfrm>
        </p:spPr>
        <p:txBody>
          <a:bodyPr/>
          <a:lstStyle/>
          <a:p>
            <a:r>
              <a:rPr lang="en-GB" dirty="0"/>
              <a:t>Click here</a:t>
            </a:r>
            <a:br>
              <a:rPr lang="en-GB" dirty="0"/>
            </a:br>
            <a:r>
              <a:rPr lang="en-GB" sz="1600" b="0" dirty="0"/>
              <a:t>to add your text</a:t>
            </a:r>
            <a:endParaRPr lang="en-GB" b="0" dirty="0"/>
          </a:p>
        </p:txBody>
      </p:sp>
      <p:pic>
        <p:nvPicPr>
          <p:cNvPr id="12" name="Image 11">
            <a:extLst>
              <a:ext uri="{FF2B5EF4-FFF2-40B4-BE49-F238E27FC236}">
                <a16:creationId xmlns:a16="http://schemas.microsoft.com/office/drawing/2014/main" id="{0A1A062A-A104-43EA-B105-ABB0B980E932}"/>
              </a:ext>
            </a:extLst>
          </p:cNvPr>
          <p:cNvPicPr>
            <a:picLocks noChangeAspect="1"/>
          </p:cNvPicPr>
          <p:nvPr/>
        </p:nvPicPr>
        <p:blipFill rotWithShape="1">
          <a:blip r:embed="rId10"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pic>
        <p:nvPicPr>
          <p:cNvPr id="2" name="Picture 1"/>
          <p:cNvPicPr>
            <a:picLocks noChangeAspect="1"/>
          </p:cNvPicPr>
          <p:nvPr/>
        </p:nvPicPr>
        <p:blipFill>
          <a:blip r:embed="rId11"/>
          <a:stretch>
            <a:fillRect/>
          </a:stretch>
        </p:blipFill>
        <p:spPr>
          <a:xfrm>
            <a:off x="7996517" y="3164541"/>
            <a:ext cx="2743200" cy="923365"/>
          </a:xfrm>
          <a:prstGeom prst="rect">
            <a:avLst/>
          </a:prstGeom>
        </p:spPr>
      </p:pic>
      <p:pic>
        <p:nvPicPr>
          <p:cNvPr id="3" name="Picture 2"/>
          <p:cNvPicPr>
            <a:picLocks noChangeAspect="1"/>
          </p:cNvPicPr>
          <p:nvPr/>
        </p:nvPicPr>
        <p:blipFill>
          <a:blip r:embed="rId12"/>
          <a:stretch>
            <a:fillRect/>
          </a:stretch>
        </p:blipFill>
        <p:spPr>
          <a:xfrm>
            <a:off x="5291987" y="2460262"/>
            <a:ext cx="1257409" cy="1165961"/>
          </a:xfrm>
          <a:prstGeom prst="rect">
            <a:avLst/>
          </a:prstGeom>
        </p:spPr>
      </p:pic>
      <p:pic>
        <p:nvPicPr>
          <p:cNvPr id="13" name="Picture 12"/>
          <p:cNvPicPr/>
          <p:nvPr/>
        </p:nvPicPr>
        <p:blipFill>
          <a:blip r:embed="rId13"/>
          <a:stretch>
            <a:fillRect/>
          </a:stretch>
        </p:blipFill>
        <p:spPr>
          <a:xfrm>
            <a:off x="5295525" y="4648622"/>
            <a:ext cx="1430089" cy="1262397"/>
          </a:xfrm>
          <a:prstGeom prst="rect">
            <a:avLst/>
          </a:prstGeom>
        </p:spPr>
      </p:pic>
    </p:spTree>
    <p:extLst>
      <p:ext uri="{BB962C8B-B14F-4D97-AF65-F5344CB8AC3E}">
        <p14:creationId xmlns:p14="http://schemas.microsoft.com/office/powerpoint/2010/main" val="38071934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15"/>
          <p:cNvPicPr>
            <a:picLocks noChangeAspect="1"/>
          </p:cNvPicPr>
          <p:nvPr/>
        </p:nvPicPr>
        <p:blipFill rotWithShape="1">
          <a:blip r:embed="rId3">
            <a:extLst>
              <a:ext uri="{28A0092B-C50C-407E-A947-70E740481C1C}">
                <a14:useLocalDpi xmlns:a14="http://schemas.microsoft.com/office/drawing/2010/main" val="0"/>
              </a:ext>
            </a:extLst>
          </a:blip>
          <a:srcRect t="15335" b="50916"/>
          <a:stretch/>
        </p:blipFill>
        <p:spPr>
          <a:xfrm>
            <a:off x="1524000" y="1051687"/>
            <a:ext cx="9144000" cy="2314550"/>
          </a:xfrm>
          <a:prstGeom prst="rect">
            <a:avLst/>
          </a:prstGeom>
        </p:spPr>
      </p:pic>
      <p:sp>
        <p:nvSpPr>
          <p:cNvPr id="83" name="Rectangle 82"/>
          <p:cNvSpPr>
            <a:spLocks/>
          </p:cNvSpPr>
          <p:nvPr/>
        </p:nvSpPr>
        <p:spPr>
          <a:xfrm>
            <a:off x="1523999" y="1051688"/>
            <a:ext cx="790578" cy="2315025"/>
          </a:xfrm>
          <a:prstGeom prst="rect">
            <a:avLst/>
          </a:prstGeom>
          <a:solidFill>
            <a:schemeClr val="tx2">
              <a:alpha val="3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85" name="Rectangle 84"/>
          <p:cNvSpPr>
            <a:spLocks/>
          </p:cNvSpPr>
          <p:nvPr/>
        </p:nvSpPr>
        <p:spPr>
          <a:xfrm>
            <a:off x="1523999" y="1051688"/>
            <a:ext cx="1039394" cy="2315025"/>
          </a:xfrm>
          <a:prstGeom prst="rect">
            <a:avLst/>
          </a:prstGeom>
          <a:solidFill>
            <a:schemeClr val="tx2">
              <a:alpha val="3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86" name="Rectangle 85"/>
          <p:cNvSpPr>
            <a:spLocks/>
          </p:cNvSpPr>
          <p:nvPr/>
        </p:nvSpPr>
        <p:spPr>
          <a:xfrm>
            <a:off x="1523999" y="1051688"/>
            <a:ext cx="1910248" cy="2315025"/>
          </a:xfrm>
          <a:prstGeom prst="rect">
            <a:avLst/>
          </a:prstGeom>
          <a:solidFill>
            <a:schemeClr val="tx2">
              <a:alpha val="3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88" name="Rectangle 87"/>
          <p:cNvSpPr>
            <a:spLocks/>
          </p:cNvSpPr>
          <p:nvPr/>
        </p:nvSpPr>
        <p:spPr>
          <a:xfrm>
            <a:off x="6668667" y="1051688"/>
            <a:ext cx="4009160" cy="2315025"/>
          </a:xfrm>
          <a:prstGeom prst="rect">
            <a:avLst/>
          </a:prstGeom>
          <a:solidFill>
            <a:schemeClr val="tx2">
              <a:alpha val="16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89" name="Rectangle 88"/>
          <p:cNvSpPr>
            <a:spLocks/>
          </p:cNvSpPr>
          <p:nvPr/>
        </p:nvSpPr>
        <p:spPr>
          <a:xfrm>
            <a:off x="8421267" y="1051688"/>
            <a:ext cx="2256560" cy="2315025"/>
          </a:xfrm>
          <a:prstGeom prst="rect">
            <a:avLst/>
          </a:prstGeom>
          <a:solidFill>
            <a:schemeClr val="tx2">
              <a:alpha val="26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90" name="Rectangle 89"/>
          <p:cNvSpPr>
            <a:spLocks/>
          </p:cNvSpPr>
          <p:nvPr/>
        </p:nvSpPr>
        <p:spPr>
          <a:xfrm>
            <a:off x="8621293" y="1051688"/>
            <a:ext cx="2056535" cy="2315025"/>
          </a:xfrm>
          <a:prstGeom prst="rect">
            <a:avLst/>
          </a:prstGeom>
          <a:solidFill>
            <a:schemeClr val="tx2">
              <a:alpha val="3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91" name="Rectangle 90"/>
          <p:cNvSpPr>
            <a:spLocks/>
          </p:cNvSpPr>
          <p:nvPr/>
        </p:nvSpPr>
        <p:spPr>
          <a:xfrm>
            <a:off x="10383417" y="1051688"/>
            <a:ext cx="294410" cy="2315025"/>
          </a:xfrm>
          <a:prstGeom prst="rect">
            <a:avLst/>
          </a:prstGeom>
          <a:solidFill>
            <a:schemeClr val="tx2">
              <a:alpha val="3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7" name="Groupe 6"/>
          <p:cNvGrpSpPr/>
          <p:nvPr/>
        </p:nvGrpSpPr>
        <p:grpSpPr>
          <a:xfrm>
            <a:off x="1778442" y="2912152"/>
            <a:ext cx="1799454" cy="2294605"/>
            <a:chOff x="254442" y="2912151"/>
            <a:chExt cx="1799454" cy="2294605"/>
          </a:xfrm>
        </p:grpSpPr>
        <p:sp>
          <p:nvSpPr>
            <p:cNvPr id="45" name="Rectangle 44"/>
            <p:cNvSpPr/>
            <p:nvPr/>
          </p:nvSpPr>
          <p:spPr>
            <a:xfrm>
              <a:off x="254442" y="3766362"/>
              <a:ext cx="1799454" cy="144039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1" i="0" u="none" strike="noStrike" kern="1200" cap="none" spc="0" normalizeH="0" baseline="0" noProof="0" dirty="0">
                  <a:ln>
                    <a:noFill/>
                  </a:ln>
                  <a:solidFill>
                    <a:srgbClr val="0BB18F"/>
                  </a:solidFill>
                  <a:effectLst/>
                  <a:uLnTx/>
                  <a:uFillTx/>
                  <a:latin typeface="Arial"/>
                  <a:ea typeface="+mn-ea"/>
                  <a:cs typeface="+mn-cs"/>
                </a:rPr>
                <a:t>ENA OD VODILNIH KREDITNIH ZAVAROVALNIC</a:t>
              </a:r>
              <a:endParaRPr kumimoji="0" lang="en-US" sz="1100" b="1" i="0" u="none" strike="noStrike" kern="1200" cap="none" spc="0" normalizeH="0" baseline="0" noProof="0" dirty="0">
                <a:ln>
                  <a:noFill/>
                </a:ln>
                <a:solidFill>
                  <a:srgbClr val="0BB18F"/>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sl-SI" sz="1100" b="1" i="0" u="none" strike="noStrike" kern="1200" cap="none" spc="0" normalizeH="0" baseline="0" noProof="0" dirty="0">
                  <a:ln>
                    <a:noFill/>
                  </a:ln>
                  <a:solidFill>
                    <a:srgbClr val="1C355E"/>
                  </a:solidFill>
                  <a:effectLst/>
                  <a:uLnTx/>
                  <a:uFillTx/>
                  <a:latin typeface="Arial"/>
                  <a:ea typeface="+mn-ea"/>
                  <a:cs typeface="+mn-cs"/>
                </a:rPr>
                <a:t>€1.451 m </a:t>
              </a:r>
              <a:r>
                <a:rPr kumimoji="0" lang="sl-SI" sz="1100" b="0" i="0" u="none" strike="noStrike" kern="1200" cap="none" spc="0" normalizeH="0" baseline="0" noProof="0" dirty="0">
                  <a:ln>
                    <a:noFill/>
                  </a:ln>
                  <a:solidFill>
                    <a:srgbClr val="1C355E"/>
                  </a:solidFill>
                  <a:effectLst/>
                  <a:uLnTx/>
                  <a:uFillTx/>
                  <a:latin typeface="Arial"/>
                  <a:ea typeface="+mn-ea"/>
                  <a:cs typeface="+mn-cs"/>
                </a:rPr>
                <a:t>prihodkov v 2020</a:t>
              </a: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en-US" sz="1100" b="0" i="0" u="none" strike="noStrike" kern="1200" cap="none" spc="0" normalizeH="0" baseline="0" noProof="0" dirty="0">
                  <a:ln>
                    <a:noFill/>
                  </a:ln>
                  <a:solidFill>
                    <a:srgbClr val="1C355E"/>
                  </a:solidFill>
                  <a:effectLst/>
                  <a:uLnTx/>
                  <a:uFillTx/>
                  <a:latin typeface="Arial"/>
                  <a:ea typeface="+mn-ea"/>
                  <a:cs typeface="+mn-cs"/>
                </a:rPr>
                <a:t>8</a:t>
              </a:r>
              <a:r>
                <a:rPr kumimoji="0" lang="sl-SI" sz="1100" b="0" i="0" u="none" strike="noStrike" kern="1200" cap="none" spc="0" normalizeH="0" baseline="0" noProof="0" dirty="0">
                  <a:ln>
                    <a:noFill/>
                  </a:ln>
                  <a:solidFill>
                    <a:srgbClr val="1C355E"/>
                  </a:solidFill>
                  <a:effectLst/>
                  <a:uLnTx/>
                  <a:uFillTx/>
                  <a:latin typeface="Arial"/>
                  <a:ea typeface="+mn-ea"/>
                  <a:cs typeface="+mn-cs"/>
                </a:rPr>
                <a:t>8</a:t>
              </a:r>
              <a:r>
                <a:rPr kumimoji="0" lang="en-US" sz="1100" b="1" i="0" u="none" strike="noStrike" kern="1200" cap="none" spc="0" normalizeH="0" baseline="0" noProof="0" dirty="0">
                  <a:ln>
                    <a:noFill/>
                  </a:ln>
                  <a:solidFill>
                    <a:srgbClr val="1C355E"/>
                  </a:solidFill>
                  <a:effectLst/>
                  <a:uLnTx/>
                  <a:uFillTx/>
                  <a:latin typeface="Arial"/>
                  <a:ea typeface="+mn-ea"/>
                  <a:cs typeface="+mn-cs"/>
                </a:rPr>
                <a:t>%</a:t>
              </a:r>
              <a:r>
                <a:rPr kumimoji="0" lang="en-US" sz="1100" b="0" i="0" u="none" strike="noStrike" kern="1200" cap="none" spc="0" normalizeH="0" baseline="0" noProof="0" dirty="0">
                  <a:ln>
                    <a:noFill/>
                  </a:ln>
                  <a:solidFill>
                    <a:srgbClr val="1C355E"/>
                  </a:solidFill>
                  <a:effectLst/>
                  <a:uLnTx/>
                  <a:uFillTx/>
                  <a:latin typeface="Arial"/>
                  <a:ea typeface="+mn-ea"/>
                  <a:cs typeface="+mn-cs"/>
                </a:rPr>
                <a:t> </a:t>
              </a:r>
              <a:r>
                <a:rPr kumimoji="0" lang="sl-SI" sz="1100" b="0" i="0" u="none" strike="noStrike" kern="1200" cap="none" spc="0" normalizeH="0" baseline="0" noProof="0" dirty="0">
                  <a:ln>
                    <a:noFill/>
                  </a:ln>
                  <a:solidFill>
                    <a:srgbClr val="1C355E"/>
                  </a:solidFill>
                  <a:effectLst/>
                  <a:uLnTx/>
                  <a:uFillTx/>
                  <a:latin typeface="Arial"/>
                  <a:ea typeface="+mn-ea"/>
                  <a:cs typeface="+mn-cs"/>
                </a:rPr>
                <a:t>zavarovanje terjatev</a:t>
              </a:r>
              <a:endParaRPr kumimoji="0" lang="en-US" sz="1100" b="0" i="0" u="none" strike="noStrike" kern="1200" cap="none" spc="0" normalizeH="0" baseline="0" noProof="0" dirty="0">
                <a:ln>
                  <a:noFill/>
                </a:ln>
                <a:solidFill>
                  <a:srgbClr val="1C355E"/>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en-US" sz="1100" b="0" i="0" u="none" strike="noStrike" kern="1200" cap="none" spc="0" normalizeH="0" baseline="0" noProof="0" dirty="0">
                  <a:ln>
                    <a:noFill/>
                  </a:ln>
                  <a:solidFill>
                    <a:srgbClr val="1C355E"/>
                  </a:solidFill>
                  <a:effectLst/>
                  <a:uLnTx/>
                  <a:uFillTx/>
                  <a:latin typeface="Arial"/>
                  <a:ea typeface="+mn-ea"/>
                  <a:cs typeface="+mn-cs"/>
                </a:rPr>
                <a:t>1</a:t>
              </a:r>
              <a:r>
                <a:rPr kumimoji="0" lang="sl-SI" sz="1100" b="0" i="0" u="none" strike="noStrike" kern="1200" cap="none" spc="0" normalizeH="0" baseline="0" noProof="0" dirty="0">
                  <a:ln>
                    <a:noFill/>
                  </a:ln>
                  <a:solidFill>
                    <a:srgbClr val="1C355E"/>
                  </a:solidFill>
                  <a:effectLst/>
                  <a:uLnTx/>
                  <a:uFillTx/>
                  <a:latin typeface="Arial"/>
                  <a:ea typeface="+mn-ea"/>
                  <a:cs typeface="+mn-cs"/>
                </a:rPr>
                <a:t>2</a:t>
              </a:r>
              <a:r>
                <a:rPr kumimoji="0" lang="en-US" sz="1100" b="0" i="0" u="none" strike="noStrike" kern="1200" cap="none" spc="0" normalizeH="0" baseline="0" noProof="0" dirty="0">
                  <a:ln>
                    <a:noFill/>
                  </a:ln>
                  <a:solidFill>
                    <a:srgbClr val="1C355E"/>
                  </a:solidFill>
                  <a:effectLst/>
                  <a:uLnTx/>
                  <a:uFillTx/>
                  <a:latin typeface="Arial"/>
                  <a:ea typeface="+mn-ea"/>
                  <a:cs typeface="+mn-cs"/>
                </a:rPr>
                <a:t>% </a:t>
              </a:r>
              <a:r>
                <a:rPr kumimoji="0" lang="sl-SI" sz="1100" b="0" i="0" u="none" strike="noStrike" kern="1200" cap="none" spc="0" normalizeH="0" baseline="0" noProof="0" dirty="0">
                  <a:ln>
                    <a:noFill/>
                  </a:ln>
                  <a:solidFill>
                    <a:srgbClr val="1C355E"/>
                  </a:solidFill>
                  <a:effectLst/>
                  <a:uLnTx/>
                  <a:uFillTx/>
                  <a:latin typeface="Arial"/>
                  <a:ea typeface="+mn-ea"/>
                  <a:cs typeface="+mn-cs"/>
                </a:rPr>
                <a:t>dopolnilih storitev</a:t>
              </a:r>
            </a:p>
          </p:txBody>
        </p:sp>
        <p:grpSp>
          <p:nvGrpSpPr>
            <p:cNvPr id="40" name="Groupe 39"/>
            <p:cNvGrpSpPr/>
            <p:nvPr/>
          </p:nvGrpSpPr>
          <p:grpSpPr>
            <a:xfrm>
              <a:off x="477838" y="2912151"/>
              <a:ext cx="780968" cy="780968"/>
              <a:chOff x="495382" y="3747176"/>
              <a:chExt cx="628568" cy="628568"/>
            </a:xfrm>
          </p:grpSpPr>
          <p:sp>
            <p:nvSpPr>
              <p:cNvPr id="9" name="Rectangle 8"/>
              <p:cNvSpPr/>
              <p:nvPr/>
            </p:nvSpPr>
            <p:spPr>
              <a:xfrm>
                <a:off x="495382" y="3747176"/>
                <a:ext cx="628568" cy="6285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1" name="Freeform 5"/>
              <p:cNvSpPr>
                <a:spLocks noEditPoints="1"/>
              </p:cNvSpPr>
              <p:nvPr/>
            </p:nvSpPr>
            <p:spPr bwMode="auto">
              <a:xfrm>
                <a:off x="587576" y="3846150"/>
                <a:ext cx="444180" cy="430620"/>
              </a:xfrm>
              <a:custGeom>
                <a:avLst/>
                <a:gdLst>
                  <a:gd name="T0" fmla="*/ 3512 w 3620"/>
                  <a:gd name="T1" fmla="*/ 4 h 3509"/>
                  <a:gd name="T2" fmla="*/ 2244 w 3620"/>
                  <a:gd name="T3" fmla="*/ 75 h 3509"/>
                  <a:gd name="T4" fmla="*/ 1807 w 3620"/>
                  <a:gd name="T5" fmla="*/ 1065 h 3509"/>
                  <a:gd name="T6" fmla="*/ 1366 w 3620"/>
                  <a:gd name="T7" fmla="*/ 75 h 3509"/>
                  <a:gd name="T8" fmla="*/ 734 w 3620"/>
                  <a:gd name="T9" fmla="*/ 2 h 3509"/>
                  <a:gd name="T10" fmla="*/ 27 w 3620"/>
                  <a:gd name="T11" fmla="*/ 104 h 3509"/>
                  <a:gd name="T12" fmla="*/ 881 w 3620"/>
                  <a:gd name="T13" fmla="*/ 2033 h 3509"/>
                  <a:gd name="T14" fmla="*/ 790 w 3620"/>
                  <a:gd name="T15" fmla="*/ 2491 h 3509"/>
                  <a:gd name="T16" fmla="*/ 2827 w 3620"/>
                  <a:gd name="T17" fmla="*/ 2491 h 3509"/>
                  <a:gd name="T18" fmla="*/ 2748 w 3620"/>
                  <a:gd name="T19" fmla="*/ 2017 h 3509"/>
                  <a:gd name="T20" fmla="*/ 1960 w 3620"/>
                  <a:gd name="T21" fmla="*/ 1021 h 3509"/>
                  <a:gd name="T22" fmla="*/ 2382 w 3620"/>
                  <a:gd name="T23" fmla="*/ 128 h 3509"/>
                  <a:gd name="T24" fmla="*/ 2212 w 3620"/>
                  <a:gd name="T25" fmla="*/ 1556 h 3509"/>
                  <a:gd name="T26" fmla="*/ 1984 w 3620"/>
                  <a:gd name="T27" fmla="*/ 1467 h 3509"/>
                  <a:gd name="T28" fmla="*/ 1960 w 3620"/>
                  <a:gd name="T29" fmla="*/ 1021 h 3509"/>
                  <a:gd name="T30" fmla="*/ 1808 w 3620"/>
                  <a:gd name="T31" fmla="*/ 1670 h 3509"/>
                  <a:gd name="T32" fmla="*/ 1010 w 3620"/>
                  <a:gd name="T33" fmla="*/ 2684 h 3509"/>
                  <a:gd name="T34" fmla="*/ 1386 w 3620"/>
                  <a:gd name="T35" fmla="*/ 3195 h 3509"/>
                  <a:gd name="T36" fmla="*/ 2629 w 3620"/>
                  <a:gd name="T37" fmla="*/ 2491 h 3509"/>
                  <a:gd name="T38" fmla="*/ 1386 w 3620"/>
                  <a:gd name="T39" fmla="*/ 3195 h 3509"/>
                  <a:gd name="T40" fmla="*/ 1272 w 3620"/>
                  <a:gd name="T41" fmla="*/ 172 h 3509"/>
                  <a:gd name="T42" fmla="*/ 1844 w 3620"/>
                  <a:gd name="T43" fmla="*/ 1465 h 3509"/>
                  <a:gd name="T44" fmla="*/ 1425 w 3620"/>
                  <a:gd name="T45" fmla="*/ 1547 h 3509"/>
                  <a:gd name="T46" fmla="*/ 766 w 3620"/>
                  <a:gd name="T47" fmla="*/ 127 h 3509"/>
                  <a:gd name="T48" fmla="*/ 166 w 3620"/>
                  <a:gd name="T49" fmla="*/ 133 h 3509"/>
                  <a:gd name="T50" fmla="*/ 586 w 3620"/>
                  <a:gd name="T51" fmla="*/ 128 h 3509"/>
                  <a:gd name="T52" fmla="*/ 1276 w 3620"/>
                  <a:gd name="T53" fmla="*/ 1594 h 3509"/>
                  <a:gd name="T54" fmla="*/ 1267 w 3620"/>
                  <a:gd name="T55" fmla="*/ 1628 h 3509"/>
                  <a:gd name="T56" fmla="*/ 166 w 3620"/>
                  <a:gd name="T57" fmla="*/ 133 h 3509"/>
                  <a:gd name="T58" fmla="*/ 2649 w 3620"/>
                  <a:gd name="T59" fmla="*/ 1916 h 3509"/>
                  <a:gd name="T60" fmla="*/ 2325 w 3620"/>
                  <a:gd name="T61" fmla="*/ 1603 h 3509"/>
                  <a:gd name="T62" fmla="*/ 2956 w 3620"/>
                  <a:gd name="T63" fmla="*/ 178 h 3509"/>
                  <a:gd name="T64" fmla="*/ 3449 w 3620"/>
                  <a:gd name="T65" fmla="*/ 127 h 3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20" h="3509">
                    <a:moveTo>
                      <a:pt x="3584" y="119"/>
                    </a:moveTo>
                    <a:cubicBezTo>
                      <a:pt x="3620" y="37"/>
                      <a:pt x="3599" y="4"/>
                      <a:pt x="3512" y="4"/>
                    </a:cubicBezTo>
                    <a:cubicBezTo>
                      <a:pt x="3125" y="4"/>
                      <a:pt x="2738" y="5"/>
                      <a:pt x="2352" y="3"/>
                    </a:cubicBezTo>
                    <a:cubicBezTo>
                      <a:pt x="2296" y="3"/>
                      <a:pt x="2265" y="25"/>
                      <a:pt x="2244" y="75"/>
                    </a:cubicBezTo>
                    <a:cubicBezTo>
                      <a:pt x="2174" y="240"/>
                      <a:pt x="2100" y="403"/>
                      <a:pt x="2027" y="567"/>
                    </a:cubicBezTo>
                    <a:cubicBezTo>
                      <a:pt x="1956" y="729"/>
                      <a:pt x="1884" y="890"/>
                      <a:pt x="1807" y="1065"/>
                    </a:cubicBezTo>
                    <a:cubicBezTo>
                      <a:pt x="1794" y="1037"/>
                      <a:pt x="1787" y="1024"/>
                      <a:pt x="1781" y="1010"/>
                    </a:cubicBezTo>
                    <a:cubicBezTo>
                      <a:pt x="1642" y="698"/>
                      <a:pt x="1503" y="387"/>
                      <a:pt x="1366" y="75"/>
                    </a:cubicBezTo>
                    <a:cubicBezTo>
                      <a:pt x="1344" y="23"/>
                      <a:pt x="1314" y="0"/>
                      <a:pt x="1255" y="1"/>
                    </a:cubicBezTo>
                    <a:cubicBezTo>
                      <a:pt x="1081" y="5"/>
                      <a:pt x="908" y="2"/>
                      <a:pt x="734" y="2"/>
                    </a:cubicBezTo>
                    <a:cubicBezTo>
                      <a:pt x="521" y="2"/>
                      <a:pt x="308" y="2"/>
                      <a:pt x="95" y="2"/>
                    </a:cubicBezTo>
                    <a:cubicBezTo>
                      <a:pt x="21" y="3"/>
                      <a:pt x="0" y="35"/>
                      <a:pt x="27" y="104"/>
                    </a:cubicBezTo>
                    <a:cubicBezTo>
                      <a:pt x="33" y="119"/>
                      <a:pt x="39" y="133"/>
                      <a:pt x="45" y="148"/>
                    </a:cubicBezTo>
                    <a:cubicBezTo>
                      <a:pt x="324" y="776"/>
                      <a:pt x="603" y="1404"/>
                      <a:pt x="881" y="2033"/>
                    </a:cubicBezTo>
                    <a:cubicBezTo>
                      <a:pt x="884" y="2040"/>
                      <a:pt x="886" y="2047"/>
                      <a:pt x="888" y="2056"/>
                    </a:cubicBezTo>
                    <a:cubicBezTo>
                      <a:pt x="825" y="2188"/>
                      <a:pt x="790" y="2335"/>
                      <a:pt x="790" y="2491"/>
                    </a:cubicBezTo>
                    <a:cubicBezTo>
                      <a:pt x="790" y="3053"/>
                      <a:pt x="1246" y="3509"/>
                      <a:pt x="1808" y="3509"/>
                    </a:cubicBezTo>
                    <a:cubicBezTo>
                      <a:pt x="2371" y="3509"/>
                      <a:pt x="2827" y="3053"/>
                      <a:pt x="2827" y="2491"/>
                    </a:cubicBezTo>
                    <a:cubicBezTo>
                      <a:pt x="2827" y="2342"/>
                      <a:pt x="2795" y="2201"/>
                      <a:pt x="2738" y="2074"/>
                    </a:cubicBezTo>
                    <a:cubicBezTo>
                      <a:pt x="2737" y="2054"/>
                      <a:pt x="2741" y="2033"/>
                      <a:pt x="2748" y="2017"/>
                    </a:cubicBezTo>
                    <a:cubicBezTo>
                      <a:pt x="3025" y="1384"/>
                      <a:pt x="3305" y="752"/>
                      <a:pt x="3584" y="119"/>
                    </a:cubicBezTo>
                    <a:close/>
                    <a:moveTo>
                      <a:pt x="1960" y="1021"/>
                    </a:moveTo>
                    <a:cubicBezTo>
                      <a:pt x="2096" y="742"/>
                      <a:pt x="2214" y="453"/>
                      <a:pt x="2341" y="169"/>
                    </a:cubicBezTo>
                    <a:cubicBezTo>
                      <a:pt x="2349" y="152"/>
                      <a:pt x="2368" y="129"/>
                      <a:pt x="2382" y="128"/>
                    </a:cubicBezTo>
                    <a:cubicBezTo>
                      <a:pt x="2532" y="125"/>
                      <a:pt x="2682" y="127"/>
                      <a:pt x="2846" y="127"/>
                    </a:cubicBezTo>
                    <a:cubicBezTo>
                      <a:pt x="2632" y="610"/>
                      <a:pt x="2422" y="1082"/>
                      <a:pt x="2212" y="1556"/>
                    </a:cubicBezTo>
                    <a:cubicBezTo>
                      <a:pt x="2146" y="1527"/>
                      <a:pt x="2077" y="1506"/>
                      <a:pt x="2005" y="1492"/>
                    </a:cubicBezTo>
                    <a:cubicBezTo>
                      <a:pt x="1997" y="1485"/>
                      <a:pt x="1989" y="1476"/>
                      <a:pt x="1984" y="1467"/>
                    </a:cubicBezTo>
                    <a:cubicBezTo>
                      <a:pt x="1973" y="1451"/>
                      <a:pt x="1970" y="1430"/>
                      <a:pt x="1959" y="1414"/>
                    </a:cubicBezTo>
                    <a:cubicBezTo>
                      <a:pt x="1867" y="1282"/>
                      <a:pt x="1893" y="1159"/>
                      <a:pt x="1960" y="1021"/>
                    </a:cubicBezTo>
                    <a:close/>
                    <a:moveTo>
                      <a:pt x="988" y="2491"/>
                    </a:moveTo>
                    <a:cubicBezTo>
                      <a:pt x="988" y="2037"/>
                      <a:pt x="1355" y="1670"/>
                      <a:pt x="1808" y="1670"/>
                    </a:cubicBezTo>
                    <a:cubicBezTo>
                      <a:pt x="1875" y="1670"/>
                      <a:pt x="1939" y="1678"/>
                      <a:pt x="2001" y="1693"/>
                    </a:cubicBezTo>
                    <a:cubicBezTo>
                      <a:pt x="1010" y="2684"/>
                      <a:pt x="1010" y="2684"/>
                      <a:pt x="1010" y="2684"/>
                    </a:cubicBezTo>
                    <a:cubicBezTo>
                      <a:pt x="996" y="2622"/>
                      <a:pt x="988" y="2557"/>
                      <a:pt x="988" y="2491"/>
                    </a:cubicBezTo>
                    <a:close/>
                    <a:moveTo>
                      <a:pt x="1386" y="3195"/>
                    </a:moveTo>
                    <a:cubicBezTo>
                      <a:pt x="2512" y="2068"/>
                      <a:pt x="2512" y="2068"/>
                      <a:pt x="2512" y="2068"/>
                    </a:cubicBezTo>
                    <a:cubicBezTo>
                      <a:pt x="2586" y="2192"/>
                      <a:pt x="2629" y="2336"/>
                      <a:pt x="2629" y="2491"/>
                    </a:cubicBezTo>
                    <a:cubicBezTo>
                      <a:pt x="2629" y="2944"/>
                      <a:pt x="2262" y="3312"/>
                      <a:pt x="1808" y="3312"/>
                    </a:cubicBezTo>
                    <a:cubicBezTo>
                      <a:pt x="1654" y="3312"/>
                      <a:pt x="1509" y="3269"/>
                      <a:pt x="1386" y="3195"/>
                    </a:cubicBezTo>
                    <a:close/>
                    <a:moveTo>
                      <a:pt x="1233" y="129"/>
                    </a:moveTo>
                    <a:cubicBezTo>
                      <a:pt x="1246" y="129"/>
                      <a:pt x="1265" y="155"/>
                      <a:pt x="1272" y="172"/>
                    </a:cubicBezTo>
                    <a:cubicBezTo>
                      <a:pt x="1435" y="537"/>
                      <a:pt x="1596" y="903"/>
                      <a:pt x="1757" y="1268"/>
                    </a:cubicBezTo>
                    <a:cubicBezTo>
                      <a:pt x="1787" y="1336"/>
                      <a:pt x="1817" y="1404"/>
                      <a:pt x="1844" y="1465"/>
                    </a:cubicBezTo>
                    <a:cubicBezTo>
                      <a:pt x="1831" y="1468"/>
                      <a:pt x="1818" y="1470"/>
                      <a:pt x="1805" y="1473"/>
                    </a:cubicBezTo>
                    <a:cubicBezTo>
                      <a:pt x="1671" y="1473"/>
                      <a:pt x="1543" y="1499"/>
                      <a:pt x="1425" y="1547"/>
                    </a:cubicBezTo>
                    <a:cubicBezTo>
                      <a:pt x="1414" y="1549"/>
                      <a:pt x="1403" y="1552"/>
                      <a:pt x="1392" y="1554"/>
                    </a:cubicBezTo>
                    <a:cubicBezTo>
                      <a:pt x="1188" y="1090"/>
                      <a:pt x="979" y="613"/>
                      <a:pt x="766" y="127"/>
                    </a:cubicBezTo>
                    <a:cubicBezTo>
                      <a:pt x="930" y="127"/>
                      <a:pt x="1081" y="126"/>
                      <a:pt x="1233" y="129"/>
                    </a:cubicBezTo>
                    <a:close/>
                    <a:moveTo>
                      <a:pt x="166" y="133"/>
                    </a:moveTo>
                    <a:cubicBezTo>
                      <a:pt x="185" y="130"/>
                      <a:pt x="196" y="127"/>
                      <a:pt x="207" y="127"/>
                    </a:cubicBezTo>
                    <a:cubicBezTo>
                      <a:pt x="333" y="127"/>
                      <a:pt x="459" y="125"/>
                      <a:pt x="586" y="128"/>
                    </a:cubicBezTo>
                    <a:cubicBezTo>
                      <a:pt x="605" y="129"/>
                      <a:pt x="635" y="146"/>
                      <a:pt x="642" y="163"/>
                    </a:cubicBezTo>
                    <a:cubicBezTo>
                      <a:pt x="855" y="639"/>
                      <a:pt x="1066" y="1117"/>
                      <a:pt x="1276" y="1594"/>
                    </a:cubicBezTo>
                    <a:cubicBezTo>
                      <a:pt x="1281" y="1605"/>
                      <a:pt x="1283" y="1616"/>
                      <a:pt x="1282" y="1613"/>
                    </a:cubicBezTo>
                    <a:cubicBezTo>
                      <a:pt x="1277" y="1618"/>
                      <a:pt x="1272" y="1623"/>
                      <a:pt x="1267" y="1628"/>
                    </a:cubicBezTo>
                    <a:cubicBezTo>
                      <a:pt x="1145" y="1705"/>
                      <a:pt x="1041" y="1807"/>
                      <a:pt x="961" y="1926"/>
                    </a:cubicBezTo>
                    <a:cubicBezTo>
                      <a:pt x="699" y="1337"/>
                      <a:pt x="434" y="737"/>
                      <a:pt x="166" y="133"/>
                    </a:cubicBezTo>
                    <a:close/>
                    <a:moveTo>
                      <a:pt x="2650" y="1917"/>
                    </a:moveTo>
                    <a:cubicBezTo>
                      <a:pt x="2650" y="1917"/>
                      <a:pt x="2649" y="1917"/>
                      <a:pt x="2649" y="1916"/>
                    </a:cubicBezTo>
                    <a:cubicBezTo>
                      <a:pt x="2571" y="1802"/>
                      <a:pt x="2471" y="1705"/>
                      <a:pt x="2354" y="1631"/>
                    </a:cubicBezTo>
                    <a:cubicBezTo>
                      <a:pt x="2344" y="1621"/>
                      <a:pt x="2334" y="1612"/>
                      <a:pt x="2325" y="1603"/>
                    </a:cubicBezTo>
                    <a:cubicBezTo>
                      <a:pt x="2396" y="1441"/>
                      <a:pt x="2474" y="1265"/>
                      <a:pt x="2552" y="1090"/>
                    </a:cubicBezTo>
                    <a:cubicBezTo>
                      <a:pt x="2687" y="786"/>
                      <a:pt x="2823" y="482"/>
                      <a:pt x="2956" y="178"/>
                    </a:cubicBezTo>
                    <a:cubicBezTo>
                      <a:pt x="2973" y="139"/>
                      <a:pt x="2993" y="125"/>
                      <a:pt x="3036" y="126"/>
                    </a:cubicBezTo>
                    <a:cubicBezTo>
                      <a:pt x="3169" y="128"/>
                      <a:pt x="3303" y="127"/>
                      <a:pt x="3449" y="127"/>
                    </a:cubicBezTo>
                    <a:cubicBezTo>
                      <a:pt x="3178" y="735"/>
                      <a:pt x="2912" y="1329"/>
                      <a:pt x="2650" y="191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13" name="Groupe 12"/>
          <p:cNvGrpSpPr/>
          <p:nvPr/>
        </p:nvGrpSpPr>
        <p:grpSpPr>
          <a:xfrm>
            <a:off x="6930696" y="2912152"/>
            <a:ext cx="1819604" cy="2082239"/>
            <a:chOff x="5406696" y="2912151"/>
            <a:chExt cx="1819604" cy="2082239"/>
          </a:xfrm>
        </p:grpSpPr>
        <p:sp>
          <p:nvSpPr>
            <p:cNvPr id="59" name="Rectangle 58"/>
            <p:cNvSpPr/>
            <p:nvPr/>
          </p:nvSpPr>
          <p:spPr>
            <a:xfrm>
              <a:off x="5406696" y="3766362"/>
              <a:ext cx="1819604" cy="1228028"/>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kumimoji="0" lang="sl-SI" sz="1100" b="1" i="0" u="none" strike="noStrike" kern="1200" cap="none" spc="0" normalizeH="0" baseline="0" noProof="0" dirty="0">
                  <a:ln>
                    <a:noFill/>
                  </a:ln>
                  <a:solidFill>
                    <a:srgbClr val="0BB18F"/>
                  </a:solidFill>
                  <a:effectLst/>
                  <a:uLnTx/>
                  <a:uFillTx/>
                  <a:latin typeface="Arial"/>
                  <a:ea typeface="+mn-ea"/>
                  <a:cs typeface="+mn-cs"/>
                </a:rPr>
                <a:t>GLOBALNI VODJA ZA VARNEJŠO TRGOVINO</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100" b="1" i="0" u="none" strike="noStrike" kern="1200" cap="none" spc="0" normalizeH="0" baseline="0" noProof="0" dirty="0">
                  <a:ln>
                    <a:noFill/>
                  </a:ln>
                  <a:solidFill>
                    <a:srgbClr val="1C355E"/>
                  </a:solidFill>
                  <a:effectLst/>
                  <a:uLnTx/>
                  <a:uFillTx/>
                  <a:latin typeface="Arial"/>
                  <a:ea typeface="+mn-ea"/>
                  <a:cs typeface="+mn-cs"/>
                </a:rPr>
                <a:t>50</a:t>
              </a:r>
              <a:r>
                <a:rPr kumimoji="0" lang="sl-SI" sz="1100" b="1" i="0" u="none" strike="noStrike" kern="1200" cap="none" spc="0" normalizeH="0" baseline="0" noProof="0" dirty="0">
                  <a:ln>
                    <a:noFill/>
                  </a:ln>
                  <a:solidFill>
                    <a:srgbClr val="1C355E"/>
                  </a:solidFill>
                  <a:effectLst/>
                  <a:uLnTx/>
                  <a:uFillTx/>
                  <a:latin typeface="Arial"/>
                  <a:ea typeface="+mn-ea"/>
                  <a:cs typeface="+mn-cs"/>
                </a:rPr>
                <a:t>.</a:t>
              </a:r>
              <a:r>
                <a:rPr kumimoji="0" lang="en-US" sz="1100" b="1" i="0" u="none" strike="noStrike" kern="1200" cap="none" spc="0" normalizeH="0" baseline="0" noProof="0" dirty="0">
                  <a:ln>
                    <a:noFill/>
                  </a:ln>
                  <a:solidFill>
                    <a:srgbClr val="1C355E"/>
                  </a:solidFill>
                  <a:effectLst/>
                  <a:uLnTx/>
                  <a:uFillTx/>
                  <a:latin typeface="Arial"/>
                  <a:ea typeface="+mn-ea"/>
                  <a:cs typeface="+mn-cs"/>
                </a:rPr>
                <a:t>000</a:t>
              </a:r>
              <a:r>
                <a:rPr kumimoji="0" lang="sl-SI" sz="1100" b="1" i="0" u="none" strike="noStrike" kern="1200" cap="none" spc="0" normalizeH="0" baseline="0" noProof="0" dirty="0">
                  <a:ln>
                    <a:noFill/>
                  </a:ln>
                  <a:solidFill>
                    <a:srgbClr val="1C355E"/>
                  </a:solidFill>
                  <a:effectLst/>
                  <a:uLnTx/>
                  <a:uFillTx/>
                  <a:latin typeface="Arial"/>
                  <a:ea typeface="+mn-ea"/>
                  <a:cs typeface="+mn-cs"/>
                </a:rPr>
                <a:t> strank </a:t>
              </a:r>
              <a:r>
                <a:rPr kumimoji="0" lang="sl-SI" sz="1100" b="0" i="0" u="none" strike="noStrike" kern="1200" cap="none" spc="0" normalizeH="0" baseline="0" noProof="0" dirty="0">
                  <a:ln>
                    <a:noFill/>
                  </a:ln>
                  <a:solidFill>
                    <a:srgbClr val="1C355E"/>
                  </a:solidFill>
                  <a:effectLst/>
                  <a:uLnTx/>
                  <a:uFillTx/>
                  <a:latin typeface="Arial"/>
                  <a:ea typeface="+mn-ea"/>
                  <a:cs typeface="+mn-cs"/>
                </a:rPr>
                <a:t>v</a:t>
              </a:r>
              <a:r>
                <a:rPr kumimoji="0" lang="sl-SI" sz="1100" b="1" i="0" u="none" strike="noStrike" kern="1200" cap="none" spc="0" normalizeH="0" baseline="0" noProof="0" dirty="0">
                  <a:ln>
                    <a:noFill/>
                  </a:ln>
                  <a:solidFill>
                    <a:srgbClr val="1C355E"/>
                  </a:solidFill>
                  <a:effectLst/>
                  <a:uLnTx/>
                  <a:uFillTx/>
                  <a:latin typeface="Arial"/>
                  <a:ea typeface="+mn-ea"/>
                  <a:cs typeface="+mn-cs"/>
                </a:rPr>
                <a:t> 100 državah sveta</a:t>
              </a:r>
              <a:endParaRPr kumimoji="0" lang="sl-SI" sz="1100" b="0" i="0" u="none" strike="noStrike" kern="1200" cap="none" spc="0" normalizeH="0" baseline="0" noProof="0" dirty="0">
                <a:ln>
                  <a:noFill/>
                </a:ln>
                <a:solidFill>
                  <a:srgbClr val="1C355E"/>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sl-SI" sz="1100" b="0" i="0" u="none" strike="noStrike" kern="1200" cap="none" spc="0" normalizeH="0" baseline="0" noProof="0" dirty="0">
                  <a:ln>
                    <a:noFill/>
                  </a:ln>
                  <a:solidFill>
                    <a:srgbClr val="1C355E"/>
                  </a:solidFill>
                  <a:effectLst/>
                  <a:uLnTx/>
                  <a:uFillTx/>
                  <a:latin typeface="Arial"/>
                  <a:ea typeface="+mn-ea"/>
                  <a:cs typeface="+mn-cs"/>
                </a:rPr>
                <a:t>Kritje tveganj v več kot </a:t>
              </a:r>
              <a:r>
                <a:rPr kumimoji="0" lang="sl-SI" sz="1100" b="1" i="0" u="none" strike="noStrike" kern="1200" cap="none" spc="0" normalizeH="0" baseline="0" noProof="0" dirty="0">
                  <a:ln>
                    <a:noFill/>
                  </a:ln>
                  <a:solidFill>
                    <a:srgbClr val="1C355E"/>
                  </a:solidFill>
                  <a:effectLst/>
                  <a:uLnTx/>
                  <a:uFillTx/>
                  <a:latin typeface="Arial"/>
                  <a:ea typeface="+mn-ea"/>
                  <a:cs typeface="+mn-cs"/>
                </a:rPr>
                <a:t>200 državah sveta</a:t>
              </a:r>
              <a:endParaRPr kumimoji="0" lang="en-US" sz="1100" b="1" i="0" u="none" strike="noStrike" kern="1200" cap="none" spc="0" normalizeH="0" baseline="0" noProof="0" dirty="0">
                <a:ln>
                  <a:noFill/>
                </a:ln>
                <a:solidFill>
                  <a:srgbClr val="1C355E"/>
                </a:solidFill>
                <a:effectLst/>
                <a:uLnTx/>
                <a:uFillTx/>
                <a:latin typeface="Arial"/>
                <a:ea typeface="+mn-ea"/>
                <a:cs typeface="+mn-cs"/>
              </a:endParaRPr>
            </a:p>
          </p:txBody>
        </p:sp>
        <p:grpSp>
          <p:nvGrpSpPr>
            <p:cNvPr id="44" name="Groupe 43"/>
            <p:cNvGrpSpPr/>
            <p:nvPr/>
          </p:nvGrpSpPr>
          <p:grpSpPr>
            <a:xfrm>
              <a:off x="5507038" y="2912151"/>
              <a:ext cx="780968" cy="780968"/>
              <a:chOff x="5511882" y="3747176"/>
              <a:chExt cx="628568" cy="628568"/>
            </a:xfrm>
          </p:grpSpPr>
          <p:sp>
            <p:nvSpPr>
              <p:cNvPr id="39" name="Rectangle 38"/>
              <p:cNvSpPr/>
              <p:nvPr/>
            </p:nvSpPr>
            <p:spPr>
              <a:xfrm>
                <a:off x="5511882" y="3747176"/>
                <a:ext cx="628568" cy="6285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24" name="Groupe 23"/>
              <p:cNvGrpSpPr/>
              <p:nvPr/>
            </p:nvGrpSpPr>
            <p:grpSpPr>
              <a:xfrm>
                <a:off x="5645711" y="3841204"/>
                <a:ext cx="360910" cy="440513"/>
                <a:chOff x="1755776" y="0"/>
                <a:chExt cx="5635625" cy="6878638"/>
              </a:xfrm>
              <a:solidFill>
                <a:schemeClr val="bg1"/>
              </a:solidFill>
            </p:grpSpPr>
            <p:sp>
              <p:nvSpPr>
                <p:cNvPr id="25" name="Freeform 19"/>
                <p:cNvSpPr>
                  <a:spLocks noEditPoints="1"/>
                </p:cNvSpPr>
                <p:nvPr/>
              </p:nvSpPr>
              <p:spPr bwMode="auto">
                <a:xfrm>
                  <a:off x="1755776" y="0"/>
                  <a:ext cx="5635625" cy="6878638"/>
                </a:xfrm>
                <a:custGeom>
                  <a:avLst/>
                  <a:gdLst>
                    <a:gd name="T0" fmla="*/ 1 w 3753"/>
                    <a:gd name="T1" fmla="*/ 625 h 4580"/>
                    <a:gd name="T2" fmla="*/ 1876 w 3753"/>
                    <a:gd name="T3" fmla="*/ 0 h 4580"/>
                    <a:gd name="T4" fmla="*/ 3751 w 3753"/>
                    <a:gd name="T5" fmla="*/ 625 h 4580"/>
                    <a:gd name="T6" fmla="*/ 3751 w 3753"/>
                    <a:gd name="T7" fmla="*/ 835 h 4580"/>
                    <a:gd name="T8" fmla="*/ 3557 w 3753"/>
                    <a:gd name="T9" fmla="*/ 2362 h 4580"/>
                    <a:gd name="T10" fmla="*/ 2731 w 3753"/>
                    <a:gd name="T11" fmla="*/ 3982 h 4580"/>
                    <a:gd name="T12" fmla="*/ 2022 w 3753"/>
                    <a:gd name="T13" fmla="*/ 4527 h 4580"/>
                    <a:gd name="T14" fmla="*/ 1732 w 3753"/>
                    <a:gd name="T15" fmla="*/ 4528 h 4580"/>
                    <a:gd name="T16" fmla="*/ 816 w 3753"/>
                    <a:gd name="T17" fmla="*/ 3732 h 4580"/>
                    <a:gd name="T18" fmla="*/ 120 w 3753"/>
                    <a:gd name="T19" fmla="*/ 2025 h 4580"/>
                    <a:gd name="T20" fmla="*/ 1 w 3753"/>
                    <a:gd name="T21" fmla="*/ 708 h 4580"/>
                    <a:gd name="T22" fmla="*/ 1 w 3753"/>
                    <a:gd name="T23" fmla="*/ 625 h 4580"/>
                    <a:gd name="T24" fmla="*/ 3613 w 3753"/>
                    <a:gd name="T25" fmla="*/ 765 h 4580"/>
                    <a:gd name="T26" fmla="*/ 3302 w 3753"/>
                    <a:gd name="T27" fmla="*/ 726 h 4580"/>
                    <a:gd name="T28" fmla="*/ 1912 w 3753"/>
                    <a:gd name="T29" fmla="*/ 214 h 4580"/>
                    <a:gd name="T30" fmla="*/ 1835 w 3753"/>
                    <a:gd name="T31" fmla="*/ 218 h 4580"/>
                    <a:gd name="T32" fmla="*/ 563 w 3753"/>
                    <a:gd name="T33" fmla="*/ 708 h 4580"/>
                    <a:gd name="T34" fmla="*/ 143 w 3753"/>
                    <a:gd name="T35" fmla="*/ 766 h 4580"/>
                    <a:gd name="T36" fmla="*/ 180 w 3753"/>
                    <a:gd name="T37" fmla="*/ 1379 h 4580"/>
                    <a:gd name="T38" fmla="*/ 575 w 3753"/>
                    <a:gd name="T39" fmla="*/ 3016 h 4580"/>
                    <a:gd name="T40" fmla="*/ 1568 w 3753"/>
                    <a:gd name="T41" fmla="*/ 4257 h 4580"/>
                    <a:gd name="T42" fmla="*/ 2184 w 3753"/>
                    <a:gd name="T43" fmla="*/ 4258 h 4580"/>
                    <a:gd name="T44" fmla="*/ 3148 w 3753"/>
                    <a:gd name="T45" fmla="*/ 3080 h 4580"/>
                    <a:gd name="T46" fmla="*/ 3555 w 3753"/>
                    <a:gd name="T47" fmla="*/ 1539 h 4580"/>
                    <a:gd name="T48" fmla="*/ 3613 w 3753"/>
                    <a:gd name="T49" fmla="*/ 765 h 45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753" h="4580">
                      <a:moveTo>
                        <a:pt x="1" y="625"/>
                      </a:moveTo>
                      <a:cubicBezTo>
                        <a:pt x="685" y="569"/>
                        <a:pt x="1333" y="442"/>
                        <a:pt x="1876" y="0"/>
                      </a:cubicBezTo>
                      <a:cubicBezTo>
                        <a:pt x="2419" y="444"/>
                        <a:pt x="3068" y="570"/>
                        <a:pt x="3751" y="625"/>
                      </a:cubicBezTo>
                      <a:cubicBezTo>
                        <a:pt x="3751" y="695"/>
                        <a:pt x="3753" y="765"/>
                        <a:pt x="3751" y="835"/>
                      </a:cubicBezTo>
                      <a:cubicBezTo>
                        <a:pt x="3736" y="1350"/>
                        <a:pt x="3686" y="1861"/>
                        <a:pt x="3557" y="2362"/>
                      </a:cubicBezTo>
                      <a:cubicBezTo>
                        <a:pt x="3402" y="2963"/>
                        <a:pt x="3154" y="3517"/>
                        <a:pt x="2731" y="3982"/>
                      </a:cubicBezTo>
                      <a:cubicBezTo>
                        <a:pt x="2528" y="4206"/>
                        <a:pt x="2294" y="4390"/>
                        <a:pt x="2022" y="4527"/>
                      </a:cubicBezTo>
                      <a:cubicBezTo>
                        <a:pt x="1920" y="4579"/>
                        <a:pt x="1834" y="4580"/>
                        <a:pt x="1732" y="4528"/>
                      </a:cubicBezTo>
                      <a:cubicBezTo>
                        <a:pt x="1358" y="4340"/>
                        <a:pt x="1061" y="4066"/>
                        <a:pt x="816" y="3732"/>
                      </a:cubicBezTo>
                      <a:cubicBezTo>
                        <a:pt x="441" y="3221"/>
                        <a:pt x="239" y="2639"/>
                        <a:pt x="120" y="2025"/>
                      </a:cubicBezTo>
                      <a:cubicBezTo>
                        <a:pt x="36" y="1590"/>
                        <a:pt x="3" y="1150"/>
                        <a:pt x="1" y="708"/>
                      </a:cubicBezTo>
                      <a:cubicBezTo>
                        <a:pt x="0" y="681"/>
                        <a:pt x="1" y="654"/>
                        <a:pt x="1" y="625"/>
                      </a:cubicBezTo>
                      <a:close/>
                      <a:moveTo>
                        <a:pt x="3613" y="765"/>
                      </a:moveTo>
                      <a:cubicBezTo>
                        <a:pt x="3496" y="750"/>
                        <a:pt x="3399" y="740"/>
                        <a:pt x="3302" y="726"/>
                      </a:cubicBezTo>
                      <a:cubicBezTo>
                        <a:pt x="2804" y="650"/>
                        <a:pt x="2328" y="514"/>
                        <a:pt x="1912" y="214"/>
                      </a:cubicBezTo>
                      <a:cubicBezTo>
                        <a:pt x="1895" y="202"/>
                        <a:pt x="1853" y="205"/>
                        <a:pt x="1835" y="218"/>
                      </a:cubicBezTo>
                      <a:cubicBezTo>
                        <a:pt x="1454" y="492"/>
                        <a:pt x="1019" y="628"/>
                        <a:pt x="563" y="708"/>
                      </a:cubicBezTo>
                      <a:cubicBezTo>
                        <a:pt x="427" y="732"/>
                        <a:pt x="290" y="746"/>
                        <a:pt x="143" y="766"/>
                      </a:cubicBezTo>
                      <a:cubicBezTo>
                        <a:pt x="155" y="972"/>
                        <a:pt x="162" y="1176"/>
                        <a:pt x="180" y="1379"/>
                      </a:cubicBezTo>
                      <a:cubicBezTo>
                        <a:pt x="227" y="1945"/>
                        <a:pt x="342" y="2495"/>
                        <a:pt x="575" y="3016"/>
                      </a:cubicBezTo>
                      <a:cubicBezTo>
                        <a:pt x="799" y="3515"/>
                        <a:pt x="1104" y="3954"/>
                        <a:pt x="1568" y="4257"/>
                      </a:cubicBezTo>
                      <a:cubicBezTo>
                        <a:pt x="1911" y="4482"/>
                        <a:pt x="1840" y="4480"/>
                        <a:pt x="2184" y="4258"/>
                      </a:cubicBezTo>
                      <a:cubicBezTo>
                        <a:pt x="2629" y="3971"/>
                        <a:pt x="2927" y="3554"/>
                        <a:pt x="3148" y="3080"/>
                      </a:cubicBezTo>
                      <a:cubicBezTo>
                        <a:pt x="3377" y="2591"/>
                        <a:pt x="3497" y="2072"/>
                        <a:pt x="3555" y="1539"/>
                      </a:cubicBezTo>
                      <a:cubicBezTo>
                        <a:pt x="3582" y="1283"/>
                        <a:pt x="3594" y="1026"/>
                        <a:pt x="3613" y="7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sp>
              <p:nvSpPr>
                <p:cNvPr id="26" name="Freeform 20"/>
                <p:cNvSpPr>
                  <a:spLocks/>
                </p:cNvSpPr>
                <p:nvPr/>
              </p:nvSpPr>
              <p:spPr bwMode="auto">
                <a:xfrm>
                  <a:off x="4576763" y="652463"/>
                  <a:ext cx="2295525" cy="5611813"/>
                </a:xfrm>
                <a:custGeom>
                  <a:avLst/>
                  <a:gdLst>
                    <a:gd name="T0" fmla="*/ 1528 w 1528"/>
                    <a:gd name="T1" fmla="*/ 528 h 3737"/>
                    <a:gd name="T2" fmla="*/ 1492 w 1528"/>
                    <a:gd name="T3" fmla="*/ 1138 h 3737"/>
                    <a:gd name="T4" fmla="*/ 1175 w 1528"/>
                    <a:gd name="T5" fmla="*/ 2456 h 3737"/>
                    <a:gd name="T6" fmla="*/ 187 w 1528"/>
                    <a:gd name="T7" fmla="*/ 3645 h 3737"/>
                    <a:gd name="T8" fmla="*/ 0 w 1528"/>
                    <a:gd name="T9" fmla="*/ 3737 h 3737"/>
                    <a:gd name="T10" fmla="*/ 0 w 1528"/>
                    <a:gd name="T11" fmla="*/ 0 h 3737"/>
                    <a:gd name="T12" fmla="*/ 721 w 1528"/>
                    <a:gd name="T13" fmla="*/ 358 h 3737"/>
                    <a:gd name="T14" fmla="*/ 1528 w 1528"/>
                    <a:gd name="T15" fmla="*/ 528 h 3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28" h="3737">
                      <a:moveTo>
                        <a:pt x="1528" y="528"/>
                      </a:moveTo>
                      <a:cubicBezTo>
                        <a:pt x="1517" y="722"/>
                        <a:pt x="1512" y="931"/>
                        <a:pt x="1492" y="1138"/>
                      </a:cubicBezTo>
                      <a:cubicBezTo>
                        <a:pt x="1450" y="1592"/>
                        <a:pt x="1357" y="2035"/>
                        <a:pt x="1175" y="2456"/>
                      </a:cubicBezTo>
                      <a:cubicBezTo>
                        <a:pt x="962" y="2948"/>
                        <a:pt x="660" y="3368"/>
                        <a:pt x="187" y="3645"/>
                      </a:cubicBezTo>
                      <a:cubicBezTo>
                        <a:pt x="130" y="3678"/>
                        <a:pt x="67" y="3704"/>
                        <a:pt x="0" y="3737"/>
                      </a:cubicBezTo>
                      <a:cubicBezTo>
                        <a:pt x="0" y="2487"/>
                        <a:pt x="0" y="1251"/>
                        <a:pt x="0" y="0"/>
                      </a:cubicBezTo>
                      <a:cubicBezTo>
                        <a:pt x="221" y="169"/>
                        <a:pt x="460" y="290"/>
                        <a:pt x="721" y="358"/>
                      </a:cubicBezTo>
                      <a:cubicBezTo>
                        <a:pt x="981" y="425"/>
                        <a:pt x="1247" y="470"/>
                        <a:pt x="1528" y="5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grpSp>
        </p:grpSp>
      </p:grpSp>
      <p:grpSp>
        <p:nvGrpSpPr>
          <p:cNvPr id="8" name="Groupe 7"/>
          <p:cNvGrpSpPr/>
          <p:nvPr/>
        </p:nvGrpSpPr>
        <p:grpSpPr>
          <a:xfrm>
            <a:off x="3577896" y="2912152"/>
            <a:ext cx="1819604" cy="1743685"/>
            <a:chOff x="2053896" y="2912151"/>
            <a:chExt cx="1819604" cy="1743685"/>
          </a:xfrm>
        </p:grpSpPr>
        <p:sp>
          <p:nvSpPr>
            <p:cNvPr id="51" name="Rectangle 50"/>
            <p:cNvSpPr/>
            <p:nvPr/>
          </p:nvSpPr>
          <p:spPr>
            <a:xfrm>
              <a:off x="2053896" y="3766362"/>
              <a:ext cx="1819604" cy="88947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1" i="0" u="none" strike="noStrike" kern="1200" cap="none" spc="0" normalizeH="0" baseline="0" noProof="0" dirty="0">
                  <a:ln>
                    <a:noFill/>
                  </a:ln>
                  <a:solidFill>
                    <a:srgbClr val="0BB18F"/>
                  </a:solidFill>
                  <a:effectLst/>
                  <a:uLnTx/>
                  <a:uFillTx/>
                  <a:latin typeface="Arial"/>
                  <a:ea typeface="+mn-ea"/>
                  <a:cs typeface="+mn-cs"/>
                </a:rPr>
                <a:t>TRDNA FINANČNA STRUKTURA</a:t>
              </a:r>
              <a:endParaRPr kumimoji="0" lang="fr-FR" sz="1100" b="1" i="0" u="none" strike="noStrike" kern="1200" cap="none" spc="0" normalizeH="0" baseline="0" noProof="0" dirty="0">
                <a:ln>
                  <a:noFill/>
                </a:ln>
                <a:solidFill>
                  <a:srgbClr val="0BB18F"/>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en-US" sz="1100" b="1" i="0" u="none" strike="noStrike" kern="1200" cap="none" spc="0" normalizeH="0" baseline="0" noProof="0" dirty="0">
                  <a:ln>
                    <a:noFill/>
                  </a:ln>
                  <a:solidFill>
                    <a:srgbClr val="1C355E"/>
                  </a:solidFill>
                  <a:effectLst/>
                  <a:uLnTx/>
                  <a:uFillTx/>
                  <a:latin typeface="Arial"/>
                  <a:ea typeface="+mn-ea"/>
                  <a:cs typeface="+mn-cs"/>
                </a:rPr>
                <a:t>€1</a:t>
              </a:r>
              <a:r>
                <a:rPr kumimoji="0" lang="sl-SI" sz="1100" b="1" i="0" u="none" strike="noStrike" kern="1200" cap="none" spc="0" normalizeH="0" baseline="0" noProof="0" dirty="0">
                  <a:ln>
                    <a:noFill/>
                  </a:ln>
                  <a:solidFill>
                    <a:srgbClr val="1C355E"/>
                  </a:solidFill>
                  <a:effectLst/>
                  <a:uLnTx/>
                  <a:uFillTx/>
                  <a:latin typeface="Arial"/>
                  <a:ea typeface="+mn-ea"/>
                  <a:cs typeface="+mn-cs"/>
                </a:rPr>
                <a:t>.998</a:t>
              </a:r>
              <a:r>
                <a:rPr kumimoji="0" lang="en-US" sz="1100" b="1" i="0" u="none" strike="noStrike" kern="1200" cap="none" spc="0" normalizeH="0" baseline="0" noProof="0" dirty="0">
                  <a:ln>
                    <a:noFill/>
                  </a:ln>
                  <a:solidFill>
                    <a:srgbClr val="1C355E"/>
                  </a:solidFill>
                  <a:effectLst/>
                  <a:uLnTx/>
                  <a:uFillTx/>
                  <a:latin typeface="Arial"/>
                  <a:ea typeface="+mn-ea"/>
                  <a:cs typeface="+mn-cs"/>
                </a:rPr>
                <a:t> </a:t>
              </a:r>
              <a:r>
                <a:rPr kumimoji="0" lang="sl-SI" sz="1100" b="1" i="0" u="none" strike="noStrike" kern="1200" cap="none" spc="0" normalizeH="0" baseline="0" noProof="0" dirty="0">
                  <a:ln>
                    <a:noFill/>
                  </a:ln>
                  <a:solidFill>
                    <a:srgbClr val="1C355E"/>
                  </a:solidFill>
                  <a:effectLst/>
                  <a:uLnTx/>
                  <a:uFillTx/>
                  <a:latin typeface="Arial"/>
                  <a:ea typeface="+mn-ea"/>
                  <a:cs typeface="+mn-cs"/>
                </a:rPr>
                <a:t>m</a:t>
              </a:r>
              <a:r>
                <a:rPr kumimoji="0" lang="en-US" sz="1100" b="0" i="0" u="none" strike="noStrike" kern="1200" cap="none" spc="0" normalizeH="0" baseline="0" noProof="0" dirty="0">
                  <a:ln>
                    <a:noFill/>
                  </a:ln>
                  <a:solidFill>
                    <a:srgbClr val="1C355E"/>
                  </a:solidFill>
                  <a:effectLst/>
                  <a:uLnTx/>
                  <a:uFillTx/>
                  <a:latin typeface="Arial"/>
                  <a:ea typeface="+mn-ea"/>
                  <a:cs typeface="+mn-cs"/>
                </a:rPr>
                <a:t> </a:t>
              </a:r>
              <a:r>
                <a:rPr kumimoji="0" lang="sl-SI" sz="1100" b="0" i="0" u="none" strike="noStrike" kern="1200" cap="none" spc="0" normalizeH="0" baseline="0" noProof="0" dirty="0">
                  <a:ln>
                    <a:noFill/>
                  </a:ln>
                  <a:solidFill>
                    <a:srgbClr val="1C355E"/>
                  </a:solidFill>
                  <a:effectLst/>
                  <a:uLnTx/>
                  <a:uFillTx/>
                  <a:latin typeface="Arial"/>
                  <a:ea typeface="+mn-ea"/>
                  <a:cs typeface="+mn-cs"/>
                </a:rPr>
                <a:t>kapitala v </a:t>
              </a:r>
              <a:r>
                <a:rPr kumimoji="0" lang="en-US" sz="1100" b="0" i="0" u="none" strike="noStrike" kern="1200" cap="none" spc="0" normalizeH="0" baseline="0" noProof="0" dirty="0">
                  <a:ln>
                    <a:noFill/>
                  </a:ln>
                  <a:solidFill>
                    <a:srgbClr val="1C355E"/>
                  </a:solidFill>
                  <a:effectLst/>
                  <a:uLnTx/>
                  <a:uFillTx/>
                  <a:latin typeface="Arial"/>
                  <a:ea typeface="+mn-ea"/>
                  <a:cs typeface="+mn-cs"/>
                </a:rPr>
                <a:t>20</a:t>
              </a:r>
              <a:r>
                <a:rPr kumimoji="0" lang="sl-SI" sz="1100" b="0" i="0" u="none" strike="noStrike" kern="1200" cap="none" spc="0" normalizeH="0" baseline="0" noProof="0" dirty="0">
                  <a:ln>
                    <a:noFill/>
                  </a:ln>
                  <a:solidFill>
                    <a:srgbClr val="1C355E"/>
                  </a:solidFill>
                  <a:effectLst/>
                  <a:uLnTx/>
                  <a:uFillTx/>
                  <a:latin typeface="Arial"/>
                  <a:ea typeface="+mn-ea"/>
                  <a:cs typeface="+mn-cs"/>
                </a:rPr>
                <a:t>20</a:t>
              </a:r>
              <a:endParaRPr kumimoji="0" lang="en-US" sz="1100" b="0" i="0" u="none" strike="noStrike" kern="1200" cap="none" spc="0" normalizeH="0" baseline="0" noProof="0" dirty="0">
                <a:ln>
                  <a:noFill/>
                </a:ln>
                <a:solidFill>
                  <a:srgbClr val="1C355E"/>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en-US" sz="1100" b="1" i="0" u="none" strike="noStrike" kern="1200" cap="none" spc="0" normalizeH="0" baseline="0" noProof="0" dirty="0">
                  <a:ln>
                    <a:noFill/>
                  </a:ln>
                  <a:solidFill>
                    <a:srgbClr val="1C355E"/>
                  </a:solidFill>
                  <a:effectLst/>
                  <a:uLnTx/>
                  <a:uFillTx/>
                  <a:latin typeface="Arial"/>
                  <a:ea typeface="+mn-ea"/>
                  <a:cs typeface="+mn-cs"/>
                </a:rPr>
                <a:t>AA-</a:t>
              </a:r>
              <a:r>
                <a:rPr kumimoji="0" lang="sl-SI" sz="1100" b="0" i="0" u="none" strike="noStrike" kern="1200" cap="none" spc="0" normalizeH="0" baseline="0" noProof="0" dirty="0">
                  <a:ln>
                    <a:noFill/>
                  </a:ln>
                  <a:solidFill>
                    <a:srgbClr val="1C355E"/>
                  </a:solidFill>
                  <a:effectLst/>
                  <a:uLnTx/>
                  <a:uFillTx/>
                  <a:latin typeface="Arial"/>
                  <a:ea typeface="+mn-ea"/>
                  <a:cs typeface="+mn-cs"/>
                </a:rPr>
                <a:t> </a:t>
              </a:r>
              <a:r>
                <a:rPr kumimoji="0" lang="en-US" sz="1100" b="1" i="0" u="none" strike="noStrike" kern="1200" cap="none" spc="0" normalizeH="0" baseline="0" noProof="0" dirty="0">
                  <a:ln>
                    <a:noFill/>
                  </a:ln>
                  <a:solidFill>
                    <a:srgbClr val="1C355E"/>
                  </a:solidFill>
                  <a:effectLst/>
                  <a:uLnTx/>
                  <a:uFillTx/>
                  <a:latin typeface="Arial"/>
                  <a:ea typeface="+mn-ea"/>
                  <a:cs typeface="+mn-cs"/>
                </a:rPr>
                <a:t>Fitch</a:t>
              </a:r>
              <a:r>
                <a:rPr kumimoji="0" lang="en-US" sz="1100" b="0" i="0" u="none" strike="noStrike" kern="1200" cap="none" spc="0" normalizeH="0" baseline="0" noProof="0" dirty="0">
                  <a:ln>
                    <a:noFill/>
                  </a:ln>
                  <a:solidFill>
                    <a:srgbClr val="1C355E"/>
                  </a:solidFill>
                  <a:effectLst/>
                  <a:uLnTx/>
                  <a:uFillTx/>
                  <a:latin typeface="Arial"/>
                  <a:ea typeface="+mn-ea"/>
                  <a:cs typeface="+mn-cs"/>
                </a:rPr>
                <a:t> / </a:t>
              </a:r>
              <a:r>
                <a:rPr kumimoji="0" lang="en-US" sz="1100" b="1" i="0" u="none" strike="noStrike" kern="1200" cap="none" spc="0" normalizeH="0" baseline="0" noProof="0" dirty="0">
                  <a:ln>
                    <a:noFill/>
                  </a:ln>
                  <a:solidFill>
                    <a:srgbClr val="1C355E"/>
                  </a:solidFill>
                  <a:effectLst/>
                  <a:uLnTx/>
                  <a:uFillTx/>
                  <a:latin typeface="Arial"/>
                  <a:ea typeface="+mn-ea"/>
                  <a:cs typeface="+mn-cs"/>
                </a:rPr>
                <a:t>A2</a:t>
              </a:r>
              <a:r>
                <a:rPr kumimoji="0" lang="en-US" sz="1100" b="0" i="0" u="none" strike="noStrike" kern="1200" cap="none" spc="0" normalizeH="0" baseline="0" noProof="0" dirty="0">
                  <a:ln>
                    <a:noFill/>
                  </a:ln>
                  <a:solidFill>
                    <a:srgbClr val="1C355E"/>
                  </a:solidFill>
                  <a:effectLst/>
                  <a:uLnTx/>
                  <a:uFillTx/>
                  <a:latin typeface="Arial"/>
                  <a:ea typeface="+mn-ea"/>
                  <a:cs typeface="+mn-cs"/>
                </a:rPr>
                <a:t> </a:t>
              </a:r>
              <a:r>
                <a:rPr kumimoji="0" lang="en-US" sz="1100" b="1" i="0" u="none" strike="noStrike" kern="1200" cap="none" spc="0" normalizeH="0" baseline="0" noProof="0" dirty="0">
                  <a:ln>
                    <a:noFill/>
                  </a:ln>
                  <a:solidFill>
                    <a:srgbClr val="1C355E"/>
                  </a:solidFill>
                  <a:effectLst/>
                  <a:uLnTx/>
                  <a:uFillTx/>
                  <a:latin typeface="Arial"/>
                  <a:ea typeface="+mn-ea"/>
                  <a:cs typeface="+mn-cs"/>
                </a:rPr>
                <a:t>Moody's</a:t>
              </a:r>
              <a:endParaRPr kumimoji="0" lang="sl-SI" sz="1100" b="0" i="0" u="none" strike="noStrike" kern="1200" cap="none" spc="0" normalizeH="0" baseline="0" noProof="0" dirty="0">
                <a:ln>
                  <a:noFill/>
                </a:ln>
                <a:solidFill>
                  <a:srgbClr val="1C355E"/>
                </a:solidFill>
                <a:effectLst/>
                <a:uLnTx/>
                <a:uFillTx/>
                <a:latin typeface="Arial"/>
                <a:ea typeface="+mn-ea"/>
                <a:cs typeface="+mn-cs"/>
              </a:endParaRPr>
            </a:p>
          </p:txBody>
        </p:sp>
        <p:grpSp>
          <p:nvGrpSpPr>
            <p:cNvPr id="41" name="Groupe 40"/>
            <p:cNvGrpSpPr/>
            <p:nvPr/>
          </p:nvGrpSpPr>
          <p:grpSpPr>
            <a:xfrm>
              <a:off x="2154238" y="2912151"/>
              <a:ext cx="780968" cy="780968"/>
              <a:chOff x="1644732" y="3747176"/>
              <a:chExt cx="628568" cy="628568"/>
            </a:xfrm>
          </p:grpSpPr>
          <p:sp>
            <p:nvSpPr>
              <p:cNvPr id="35" name="Rectangle 34"/>
              <p:cNvSpPr/>
              <p:nvPr/>
            </p:nvSpPr>
            <p:spPr>
              <a:xfrm>
                <a:off x="1644732" y="3747176"/>
                <a:ext cx="628568" cy="6285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Freeform 9"/>
              <p:cNvSpPr>
                <a:spLocks/>
              </p:cNvSpPr>
              <p:nvPr/>
            </p:nvSpPr>
            <p:spPr bwMode="auto">
              <a:xfrm>
                <a:off x="1714583" y="3865598"/>
                <a:ext cx="488868" cy="391726"/>
              </a:xfrm>
              <a:custGeom>
                <a:avLst/>
                <a:gdLst>
                  <a:gd name="T0" fmla="*/ 3834 w 4242"/>
                  <a:gd name="T1" fmla="*/ 0 h 3398"/>
                  <a:gd name="T2" fmla="*/ 3426 w 4242"/>
                  <a:gd name="T3" fmla="*/ 408 h 3398"/>
                  <a:gd name="T4" fmla="*/ 3578 w 4242"/>
                  <a:gd name="T5" fmla="*/ 725 h 3398"/>
                  <a:gd name="T6" fmla="*/ 2845 w 4242"/>
                  <a:gd name="T7" fmla="*/ 2128 h 3398"/>
                  <a:gd name="T8" fmla="*/ 2730 w 4242"/>
                  <a:gd name="T9" fmla="*/ 2112 h 3398"/>
                  <a:gd name="T10" fmla="*/ 2421 w 4242"/>
                  <a:gd name="T11" fmla="*/ 2254 h 3398"/>
                  <a:gd name="T12" fmla="*/ 1912 w 4242"/>
                  <a:gd name="T13" fmla="*/ 1968 h 3398"/>
                  <a:gd name="T14" fmla="*/ 1938 w 4242"/>
                  <a:gd name="T15" fmla="*/ 1824 h 3398"/>
                  <a:gd name="T16" fmla="*/ 1530 w 4242"/>
                  <a:gd name="T17" fmla="*/ 1416 h 3398"/>
                  <a:gd name="T18" fmla="*/ 1122 w 4242"/>
                  <a:gd name="T19" fmla="*/ 1824 h 3398"/>
                  <a:gd name="T20" fmla="*/ 1184 w 4242"/>
                  <a:gd name="T21" fmla="*/ 2040 h 3398"/>
                  <a:gd name="T22" fmla="*/ 623 w 4242"/>
                  <a:gd name="T23" fmla="*/ 2642 h 3398"/>
                  <a:gd name="T24" fmla="*/ 408 w 4242"/>
                  <a:gd name="T25" fmla="*/ 2582 h 3398"/>
                  <a:gd name="T26" fmla="*/ 0 w 4242"/>
                  <a:gd name="T27" fmla="*/ 2990 h 3398"/>
                  <a:gd name="T28" fmla="*/ 408 w 4242"/>
                  <a:gd name="T29" fmla="*/ 3398 h 3398"/>
                  <a:gd name="T30" fmla="*/ 816 w 4242"/>
                  <a:gd name="T31" fmla="*/ 2990 h 3398"/>
                  <a:gd name="T32" fmla="*/ 740 w 4242"/>
                  <a:gd name="T33" fmla="*/ 2751 h 3398"/>
                  <a:gd name="T34" fmla="*/ 1294 w 4242"/>
                  <a:gd name="T35" fmla="*/ 2156 h 3398"/>
                  <a:gd name="T36" fmla="*/ 1530 w 4242"/>
                  <a:gd name="T37" fmla="*/ 2232 h 3398"/>
                  <a:gd name="T38" fmla="*/ 1827 w 4242"/>
                  <a:gd name="T39" fmla="*/ 2103 h 3398"/>
                  <a:gd name="T40" fmla="*/ 2342 w 4242"/>
                  <a:gd name="T41" fmla="*/ 2393 h 3398"/>
                  <a:gd name="T42" fmla="*/ 2322 w 4242"/>
                  <a:gd name="T43" fmla="*/ 2520 h 3398"/>
                  <a:gd name="T44" fmla="*/ 2730 w 4242"/>
                  <a:gd name="T45" fmla="*/ 2928 h 3398"/>
                  <a:gd name="T46" fmla="*/ 3138 w 4242"/>
                  <a:gd name="T47" fmla="*/ 2520 h 3398"/>
                  <a:gd name="T48" fmla="*/ 2987 w 4242"/>
                  <a:gd name="T49" fmla="*/ 2202 h 3398"/>
                  <a:gd name="T50" fmla="*/ 3720 w 4242"/>
                  <a:gd name="T51" fmla="*/ 800 h 3398"/>
                  <a:gd name="T52" fmla="*/ 3834 w 4242"/>
                  <a:gd name="T53" fmla="*/ 816 h 3398"/>
                  <a:gd name="T54" fmla="*/ 4242 w 4242"/>
                  <a:gd name="T55" fmla="*/ 408 h 3398"/>
                  <a:gd name="T56" fmla="*/ 3834 w 4242"/>
                  <a:gd name="T57" fmla="*/ 0 h 3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242" h="3398">
                    <a:moveTo>
                      <a:pt x="3834" y="0"/>
                    </a:moveTo>
                    <a:cubicBezTo>
                      <a:pt x="3609" y="0"/>
                      <a:pt x="3426" y="182"/>
                      <a:pt x="3426" y="408"/>
                    </a:cubicBezTo>
                    <a:cubicBezTo>
                      <a:pt x="3426" y="536"/>
                      <a:pt x="3486" y="650"/>
                      <a:pt x="3578" y="725"/>
                    </a:cubicBezTo>
                    <a:cubicBezTo>
                      <a:pt x="2845" y="2128"/>
                      <a:pt x="2845" y="2128"/>
                      <a:pt x="2845" y="2128"/>
                    </a:cubicBezTo>
                    <a:cubicBezTo>
                      <a:pt x="2808" y="2118"/>
                      <a:pt x="2770" y="2112"/>
                      <a:pt x="2730" y="2112"/>
                    </a:cubicBezTo>
                    <a:cubicBezTo>
                      <a:pt x="2607" y="2112"/>
                      <a:pt x="2496" y="2167"/>
                      <a:pt x="2421" y="2254"/>
                    </a:cubicBezTo>
                    <a:cubicBezTo>
                      <a:pt x="1912" y="1968"/>
                      <a:pt x="1912" y="1968"/>
                      <a:pt x="1912" y="1968"/>
                    </a:cubicBezTo>
                    <a:cubicBezTo>
                      <a:pt x="1929" y="1923"/>
                      <a:pt x="1938" y="1874"/>
                      <a:pt x="1938" y="1824"/>
                    </a:cubicBezTo>
                    <a:cubicBezTo>
                      <a:pt x="1938" y="1599"/>
                      <a:pt x="1756" y="1416"/>
                      <a:pt x="1530" y="1416"/>
                    </a:cubicBezTo>
                    <a:cubicBezTo>
                      <a:pt x="1305" y="1416"/>
                      <a:pt x="1122" y="1599"/>
                      <a:pt x="1122" y="1824"/>
                    </a:cubicBezTo>
                    <a:cubicBezTo>
                      <a:pt x="1122" y="1903"/>
                      <a:pt x="1145" y="1977"/>
                      <a:pt x="1184" y="2040"/>
                    </a:cubicBezTo>
                    <a:cubicBezTo>
                      <a:pt x="623" y="2642"/>
                      <a:pt x="623" y="2642"/>
                      <a:pt x="623" y="2642"/>
                    </a:cubicBezTo>
                    <a:cubicBezTo>
                      <a:pt x="560" y="2604"/>
                      <a:pt x="487" y="2582"/>
                      <a:pt x="408" y="2582"/>
                    </a:cubicBezTo>
                    <a:cubicBezTo>
                      <a:pt x="183" y="2582"/>
                      <a:pt x="0" y="2764"/>
                      <a:pt x="0" y="2990"/>
                    </a:cubicBezTo>
                    <a:cubicBezTo>
                      <a:pt x="0" y="3215"/>
                      <a:pt x="183" y="3398"/>
                      <a:pt x="408" y="3398"/>
                    </a:cubicBezTo>
                    <a:cubicBezTo>
                      <a:pt x="634" y="3398"/>
                      <a:pt x="816" y="3215"/>
                      <a:pt x="816" y="2990"/>
                    </a:cubicBezTo>
                    <a:cubicBezTo>
                      <a:pt x="816" y="2901"/>
                      <a:pt x="788" y="2818"/>
                      <a:pt x="740" y="2751"/>
                    </a:cubicBezTo>
                    <a:cubicBezTo>
                      <a:pt x="1294" y="2156"/>
                      <a:pt x="1294" y="2156"/>
                      <a:pt x="1294" y="2156"/>
                    </a:cubicBezTo>
                    <a:cubicBezTo>
                      <a:pt x="1360" y="2204"/>
                      <a:pt x="1442" y="2232"/>
                      <a:pt x="1530" y="2232"/>
                    </a:cubicBezTo>
                    <a:cubicBezTo>
                      <a:pt x="1647" y="2232"/>
                      <a:pt x="1753" y="2183"/>
                      <a:pt x="1827" y="2103"/>
                    </a:cubicBezTo>
                    <a:cubicBezTo>
                      <a:pt x="2342" y="2393"/>
                      <a:pt x="2342" y="2393"/>
                      <a:pt x="2342" y="2393"/>
                    </a:cubicBezTo>
                    <a:cubicBezTo>
                      <a:pt x="2329" y="2433"/>
                      <a:pt x="2322" y="2476"/>
                      <a:pt x="2322" y="2520"/>
                    </a:cubicBezTo>
                    <a:cubicBezTo>
                      <a:pt x="2322" y="2745"/>
                      <a:pt x="2505" y="2928"/>
                      <a:pt x="2730" y="2928"/>
                    </a:cubicBezTo>
                    <a:cubicBezTo>
                      <a:pt x="2956" y="2928"/>
                      <a:pt x="3138" y="2745"/>
                      <a:pt x="3138" y="2520"/>
                    </a:cubicBezTo>
                    <a:cubicBezTo>
                      <a:pt x="3138" y="2392"/>
                      <a:pt x="3079" y="2277"/>
                      <a:pt x="2987" y="2202"/>
                    </a:cubicBezTo>
                    <a:cubicBezTo>
                      <a:pt x="3720" y="800"/>
                      <a:pt x="3720" y="800"/>
                      <a:pt x="3720" y="800"/>
                    </a:cubicBezTo>
                    <a:cubicBezTo>
                      <a:pt x="3756" y="810"/>
                      <a:pt x="3795" y="816"/>
                      <a:pt x="3834" y="816"/>
                    </a:cubicBezTo>
                    <a:cubicBezTo>
                      <a:pt x="4060" y="816"/>
                      <a:pt x="4242" y="633"/>
                      <a:pt x="4242" y="408"/>
                    </a:cubicBezTo>
                    <a:cubicBezTo>
                      <a:pt x="4242" y="182"/>
                      <a:pt x="4060" y="0"/>
                      <a:pt x="3834"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12" name="Groupe 11"/>
          <p:cNvGrpSpPr/>
          <p:nvPr/>
        </p:nvGrpSpPr>
        <p:grpSpPr>
          <a:xfrm>
            <a:off x="5254296" y="2912151"/>
            <a:ext cx="1819604" cy="2811670"/>
            <a:chOff x="3730296" y="2912151"/>
            <a:chExt cx="1819604" cy="2811670"/>
          </a:xfrm>
        </p:grpSpPr>
        <p:sp>
          <p:nvSpPr>
            <p:cNvPr id="55" name="Rectangle 54"/>
            <p:cNvSpPr/>
            <p:nvPr/>
          </p:nvSpPr>
          <p:spPr>
            <a:xfrm>
              <a:off x="3730296" y="3766362"/>
              <a:ext cx="1819604" cy="195745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1" i="0" u="none" strike="noStrike" kern="1200" cap="none" spc="0" normalizeH="0" baseline="0" noProof="0" dirty="0">
                  <a:ln>
                    <a:noFill/>
                  </a:ln>
                  <a:solidFill>
                    <a:srgbClr val="0BB18F"/>
                  </a:solidFill>
                  <a:effectLst/>
                  <a:uLnTx/>
                  <a:uFillTx/>
                  <a:latin typeface="Arial"/>
                  <a:ea typeface="+mn-ea"/>
                  <a:cs typeface="+mn-cs"/>
                </a:rPr>
                <a:t>DOLGOLETNE IZKUŠNJE</a:t>
              </a:r>
              <a:endParaRPr kumimoji="0" lang="en-US" sz="1100" b="0" i="0" u="none" strike="noStrike" kern="1200" cap="none" spc="0" normalizeH="0" baseline="0" noProof="0" dirty="0">
                <a:ln>
                  <a:noFill/>
                </a:ln>
                <a:solidFill>
                  <a:srgbClr val="0BB18F"/>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sl-SI" sz="1100" b="0" i="0" u="none" strike="noStrike" kern="1200" cap="none" spc="0" normalizeH="0" baseline="0" noProof="0" dirty="0">
                  <a:ln>
                    <a:noFill/>
                  </a:ln>
                  <a:solidFill>
                    <a:srgbClr val="1C355E"/>
                  </a:solidFill>
                  <a:effectLst/>
                  <a:uLnTx/>
                  <a:uFillTx/>
                  <a:latin typeface="Arial"/>
                  <a:ea typeface="+mn-ea"/>
                  <a:cs typeface="+mn-cs"/>
                </a:rPr>
                <a:t>Na trgu že od leta </a:t>
              </a:r>
              <a:r>
                <a:rPr kumimoji="0" lang="en-US" sz="1100" b="1" i="0" u="none" strike="noStrike" kern="1200" cap="none" spc="0" normalizeH="0" baseline="0" noProof="0" dirty="0">
                  <a:ln>
                    <a:noFill/>
                  </a:ln>
                  <a:solidFill>
                    <a:srgbClr val="1C355E"/>
                  </a:solidFill>
                  <a:effectLst/>
                  <a:uLnTx/>
                  <a:uFillTx/>
                  <a:latin typeface="Arial"/>
                  <a:ea typeface="+mn-ea"/>
                  <a:cs typeface="+mn-cs"/>
                </a:rPr>
                <a:t>1946</a:t>
              </a: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en-US" sz="1100" b="0" i="0" u="none" strike="noStrike" kern="1200" cap="none" spc="0" normalizeH="0" baseline="0" noProof="0" dirty="0" err="1">
                  <a:ln>
                    <a:noFill/>
                  </a:ln>
                  <a:solidFill>
                    <a:srgbClr val="1C355E"/>
                  </a:solidFill>
                  <a:effectLst/>
                  <a:uLnTx/>
                  <a:uFillTx/>
                  <a:latin typeface="Arial"/>
                  <a:ea typeface="+mn-ea"/>
                  <a:cs typeface="+mn-cs"/>
                </a:rPr>
                <a:t>Coface</a:t>
              </a:r>
              <a:r>
                <a:rPr kumimoji="0" lang="en-US" sz="1100" b="0" i="0" u="none" strike="noStrike" kern="1200" cap="none" spc="0" normalizeH="0" baseline="0" noProof="0" dirty="0">
                  <a:ln>
                    <a:noFill/>
                  </a:ln>
                  <a:solidFill>
                    <a:srgbClr val="1C355E"/>
                  </a:solidFill>
                  <a:effectLst/>
                  <a:uLnTx/>
                  <a:uFillTx/>
                  <a:latin typeface="Arial"/>
                  <a:ea typeface="+mn-ea"/>
                  <a:cs typeface="+mn-cs"/>
                </a:rPr>
                <a:t> – </a:t>
              </a:r>
              <a:r>
                <a:rPr kumimoji="0" lang="sl-SI" sz="1100" b="1" i="0" u="none" strike="noStrike" kern="1200" cap="none" spc="0" normalizeH="0" baseline="0" noProof="0" dirty="0">
                  <a:ln>
                    <a:noFill/>
                  </a:ln>
                  <a:solidFill>
                    <a:srgbClr val="1C355E"/>
                  </a:solidFill>
                  <a:effectLst/>
                  <a:uLnTx/>
                  <a:uFillTx/>
                  <a:latin typeface="Arial"/>
                  <a:ea typeface="+mn-ea"/>
                  <a:cs typeface="+mn-cs"/>
                </a:rPr>
                <a:t>uveljavljena blagovna znamka</a:t>
              </a: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sl-SI" sz="1100" b="0" i="0" u="none" strike="noStrike" kern="1200" cap="none" spc="0" normalizeH="0" baseline="0" noProof="0" dirty="0">
                  <a:ln>
                    <a:noFill/>
                  </a:ln>
                  <a:solidFill>
                    <a:srgbClr val="1C355E"/>
                  </a:solidFill>
                  <a:effectLst/>
                  <a:uLnTx/>
                  <a:uFillTx/>
                  <a:latin typeface="Arial"/>
                  <a:ea typeface="+mn-ea"/>
                  <a:cs typeface="+mn-cs"/>
                </a:rPr>
                <a:t>Priznani strokovnjaki za </a:t>
              </a:r>
              <a:r>
                <a:rPr kumimoji="0" lang="sl-SI" sz="1100" b="1" i="0" u="none" strike="noStrike" kern="1200" cap="none" spc="0" normalizeH="0" baseline="0" noProof="0" dirty="0">
                  <a:ln>
                    <a:noFill/>
                  </a:ln>
                  <a:solidFill>
                    <a:srgbClr val="1C355E"/>
                  </a:solidFill>
                  <a:effectLst/>
                  <a:uLnTx/>
                  <a:uFillTx/>
                  <a:latin typeface="Arial"/>
                  <a:ea typeface="+mn-ea"/>
                  <a:cs typeface="+mn-cs"/>
                </a:rPr>
                <a:t>ocenjevanje in obvladovanje gospodarskih tveganj</a:t>
              </a: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endParaRPr kumimoji="0" lang="sl-SI" sz="1100" b="0" i="0" u="none" strike="noStrike" kern="1200" cap="none" spc="0" normalizeH="0" baseline="0" noProof="0" dirty="0">
                <a:ln>
                  <a:noFill/>
                </a:ln>
                <a:solidFill>
                  <a:srgbClr val="1C355E"/>
                </a:solidFill>
                <a:effectLst/>
                <a:uLnTx/>
                <a:uFillTx/>
                <a:latin typeface="Arial"/>
                <a:ea typeface="+mn-ea"/>
                <a:cs typeface="+mn-cs"/>
              </a:endParaRPr>
            </a:p>
          </p:txBody>
        </p:sp>
        <p:grpSp>
          <p:nvGrpSpPr>
            <p:cNvPr id="64" name="Groupe 63"/>
            <p:cNvGrpSpPr/>
            <p:nvPr/>
          </p:nvGrpSpPr>
          <p:grpSpPr>
            <a:xfrm>
              <a:off x="3830638" y="2912151"/>
              <a:ext cx="780968" cy="780968"/>
              <a:chOff x="4222832" y="3747176"/>
              <a:chExt cx="628568" cy="628568"/>
            </a:xfrm>
          </p:grpSpPr>
          <p:sp>
            <p:nvSpPr>
              <p:cNvPr id="65" name="Rectangle 64"/>
              <p:cNvSpPr/>
              <p:nvPr/>
            </p:nvSpPr>
            <p:spPr>
              <a:xfrm>
                <a:off x="4222832" y="3747176"/>
                <a:ext cx="628568" cy="6285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66" name="Groupe 65"/>
              <p:cNvGrpSpPr/>
              <p:nvPr/>
            </p:nvGrpSpPr>
            <p:grpSpPr>
              <a:xfrm>
                <a:off x="4299950" y="3868554"/>
                <a:ext cx="474333" cy="385813"/>
                <a:chOff x="1081088" y="-1588"/>
                <a:chExt cx="6676879" cy="5430838"/>
              </a:xfrm>
              <a:solidFill>
                <a:schemeClr val="bg1"/>
              </a:solidFill>
            </p:grpSpPr>
            <p:sp>
              <p:nvSpPr>
                <p:cNvPr id="67" name="Freeform 13"/>
                <p:cNvSpPr>
                  <a:spLocks/>
                </p:cNvSpPr>
                <p:nvPr/>
              </p:nvSpPr>
              <p:spPr bwMode="auto">
                <a:xfrm>
                  <a:off x="2279650" y="-1588"/>
                  <a:ext cx="3998913" cy="3803650"/>
                </a:xfrm>
                <a:custGeom>
                  <a:avLst/>
                  <a:gdLst>
                    <a:gd name="T0" fmla="*/ 1259 w 2519"/>
                    <a:gd name="T1" fmla="*/ 0 h 2396"/>
                    <a:gd name="T2" fmla="*/ 1648 w 2519"/>
                    <a:gd name="T3" fmla="*/ 789 h 2396"/>
                    <a:gd name="T4" fmla="*/ 2519 w 2519"/>
                    <a:gd name="T5" fmla="*/ 916 h 2396"/>
                    <a:gd name="T6" fmla="*/ 1889 w 2519"/>
                    <a:gd name="T7" fmla="*/ 1529 h 2396"/>
                    <a:gd name="T8" fmla="*/ 2037 w 2519"/>
                    <a:gd name="T9" fmla="*/ 2396 h 2396"/>
                    <a:gd name="T10" fmla="*/ 1259 w 2519"/>
                    <a:gd name="T11" fmla="*/ 1987 h 2396"/>
                    <a:gd name="T12" fmla="*/ 481 w 2519"/>
                    <a:gd name="T13" fmla="*/ 2396 h 2396"/>
                    <a:gd name="T14" fmla="*/ 630 w 2519"/>
                    <a:gd name="T15" fmla="*/ 1529 h 2396"/>
                    <a:gd name="T16" fmla="*/ 0 w 2519"/>
                    <a:gd name="T17" fmla="*/ 916 h 2396"/>
                    <a:gd name="T18" fmla="*/ 870 w 2519"/>
                    <a:gd name="T19" fmla="*/ 789 h 2396"/>
                    <a:gd name="T20" fmla="*/ 1259 w 2519"/>
                    <a:gd name="T21" fmla="*/ 0 h 2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19" h="2396">
                      <a:moveTo>
                        <a:pt x="1259" y="0"/>
                      </a:moveTo>
                      <a:lnTo>
                        <a:pt x="1648" y="789"/>
                      </a:lnTo>
                      <a:lnTo>
                        <a:pt x="2519" y="916"/>
                      </a:lnTo>
                      <a:lnTo>
                        <a:pt x="1889" y="1529"/>
                      </a:lnTo>
                      <a:lnTo>
                        <a:pt x="2037" y="2396"/>
                      </a:lnTo>
                      <a:lnTo>
                        <a:pt x="1259" y="1987"/>
                      </a:lnTo>
                      <a:lnTo>
                        <a:pt x="481" y="2396"/>
                      </a:lnTo>
                      <a:lnTo>
                        <a:pt x="630" y="1529"/>
                      </a:lnTo>
                      <a:lnTo>
                        <a:pt x="0" y="916"/>
                      </a:lnTo>
                      <a:lnTo>
                        <a:pt x="870" y="789"/>
                      </a:lnTo>
                      <a:lnTo>
                        <a:pt x="12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sp>
              <p:nvSpPr>
                <p:cNvPr id="68" name="Freeform 14"/>
                <p:cNvSpPr>
                  <a:spLocks/>
                </p:cNvSpPr>
                <p:nvPr/>
              </p:nvSpPr>
              <p:spPr bwMode="auto">
                <a:xfrm>
                  <a:off x="1081088" y="3759200"/>
                  <a:ext cx="1681163" cy="1670050"/>
                </a:xfrm>
                <a:custGeom>
                  <a:avLst/>
                  <a:gdLst>
                    <a:gd name="T0" fmla="*/ 286 w 1059"/>
                    <a:gd name="T1" fmla="*/ 0 h 1052"/>
                    <a:gd name="T2" fmla="*/ 590 w 1059"/>
                    <a:gd name="T3" fmla="*/ 216 h 1052"/>
                    <a:gd name="T4" fmla="*/ 941 w 1059"/>
                    <a:gd name="T5" fmla="*/ 89 h 1052"/>
                    <a:gd name="T6" fmla="*/ 829 w 1059"/>
                    <a:gd name="T7" fmla="*/ 445 h 1052"/>
                    <a:gd name="T8" fmla="*/ 1059 w 1059"/>
                    <a:gd name="T9" fmla="*/ 739 h 1052"/>
                    <a:gd name="T10" fmla="*/ 687 w 1059"/>
                    <a:gd name="T11" fmla="*/ 743 h 1052"/>
                    <a:gd name="T12" fmla="*/ 478 w 1059"/>
                    <a:gd name="T13" fmla="*/ 1052 h 1052"/>
                    <a:gd name="T14" fmla="*/ 359 w 1059"/>
                    <a:gd name="T15" fmla="*/ 699 h 1052"/>
                    <a:gd name="T16" fmla="*/ 0 w 1059"/>
                    <a:gd name="T17" fmla="*/ 596 h 1052"/>
                    <a:gd name="T18" fmla="*/ 300 w 1059"/>
                    <a:gd name="T19" fmla="*/ 374 h 1052"/>
                    <a:gd name="T20" fmla="*/ 286 w 1059"/>
                    <a:gd name="T21" fmla="*/ 0 h 10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59" h="1052">
                      <a:moveTo>
                        <a:pt x="286" y="0"/>
                      </a:moveTo>
                      <a:lnTo>
                        <a:pt x="590" y="216"/>
                      </a:lnTo>
                      <a:lnTo>
                        <a:pt x="941" y="89"/>
                      </a:lnTo>
                      <a:lnTo>
                        <a:pt x="829" y="445"/>
                      </a:lnTo>
                      <a:lnTo>
                        <a:pt x="1059" y="739"/>
                      </a:lnTo>
                      <a:lnTo>
                        <a:pt x="687" y="743"/>
                      </a:lnTo>
                      <a:lnTo>
                        <a:pt x="478" y="1052"/>
                      </a:lnTo>
                      <a:lnTo>
                        <a:pt x="359" y="699"/>
                      </a:lnTo>
                      <a:lnTo>
                        <a:pt x="0" y="596"/>
                      </a:lnTo>
                      <a:lnTo>
                        <a:pt x="300" y="374"/>
                      </a:lnTo>
                      <a:lnTo>
                        <a:pt x="2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sp>
              <p:nvSpPr>
                <p:cNvPr id="69" name="Freeform 15"/>
                <p:cNvSpPr>
                  <a:spLocks/>
                </p:cNvSpPr>
                <p:nvPr/>
              </p:nvSpPr>
              <p:spPr bwMode="auto">
                <a:xfrm>
                  <a:off x="5351321" y="3021917"/>
                  <a:ext cx="2406646" cy="2389192"/>
                </a:xfrm>
                <a:custGeom>
                  <a:avLst/>
                  <a:gdLst>
                    <a:gd name="T0" fmla="*/ 410 w 1516"/>
                    <a:gd name="T1" fmla="*/ 0 h 1505"/>
                    <a:gd name="T2" fmla="*/ 845 w 1516"/>
                    <a:gd name="T3" fmla="*/ 309 h 1505"/>
                    <a:gd name="T4" fmla="*/ 1347 w 1516"/>
                    <a:gd name="T5" fmla="*/ 126 h 1505"/>
                    <a:gd name="T6" fmla="*/ 1187 w 1516"/>
                    <a:gd name="T7" fmla="*/ 636 h 1505"/>
                    <a:gd name="T8" fmla="*/ 1516 w 1516"/>
                    <a:gd name="T9" fmla="*/ 1056 h 1505"/>
                    <a:gd name="T10" fmla="*/ 982 w 1516"/>
                    <a:gd name="T11" fmla="*/ 1062 h 1505"/>
                    <a:gd name="T12" fmla="*/ 684 w 1516"/>
                    <a:gd name="T13" fmla="*/ 1505 h 1505"/>
                    <a:gd name="T14" fmla="*/ 514 w 1516"/>
                    <a:gd name="T15" fmla="*/ 999 h 1505"/>
                    <a:gd name="T16" fmla="*/ 0 w 1516"/>
                    <a:gd name="T17" fmla="*/ 852 h 1505"/>
                    <a:gd name="T18" fmla="*/ 429 w 1516"/>
                    <a:gd name="T19" fmla="*/ 534 h 1505"/>
                    <a:gd name="T20" fmla="*/ 410 w 1516"/>
                    <a:gd name="T21" fmla="*/ 0 h 1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16" h="1505">
                      <a:moveTo>
                        <a:pt x="410" y="0"/>
                      </a:moveTo>
                      <a:lnTo>
                        <a:pt x="845" y="309"/>
                      </a:lnTo>
                      <a:lnTo>
                        <a:pt x="1347" y="126"/>
                      </a:lnTo>
                      <a:lnTo>
                        <a:pt x="1187" y="636"/>
                      </a:lnTo>
                      <a:lnTo>
                        <a:pt x="1516" y="1056"/>
                      </a:lnTo>
                      <a:lnTo>
                        <a:pt x="982" y="1062"/>
                      </a:lnTo>
                      <a:lnTo>
                        <a:pt x="684" y="1505"/>
                      </a:lnTo>
                      <a:lnTo>
                        <a:pt x="514" y="999"/>
                      </a:lnTo>
                      <a:lnTo>
                        <a:pt x="0" y="852"/>
                      </a:lnTo>
                      <a:lnTo>
                        <a:pt x="429" y="534"/>
                      </a:lnTo>
                      <a:lnTo>
                        <a:pt x="4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grpSp>
        </p:grpSp>
      </p:grpSp>
      <p:grpSp>
        <p:nvGrpSpPr>
          <p:cNvPr id="14" name="Groupe 13"/>
          <p:cNvGrpSpPr/>
          <p:nvPr/>
        </p:nvGrpSpPr>
        <p:grpSpPr>
          <a:xfrm>
            <a:off x="8607096" y="2912151"/>
            <a:ext cx="1819604" cy="2582376"/>
            <a:chOff x="7083096" y="2912151"/>
            <a:chExt cx="1819604" cy="2582376"/>
          </a:xfrm>
        </p:grpSpPr>
        <p:sp>
          <p:nvSpPr>
            <p:cNvPr id="63" name="Rectangle 62"/>
            <p:cNvSpPr/>
            <p:nvPr/>
          </p:nvSpPr>
          <p:spPr>
            <a:xfrm>
              <a:off x="7083096" y="3766362"/>
              <a:ext cx="1819604" cy="17281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100" b="1" i="0" u="none" strike="noStrike" kern="1200" cap="none" spc="0" normalizeH="0" baseline="0" noProof="0" dirty="0">
                  <a:ln>
                    <a:noFill/>
                  </a:ln>
                  <a:solidFill>
                    <a:srgbClr val="0BB18F"/>
                  </a:solidFill>
                  <a:effectLst/>
                  <a:uLnTx/>
                  <a:uFillTx/>
                  <a:latin typeface="Arial"/>
                  <a:ea typeface="+mn-ea"/>
                  <a:cs typeface="+mn-cs"/>
                </a:rPr>
                <a:t>MEDNARODNA PRISOTNOST</a:t>
              </a:r>
              <a:endParaRPr kumimoji="0" lang="en-US" sz="1100" b="1" i="0" u="none" strike="noStrike" kern="1200" cap="none" spc="0" normalizeH="0" baseline="0" noProof="0" dirty="0">
                <a:ln>
                  <a:noFill/>
                </a:ln>
                <a:solidFill>
                  <a:srgbClr val="0BB18F"/>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sl-SI" sz="1100" b="1" i="0" u="none" strike="noStrike" kern="1200" cap="none" spc="0" normalizeH="0" baseline="0" noProof="0" dirty="0">
                  <a:ln>
                    <a:noFill/>
                  </a:ln>
                  <a:solidFill>
                    <a:srgbClr val="1C355E"/>
                  </a:solidFill>
                  <a:effectLst/>
                  <a:uLnTx/>
                  <a:uFillTx/>
                  <a:latin typeface="Arial"/>
                  <a:ea typeface="+mn-ea"/>
                  <a:cs typeface="+mn-cs"/>
                </a:rPr>
                <a:t>4.3</a:t>
              </a:r>
              <a:r>
                <a:rPr kumimoji="0" lang="en-US" sz="1100" b="1" i="0" u="none" strike="noStrike" kern="1200" cap="none" spc="0" normalizeH="0" baseline="0" noProof="0" dirty="0">
                  <a:ln>
                    <a:noFill/>
                  </a:ln>
                  <a:solidFill>
                    <a:srgbClr val="1C355E"/>
                  </a:solidFill>
                  <a:effectLst/>
                  <a:uLnTx/>
                  <a:uFillTx/>
                  <a:latin typeface="Arial"/>
                  <a:ea typeface="+mn-ea"/>
                  <a:cs typeface="+mn-cs"/>
                </a:rPr>
                <a:t>00</a:t>
              </a:r>
              <a:r>
                <a:rPr kumimoji="0" lang="en-US" sz="1100" b="0" i="0" u="none" strike="noStrike" kern="1200" cap="none" spc="0" normalizeH="0" baseline="0" noProof="0" dirty="0">
                  <a:ln>
                    <a:noFill/>
                  </a:ln>
                  <a:solidFill>
                    <a:srgbClr val="1C355E"/>
                  </a:solidFill>
                  <a:effectLst/>
                  <a:uLnTx/>
                  <a:uFillTx/>
                  <a:latin typeface="Arial"/>
                  <a:ea typeface="+mn-ea"/>
                  <a:cs typeface="+mn-cs"/>
                </a:rPr>
                <a:t> </a:t>
              </a:r>
              <a:r>
                <a:rPr kumimoji="0" lang="sl-SI" sz="1100" b="0" i="0" u="none" strike="noStrike" kern="1200" cap="none" spc="0" normalizeH="0" baseline="0" noProof="0" dirty="0">
                  <a:ln>
                    <a:noFill/>
                  </a:ln>
                  <a:solidFill>
                    <a:srgbClr val="1C355E"/>
                  </a:solidFill>
                  <a:effectLst/>
                  <a:uLnTx/>
                  <a:uFillTx/>
                  <a:latin typeface="Arial"/>
                  <a:ea typeface="+mn-ea"/>
                  <a:cs typeface="+mn-cs"/>
                </a:rPr>
                <a:t>zaposlenih, ki predstavljajo </a:t>
              </a:r>
              <a:r>
                <a:rPr kumimoji="0" lang="en-US" sz="1100" b="1" i="0" u="none" strike="noStrike" kern="1200" cap="none" spc="0" normalizeH="0" baseline="0" noProof="0" dirty="0">
                  <a:ln>
                    <a:noFill/>
                  </a:ln>
                  <a:solidFill>
                    <a:srgbClr val="1C355E"/>
                  </a:solidFill>
                  <a:effectLst/>
                  <a:uLnTx/>
                  <a:uFillTx/>
                  <a:latin typeface="Arial"/>
                  <a:ea typeface="+mn-ea"/>
                  <a:cs typeface="+mn-cs"/>
                </a:rPr>
                <a:t>7</a:t>
              </a:r>
              <a:r>
                <a:rPr kumimoji="0" lang="sl-SI" sz="1100" b="1" i="0" u="none" strike="noStrike" kern="1200" cap="none" spc="0" normalizeH="0" baseline="0" noProof="0" dirty="0">
                  <a:ln>
                    <a:noFill/>
                  </a:ln>
                  <a:solidFill>
                    <a:srgbClr val="1C355E"/>
                  </a:solidFill>
                  <a:effectLst/>
                  <a:uLnTx/>
                  <a:uFillTx/>
                  <a:latin typeface="Arial"/>
                  <a:ea typeface="+mn-ea"/>
                  <a:cs typeface="+mn-cs"/>
                </a:rPr>
                <a:t>0 </a:t>
              </a:r>
              <a:r>
                <a:rPr kumimoji="0" lang="sl-SI" sz="1100" b="0" i="0" u="none" strike="noStrike" kern="1200" cap="none" spc="0" normalizeH="0" baseline="0" noProof="0" dirty="0">
                  <a:ln>
                    <a:noFill/>
                  </a:ln>
                  <a:solidFill>
                    <a:srgbClr val="1C355E"/>
                  </a:solidFill>
                  <a:effectLst/>
                  <a:uLnTx/>
                  <a:uFillTx/>
                  <a:latin typeface="Arial"/>
                  <a:ea typeface="+mn-ea"/>
                  <a:cs typeface="+mn-cs"/>
                </a:rPr>
                <a:t>različnih</a:t>
              </a:r>
              <a:r>
                <a:rPr kumimoji="0" lang="sl-SI" sz="1100" b="1" i="0" u="none" strike="noStrike" kern="1200" cap="none" spc="0" normalizeH="0" baseline="0" noProof="0" dirty="0">
                  <a:ln>
                    <a:noFill/>
                  </a:ln>
                  <a:solidFill>
                    <a:srgbClr val="1C355E"/>
                  </a:solidFill>
                  <a:effectLst/>
                  <a:uLnTx/>
                  <a:uFillTx/>
                  <a:latin typeface="Arial"/>
                  <a:ea typeface="+mn-ea"/>
                  <a:cs typeface="+mn-cs"/>
                </a:rPr>
                <a:t> </a:t>
              </a:r>
              <a:r>
                <a:rPr kumimoji="0" lang="sl-SI" sz="1100" b="0" i="0" u="none" strike="noStrike" kern="1200" cap="none" spc="0" normalizeH="0" baseline="0" noProof="0" dirty="0">
                  <a:ln>
                    <a:noFill/>
                  </a:ln>
                  <a:solidFill>
                    <a:srgbClr val="1C355E"/>
                  </a:solidFill>
                  <a:effectLst/>
                  <a:uLnTx/>
                  <a:uFillTx/>
                  <a:latin typeface="Arial"/>
                  <a:ea typeface="+mn-ea"/>
                  <a:cs typeface="+mn-cs"/>
                </a:rPr>
                <a:t>narodnosti</a:t>
              </a:r>
              <a:endParaRPr kumimoji="0" lang="en-US" sz="1100" b="0" i="0" u="none" strike="noStrike" kern="1200" cap="none" spc="0" normalizeH="0" baseline="0" noProof="0" dirty="0">
                <a:ln>
                  <a:noFill/>
                </a:ln>
                <a:solidFill>
                  <a:srgbClr val="1C355E"/>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en-US" sz="1100" b="1" i="0" u="none" strike="noStrike" kern="1200" cap="none" spc="0" normalizeH="0" baseline="0" noProof="0" dirty="0">
                  <a:ln>
                    <a:noFill/>
                  </a:ln>
                  <a:solidFill>
                    <a:srgbClr val="1C355E"/>
                  </a:solidFill>
                  <a:effectLst/>
                  <a:uLnTx/>
                  <a:uFillTx/>
                  <a:latin typeface="Arial"/>
                  <a:ea typeface="+mn-ea"/>
                  <a:cs typeface="+mn-cs"/>
                </a:rPr>
                <a:t>3</a:t>
              </a:r>
              <a:r>
                <a:rPr kumimoji="0" lang="sl-SI" sz="1100" b="1" i="0" u="none" strike="noStrike" kern="1200" cap="none" spc="0" normalizeH="0" baseline="0" noProof="0" dirty="0">
                  <a:ln>
                    <a:noFill/>
                  </a:ln>
                  <a:solidFill>
                    <a:srgbClr val="1C355E"/>
                  </a:solidFill>
                  <a:effectLst/>
                  <a:uLnTx/>
                  <a:uFillTx/>
                  <a:latin typeface="Arial"/>
                  <a:ea typeface="+mn-ea"/>
                  <a:cs typeface="+mn-cs"/>
                </a:rPr>
                <a:t>3</a:t>
              </a:r>
              <a:r>
                <a:rPr kumimoji="0" lang="en-US" sz="1100" b="1" i="0" u="none" strike="noStrike" kern="1200" cap="none" spc="0" normalizeH="0" baseline="0" noProof="0" dirty="0">
                  <a:ln>
                    <a:noFill/>
                  </a:ln>
                  <a:solidFill>
                    <a:srgbClr val="1C355E"/>
                  </a:solidFill>
                  <a:effectLst/>
                  <a:uLnTx/>
                  <a:uFillTx/>
                  <a:latin typeface="Arial"/>
                  <a:ea typeface="+mn-ea"/>
                  <a:cs typeface="+mn-cs"/>
                </a:rPr>
                <a:t>0</a:t>
              </a:r>
              <a:r>
                <a:rPr kumimoji="0" lang="en-US" sz="1100" b="0" i="0" u="none" strike="noStrike" kern="1200" cap="none" spc="0" normalizeH="0" baseline="0" noProof="0" dirty="0">
                  <a:ln>
                    <a:noFill/>
                  </a:ln>
                  <a:solidFill>
                    <a:srgbClr val="1C355E"/>
                  </a:solidFill>
                  <a:effectLst/>
                  <a:uLnTx/>
                  <a:uFillTx/>
                  <a:latin typeface="Arial"/>
                  <a:ea typeface="+mn-ea"/>
                  <a:cs typeface="+mn-cs"/>
                </a:rPr>
                <a:t> </a:t>
              </a:r>
              <a:r>
                <a:rPr kumimoji="0" lang="sl-SI" sz="1100" b="0" i="0" u="none" strike="noStrike" kern="1200" cap="none" spc="0" normalizeH="0" baseline="0" noProof="0" dirty="0">
                  <a:ln>
                    <a:noFill/>
                  </a:ln>
                  <a:solidFill>
                    <a:srgbClr val="1C355E"/>
                  </a:solidFill>
                  <a:effectLst/>
                  <a:uLnTx/>
                  <a:uFillTx/>
                  <a:latin typeface="Arial"/>
                  <a:ea typeface="+mn-ea"/>
                  <a:cs typeface="+mn-cs"/>
                </a:rPr>
                <a:t>kreditnih analitikov</a:t>
              </a:r>
              <a:endParaRPr kumimoji="0" lang="en-US" sz="1100" b="0" i="0" u="none" strike="noStrike" kern="1200" cap="none" spc="0" normalizeH="0" baseline="0" noProof="0" dirty="0">
                <a:ln>
                  <a:noFill/>
                </a:ln>
                <a:solidFill>
                  <a:srgbClr val="1C355E"/>
                </a:solidFill>
                <a:effectLst/>
                <a:uLnTx/>
                <a:uFillTx/>
                <a:latin typeface="Arial"/>
                <a:ea typeface="+mn-ea"/>
                <a:cs typeface="+mn-cs"/>
              </a:endParaRPr>
            </a:p>
            <a:p>
              <a:pPr marL="0" marR="0" lvl="0" indent="0" algn="l" defTabSz="914400" rtl="0" eaLnBrk="1" fontAlgn="auto" latinLnBrk="0" hangingPunct="1">
                <a:lnSpc>
                  <a:spcPct val="90000"/>
                </a:lnSpc>
                <a:spcBef>
                  <a:spcPts val="600"/>
                </a:spcBef>
                <a:spcAft>
                  <a:spcPts val="0"/>
                </a:spcAft>
                <a:buClr>
                  <a:srgbClr val="1226AA"/>
                </a:buClr>
                <a:buSzTx/>
                <a:buFontTx/>
                <a:buNone/>
                <a:tabLst/>
                <a:defRPr/>
              </a:pPr>
              <a:r>
                <a:rPr kumimoji="0" lang="sl-SI" sz="1100" b="0" i="0" u="none" strike="noStrike" kern="1200" cap="none" spc="0" normalizeH="0" baseline="0" noProof="0" dirty="0">
                  <a:ln>
                    <a:noFill/>
                  </a:ln>
                  <a:solidFill>
                    <a:srgbClr val="1C355E"/>
                  </a:solidFill>
                  <a:effectLst/>
                  <a:uLnTx/>
                  <a:uFillTx/>
                  <a:latin typeface="Arial"/>
                  <a:ea typeface="+mn-ea"/>
                  <a:cs typeface="+mn-cs"/>
                </a:rPr>
                <a:t>Direktno ali posredno prisotni v </a:t>
              </a:r>
              <a:r>
                <a:rPr kumimoji="0" lang="sl-SI" sz="1100" b="1" i="0" u="none" strike="noStrike" kern="1200" cap="none" spc="0" normalizeH="0" baseline="0" noProof="0" dirty="0">
                  <a:ln>
                    <a:noFill/>
                  </a:ln>
                  <a:solidFill>
                    <a:srgbClr val="1C355E"/>
                  </a:solidFill>
                  <a:effectLst/>
                  <a:uLnTx/>
                  <a:uFillTx/>
                  <a:latin typeface="Arial"/>
                  <a:ea typeface="+mn-ea"/>
                  <a:cs typeface="+mn-cs"/>
                </a:rPr>
                <a:t>100 državah sveta</a:t>
              </a:r>
              <a:endParaRPr kumimoji="0" lang="en-US" sz="1100" b="1" i="0" u="none" strike="noStrike" kern="1200" cap="none" spc="0" normalizeH="0" baseline="0" noProof="0" dirty="0">
                <a:ln>
                  <a:noFill/>
                </a:ln>
                <a:solidFill>
                  <a:srgbClr val="1C355E"/>
                </a:solidFill>
                <a:effectLst/>
                <a:uLnTx/>
                <a:uFillTx/>
                <a:latin typeface="Arial"/>
                <a:ea typeface="+mn-ea"/>
                <a:cs typeface="+mn-cs"/>
              </a:endParaRPr>
            </a:p>
          </p:txBody>
        </p:sp>
        <p:grpSp>
          <p:nvGrpSpPr>
            <p:cNvPr id="70" name="Groupe 69"/>
            <p:cNvGrpSpPr/>
            <p:nvPr/>
          </p:nvGrpSpPr>
          <p:grpSpPr>
            <a:xfrm>
              <a:off x="7183438" y="2912151"/>
              <a:ext cx="780968" cy="780968"/>
              <a:chOff x="2933782" y="3747176"/>
              <a:chExt cx="628568" cy="628568"/>
            </a:xfrm>
          </p:grpSpPr>
          <p:sp>
            <p:nvSpPr>
              <p:cNvPr id="71" name="Rectangle 70"/>
              <p:cNvSpPr/>
              <p:nvPr/>
            </p:nvSpPr>
            <p:spPr>
              <a:xfrm>
                <a:off x="2933782" y="3747176"/>
                <a:ext cx="628568" cy="6285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72" name="Groupe 71"/>
              <p:cNvGrpSpPr/>
              <p:nvPr/>
            </p:nvGrpSpPr>
            <p:grpSpPr>
              <a:xfrm>
                <a:off x="3016905" y="3830139"/>
                <a:ext cx="462322" cy="462643"/>
                <a:chOff x="1144588" y="-1588"/>
                <a:chExt cx="6854825" cy="6859588"/>
              </a:xfrm>
              <a:solidFill>
                <a:schemeClr val="bg1"/>
              </a:solidFill>
            </p:grpSpPr>
            <p:sp>
              <p:nvSpPr>
                <p:cNvPr id="73" name="Freeform 24"/>
                <p:cNvSpPr>
                  <a:spLocks noEditPoints="1"/>
                </p:cNvSpPr>
                <p:nvPr/>
              </p:nvSpPr>
              <p:spPr bwMode="auto">
                <a:xfrm>
                  <a:off x="1144588" y="-1588"/>
                  <a:ext cx="6854825" cy="6859588"/>
                </a:xfrm>
                <a:custGeom>
                  <a:avLst/>
                  <a:gdLst>
                    <a:gd name="T0" fmla="*/ 2006 w 4016"/>
                    <a:gd name="T1" fmla="*/ 4018 h 4018"/>
                    <a:gd name="T2" fmla="*/ 1858 w 4016"/>
                    <a:gd name="T3" fmla="*/ 1058 h 4018"/>
                    <a:gd name="T4" fmla="*/ 2047 w 4016"/>
                    <a:gd name="T5" fmla="*/ 917 h 4018"/>
                    <a:gd name="T6" fmla="*/ 2260 w 4016"/>
                    <a:gd name="T7" fmla="*/ 894 h 4018"/>
                    <a:gd name="T8" fmla="*/ 2244 w 4016"/>
                    <a:gd name="T9" fmla="*/ 757 h 4018"/>
                    <a:gd name="T10" fmla="*/ 2189 w 4016"/>
                    <a:gd name="T11" fmla="*/ 797 h 4018"/>
                    <a:gd name="T12" fmla="*/ 2051 w 4016"/>
                    <a:gd name="T13" fmla="*/ 805 h 4018"/>
                    <a:gd name="T14" fmla="*/ 1949 w 4016"/>
                    <a:gd name="T15" fmla="*/ 797 h 4018"/>
                    <a:gd name="T16" fmla="*/ 2232 w 4016"/>
                    <a:gd name="T17" fmla="*/ 500 h 4018"/>
                    <a:gd name="T18" fmla="*/ 2573 w 4016"/>
                    <a:gd name="T19" fmla="*/ 389 h 4018"/>
                    <a:gd name="T20" fmla="*/ 2280 w 4016"/>
                    <a:gd name="T21" fmla="*/ 237 h 4018"/>
                    <a:gd name="T22" fmla="*/ 1873 w 4016"/>
                    <a:gd name="T23" fmla="*/ 293 h 4018"/>
                    <a:gd name="T24" fmla="*/ 1510 w 4016"/>
                    <a:gd name="T25" fmla="*/ 515 h 4018"/>
                    <a:gd name="T26" fmla="*/ 1225 w 4016"/>
                    <a:gd name="T27" fmla="*/ 552 h 4018"/>
                    <a:gd name="T28" fmla="*/ 1445 w 4016"/>
                    <a:gd name="T29" fmla="*/ 230 h 4018"/>
                    <a:gd name="T30" fmla="*/ 1156 w 4016"/>
                    <a:gd name="T31" fmla="*/ 363 h 4018"/>
                    <a:gd name="T32" fmla="*/ 806 w 4016"/>
                    <a:gd name="T33" fmla="*/ 553 h 4018"/>
                    <a:gd name="T34" fmla="*/ 1001 w 4016"/>
                    <a:gd name="T35" fmla="*/ 515 h 4018"/>
                    <a:gd name="T36" fmla="*/ 794 w 4016"/>
                    <a:gd name="T37" fmla="*/ 744 h 4018"/>
                    <a:gd name="T38" fmla="*/ 715 w 4016"/>
                    <a:gd name="T39" fmla="*/ 858 h 4018"/>
                    <a:gd name="T40" fmla="*/ 570 w 4016"/>
                    <a:gd name="T41" fmla="*/ 866 h 4018"/>
                    <a:gd name="T42" fmla="*/ 199 w 4016"/>
                    <a:gd name="T43" fmla="*/ 1674 h 4018"/>
                    <a:gd name="T44" fmla="*/ 147 w 4016"/>
                    <a:gd name="T45" fmla="*/ 1901 h 4018"/>
                    <a:gd name="T46" fmla="*/ 297 w 4016"/>
                    <a:gd name="T47" fmla="*/ 2334 h 4018"/>
                    <a:gd name="T48" fmla="*/ 636 w 4016"/>
                    <a:gd name="T49" fmla="*/ 2865 h 4018"/>
                    <a:gd name="T50" fmla="*/ 1724 w 4016"/>
                    <a:gd name="T51" fmla="*/ 3913 h 4018"/>
                    <a:gd name="T52" fmla="*/ 3877 w 4016"/>
                    <a:gd name="T53" fmla="*/ 1983 h 4018"/>
                    <a:gd name="T54" fmla="*/ 3656 w 4016"/>
                    <a:gd name="T55" fmla="*/ 1620 h 4018"/>
                    <a:gd name="T56" fmla="*/ 3201 w 4016"/>
                    <a:gd name="T57" fmla="*/ 1616 h 4018"/>
                    <a:gd name="T58" fmla="*/ 3282 w 4016"/>
                    <a:gd name="T59" fmla="*/ 1767 h 4018"/>
                    <a:gd name="T60" fmla="*/ 3460 w 4016"/>
                    <a:gd name="T61" fmla="*/ 1773 h 4018"/>
                    <a:gd name="T62" fmla="*/ 3153 w 4016"/>
                    <a:gd name="T63" fmla="*/ 2218 h 4018"/>
                    <a:gd name="T64" fmla="*/ 2801 w 4016"/>
                    <a:gd name="T65" fmla="*/ 1735 h 4018"/>
                    <a:gd name="T66" fmla="*/ 2940 w 4016"/>
                    <a:gd name="T67" fmla="*/ 2050 h 4018"/>
                    <a:gd name="T68" fmla="*/ 3354 w 4016"/>
                    <a:gd name="T69" fmla="*/ 2177 h 4018"/>
                    <a:gd name="T70" fmla="*/ 3040 w 4016"/>
                    <a:gd name="T71" fmla="*/ 2950 h 4018"/>
                    <a:gd name="T72" fmla="*/ 2839 w 4016"/>
                    <a:gd name="T73" fmla="*/ 3400 h 4018"/>
                    <a:gd name="T74" fmla="*/ 2307 w 4016"/>
                    <a:gd name="T75" fmla="*/ 3663 h 4018"/>
                    <a:gd name="T76" fmla="*/ 2176 w 4016"/>
                    <a:gd name="T77" fmla="*/ 3174 h 4018"/>
                    <a:gd name="T78" fmla="*/ 2058 w 4016"/>
                    <a:gd name="T79" fmla="*/ 2731 h 4018"/>
                    <a:gd name="T80" fmla="*/ 1802 w 4016"/>
                    <a:gd name="T81" fmla="*/ 2572 h 4018"/>
                    <a:gd name="T82" fmla="*/ 1433 w 4016"/>
                    <a:gd name="T83" fmla="*/ 2602 h 4018"/>
                    <a:gd name="T84" fmla="*/ 1217 w 4016"/>
                    <a:gd name="T85" fmla="*/ 2028 h 4018"/>
                    <a:gd name="T86" fmla="*/ 1477 w 4016"/>
                    <a:gd name="T87" fmla="*/ 1705 h 4018"/>
                    <a:gd name="T88" fmla="*/ 2087 w 4016"/>
                    <a:gd name="T89" fmla="*/ 1516 h 4018"/>
                    <a:gd name="T90" fmla="*/ 2360 w 4016"/>
                    <a:gd name="T91" fmla="*/ 1698 h 4018"/>
                    <a:gd name="T92" fmla="*/ 2765 w 4016"/>
                    <a:gd name="T93" fmla="*/ 1599 h 4018"/>
                    <a:gd name="T94" fmla="*/ 2484 w 4016"/>
                    <a:gd name="T95" fmla="*/ 1345 h 4018"/>
                    <a:gd name="T96" fmla="*/ 2292 w 4016"/>
                    <a:gd name="T97" fmla="*/ 1348 h 4018"/>
                    <a:gd name="T98" fmla="*/ 2114 w 4016"/>
                    <a:gd name="T99" fmla="*/ 1230 h 4018"/>
                    <a:gd name="T100" fmla="*/ 2233 w 4016"/>
                    <a:gd name="T101" fmla="*/ 1454 h 4018"/>
                    <a:gd name="T102" fmla="*/ 1849 w 4016"/>
                    <a:gd name="T103" fmla="*/ 1338 h 4018"/>
                    <a:gd name="T104" fmla="*/ 1689 w 4016"/>
                    <a:gd name="T105" fmla="*/ 1511 h 4018"/>
                    <a:gd name="T106" fmla="*/ 1539 w 4016"/>
                    <a:gd name="T107" fmla="*/ 1413 h 4018"/>
                    <a:gd name="T108" fmla="*/ 1713 w 4016"/>
                    <a:gd name="T109" fmla="*/ 1125 h 4018"/>
                    <a:gd name="T110" fmla="*/ 2516 w 4016"/>
                    <a:gd name="T111" fmla="*/ 1348 h 4018"/>
                    <a:gd name="T112" fmla="*/ 2814 w 4016"/>
                    <a:gd name="T113" fmla="*/ 1243 h 4018"/>
                    <a:gd name="T114" fmla="*/ 2516 w 4016"/>
                    <a:gd name="T115" fmla="*/ 1348 h 4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16" h="4018">
                      <a:moveTo>
                        <a:pt x="1998" y="1"/>
                      </a:moveTo>
                      <a:cubicBezTo>
                        <a:pt x="3116" y="0"/>
                        <a:pt x="4016" y="899"/>
                        <a:pt x="4016" y="2014"/>
                      </a:cubicBezTo>
                      <a:cubicBezTo>
                        <a:pt x="4016" y="3117"/>
                        <a:pt x="3113" y="4017"/>
                        <a:pt x="2006" y="4018"/>
                      </a:cubicBezTo>
                      <a:cubicBezTo>
                        <a:pt x="903" y="4018"/>
                        <a:pt x="0" y="3115"/>
                        <a:pt x="0" y="2011"/>
                      </a:cubicBezTo>
                      <a:cubicBezTo>
                        <a:pt x="0" y="908"/>
                        <a:pt x="900" y="2"/>
                        <a:pt x="1998" y="1"/>
                      </a:cubicBezTo>
                      <a:close/>
                      <a:moveTo>
                        <a:pt x="1858" y="1058"/>
                      </a:moveTo>
                      <a:cubicBezTo>
                        <a:pt x="1909" y="1026"/>
                        <a:pt x="1959" y="995"/>
                        <a:pt x="2012" y="962"/>
                      </a:cubicBezTo>
                      <a:cubicBezTo>
                        <a:pt x="2008" y="889"/>
                        <a:pt x="2008" y="889"/>
                        <a:pt x="2056" y="868"/>
                      </a:cubicBezTo>
                      <a:cubicBezTo>
                        <a:pt x="2052" y="889"/>
                        <a:pt x="2046" y="903"/>
                        <a:pt x="2047" y="917"/>
                      </a:cubicBezTo>
                      <a:cubicBezTo>
                        <a:pt x="2048" y="932"/>
                        <a:pt x="2052" y="951"/>
                        <a:pt x="2062" y="958"/>
                      </a:cubicBezTo>
                      <a:cubicBezTo>
                        <a:pt x="2086" y="975"/>
                        <a:pt x="2234" y="954"/>
                        <a:pt x="2255" y="931"/>
                      </a:cubicBezTo>
                      <a:cubicBezTo>
                        <a:pt x="2262" y="923"/>
                        <a:pt x="2262" y="906"/>
                        <a:pt x="2260" y="894"/>
                      </a:cubicBezTo>
                      <a:cubicBezTo>
                        <a:pt x="2253" y="846"/>
                        <a:pt x="2264" y="810"/>
                        <a:pt x="2317" y="796"/>
                      </a:cubicBezTo>
                      <a:cubicBezTo>
                        <a:pt x="2334" y="792"/>
                        <a:pt x="2349" y="780"/>
                        <a:pt x="2366" y="772"/>
                      </a:cubicBezTo>
                      <a:cubicBezTo>
                        <a:pt x="2321" y="761"/>
                        <a:pt x="2271" y="776"/>
                        <a:pt x="2244" y="757"/>
                      </a:cubicBezTo>
                      <a:cubicBezTo>
                        <a:pt x="2194" y="723"/>
                        <a:pt x="2232" y="679"/>
                        <a:pt x="2266" y="636"/>
                      </a:cubicBezTo>
                      <a:cubicBezTo>
                        <a:pt x="2191" y="608"/>
                        <a:pt x="2197" y="682"/>
                        <a:pt x="2170" y="704"/>
                      </a:cubicBezTo>
                      <a:cubicBezTo>
                        <a:pt x="2130" y="738"/>
                        <a:pt x="2161" y="773"/>
                        <a:pt x="2189" y="797"/>
                      </a:cubicBezTo>
                      <a:cubicBezTo>
                        <a:pt x="2177" y="817"/>
                        <a:pt x="2167" y="835"/>
                        <a:pt x="2157" y="853"/>
                      </a:cubicBezTo>
                      <a:cubicBezTo>
                        <a:pt x="2144" y="877"/>
                        <a:pt x="2131" y="901"/>
                        <a:pt x="2110" y="937"/>
                      </a:cubicBezTo>
                      <a:cubicBezTo>
                        <a:pt x="2085" y="880"/>
                        <a:pt x="2068" y="843"/>
                        <a:pt x="2051" y="805"/>
                      </a:cubicBezTo>
                      <a:cubicBezTo>
                        <a:pt x="2037" y="812"/>
                        <a:pt x="2028" y="816"/>
                        <a:pt x="2019" y="820"/>
                      </a:cubicBezTo>
                      <a:cubicBezTo>
                        <a:pt x="2004" y="828"/>
                        <a:pt x="1984" y="846"/>
                        <a:pt x="1975" y="841"/>
                      </a:cubicBezTo>
                      <a:cubicBezTo>
                        <a:pt x="1962" y="835"/>
                        <a:pt x="1948" y="812"/>
                        <a:pt x="1949" y="797"/>
                      </a:cubicBezTo>
                      <a:cubicBezTo>
                        <a:pt x="1951" y="771"/>
                        <a:pt x="1958" y="741"/>
                        <a:pt x="1973" y="721"/>
                      </a:cubicBezTo>
                      <a:cubicBezTo>
                        <a:pt x="2024" y="657"/>
                        <a:pt x="2076" y="593"/>
                        <a:pt x="2134" y="536"/>
                      </a:cubicBezTo>
                      <a:cubicBezTo>
                        <a:pt x="2157" y="513"/>
                        <a:pt x="2201" y="496"/>
                        <a:pt x="2232" y="500"/>
                      </a:cubicBezTo>
                      <a:cubicBezTo>
                        <a:pt x="2307" y="510"/>
                        <a:pt x="2380" y="535"/>
                        <a:pt x="2477" y="560"/>
                      </a:cubicBezTo>
                      <a:cubicBezTo>
                        <a:pt x="2493" y="530"/>
                        <a:pt x="2520" y="479"/>
                        <a:pt x="2546" y="429"/>
                      </a:cubicBezTo>
                      <a:cubicBezTo>
                        <a:pt x="2510" y="433"/>
                        <a:pt x="2576" y="402"/>
                        <a:pt x="2573" y="389"/>
                      </a:cubicBezTo>
                      <a:cubicBezTo>
                        <a:pt x="2528" y="309"/>
                        <a:pt x="2490" y="242"/>
                        <a:pt x="2450" y="170"/>
                      </a:cubicBezTo>
                      <a:cubicBezTo>
                        <a:pt x="2477" y="165"/>
                        <a:pt x="2496" y="161"/>
                        <a:pt x="2516" y="157"/>
                      </a:cubicBezTo>
                      <a:cubicBezTo>
                        <a:pt x="2425" y="120"/>
                        <a:pt x="2312" y="158"/>
                        <a:pt x="2280" y="237"/>
                      </a:cubicBezTo>
                      <a:cubicBezTo>
                        <a:pt x="2256" y="235"/>
                        <a:pt x="2225" y="223"/>
                        <a:pt x="2209" y="234"/>
                      </a:cubicBezTo>
                      <a:cubicBezTo>
                        <a:pt x="2105" y="301"/>
                        <a:pt x="1997" y="276"/>
                        <a:pt x="1891" y="257"/>
                      </a:cubicBezTo>
                      <a:cubicBezTo>
                        <a:pt x="1885" y="268"/>
                        <a:pt x="1882" y="284"/>
                        <a:pt x="1873" y="293"/>
                      </a:cubicBezTo>
                      <a:cubicBezTo>
                        <a:pt x="1843" y="322"/>
                        <a:pt x="1811" y="347"/>
                        <a:pt x="1781" y="375"/>
                      </a:cubicBezTo>
                      <a:cubicBezTo>
                        <a:pt x="1707" y="446"/>
                        <a:pt x="1644" y="536"/>
                        <a:pt x="1521" y="511"/>
                      </a:cubicBezTo>
                      <a:cubicBezTo>
                        <a:pt x="1518" y="510"/>
                        <a:pt x="1513" y="513"/>
                        <a:pt x="1510" y="515"/>
                      </a:cubicBezTo>
                      <a:cubicBezTo>
                        <a:pt x="1425" y="560"/>
                        <a:pt x="1320" y="559"/>
                        <a:pt x="1247" y="632"/>
                      </a:cubicBezTo>
                      <a:cubicBezTo>
                        <a:pt x="1244" y="635"/>
                        <a:pt x="1211" y="620"/>
                        <a:pt x="1211" y="613"/>
                      </a:cubicBezTo>
                      <a:cubicBezTo>
                        <a:pt x="1210" y="592"/>
                        <a:pt x="1212" y="564"/>
                        <a:pt x="1225" y="552"/>
                      </a:cubicBezTo>
                      <a:cubicBezTo>
                        <a:pt x="1276" y="505"/>
                        <a:pt x="1326" y="454"/>
                        <a:pt x="1386" y="421"/>
                      </a:cubicBezTo>
                      <a:cubicBezTo>
                        <a:pt x="1472" y="375"/>
                        <a:pt x="1523" y="302"/>
                        <a:pt x="1590" y="222"/>
                      </a:cubicBezTo>
                      <a:cubicBezTo>
                        <a:pt x="1531" y="219"/>
                        <a:pt x="1483" y="190"/>
                        <a:pt x="1445" y="230"/>
                      </a:cubicBezTo>
                      <a:cubicBezTo>
                        <a:pt x="1422" y="256"/>
                        <a:pt x="1372" y="288"/>
                        <a:pt x="1441" y="337"/>
                      </a:cubicBezTo>
                      <a:cubicBezTo>
                        <a:pt x="1321" y="361"/>
                        <a:pt x="1239" y="456"/>
                        <a:pt x="1107" y="453"/>
                      </a:cubicBezTo>
                      <a:cubicBezTo>
                        <a:pt x="1127" y="416"/>
                        <a:pt x="1145" y="391"/>
                        <a:pt x="1156" y="363"/>
                      </a:cubicBezTo>
                      <a:cubicBezTo>
                        <a:pt x="1162" y="346"/>
                        <a:pt x="1155" y="325"/>
                        <a:pt x="1154" y="306"/>
                      </a:cubicBezTo>
                      <a:cubicBezTo>
                        <a:pt x="1137" y="307"/>
                        <a:pt x="1116" y="303"/>
                        <a:pt x="1102" y="310"/>
                      </a:cubicBezTo>
                      <a:cubicBezTo>
                        <a:pt x="988" y="369"/>
                        <a:pt x="878" y="435"/>
                        <a:pt x="806" y="553"/>
                      </a:cubicBezTo>
                      <a:cubicBezTo>
                        <a:pt x="890" y="505"/>
                        <a:pt x="974" y="457"/>
                        <a:pt x="1058" y="409"/>
                      </a:cubicBezTo>
                      <a:cubicBezTo>
                        <a:pt x="1060" y="412"/>
                        <a:pt x="1062" y="414"/>
                        <a:pt x="1065" y="417"/>
                      </a:cubicBezTo>
                      <a:cubicBezTo>
                        <a:pt x="1043" y="449"/>
                        <a:pt x="1022" y="481"/>
                        <a:pt x="1001" y="515"/>
                      </a:cubicBezTo>
                      <a:cubicBezTo>
                        <a:pt x="1020" y="515"/>
                        <a:pt x="1033" y="515"/>
                        <a:pt x="1034" y="515"/>
                      </a:cubicBezTo>
                      <a:cubicBezTo>
                        <a:pt x="1002" y="578"/>
                        <a:pt x="966" y="642"/>
                        <a:pt x="935" y="708"/>
                      </a:cubicBezTo>
                      <a:cubicBezTo>
                        <a:pt x="906" y="768"/>
                        <a:pt x="850" y="784"/>
                        <a:pt x="794" y="744"/>
                      </a:cubicBezTo>
                      <a:cubicBezTo>
                        <a:pt x="781" y="735"/>
                        <a:pt x="765" y="728"/>
                        <a:pt x="758" y="724"/>
                      </a:cubicBezTo>
                      <a:cubicBezTo>
                        <a:pt x="730" y="766"/>
                        <a:pt x="708" y="800"/>
                        <a:pt x="686" y="834"/>
                      </a:cubicBezTo>
                      <a:cubicBezTo>
                        <a:pt x="695" y="842"/>
                        <a:pt x="705" y="850"/>
                        <a:pt x="715" y="858"/>
                      </a:cubicBezTo>
                      <a:cubicBezTo>
                        <a:pt x="715" y="863"/>
                        <a:pt x="714" y="868"/>
                        <a:pt x="713" y="873"/>
                      </a:cubicBezTo>
                      <a:cubicBezTo>
                        <a:pt x="683" y="873"/>
                        <a:pt x="652" y="874"/>
                        <a:pt x="622" y="872"/>
                      </a:cubicBezTo>
                      <a:cubicBezTo>
                        <a:pt x="604" y="872"/>
                        <a:pt x="585" y="861"/>
                        <a:pt x="570" y="866"/>
                      </a:cubicBezTo>
                      <a:cubicBezTo>
                        <a:pt x="466" y="898"/>
                        <a:pt x="384" y="961"/>
                        <a:pt x="334" y="1060"/>
                      </a:cubicBezTo>
                      <a:cubicBezTo>
                        <a:pt x="293" y="1143"/>
                        <a:pt x="253" y="1226"/>
                        <a:pt x="214" y="1311"/>
                      </a:cubicBezTo>
                      <a:cubicBezTo>
                        <a:pt x="160" y="1429"/>
                        <a:pt x="137" y="1550"/>
                        <a:pt x="199" y="1674"/>
                      </a:cubicBezTo>
                      <a:cubicBezTo>
                        <a:pt x="200" y="1675"/>
                        <a:pt x="196" y="1679"/>
                        <a:pt x="191" y="1685"/>
                      </a:cubicBezTo>
                      <a:cubicBezTo>
                        <a:pt x="171" y="1654"/>
                        <a:pt x="152" y="1625"/>
                        <a:pt x="133" y="1594"/>
                      </a:cubicBezTo>
                      <a:cubicBezTo>
                        <a:pt x="97" y="1702"/>
                        <a:pt x="84" y="1802"/>
                        <a:pt x="147" y="1901"/>
                      </a:cubicBezTo>
                      <a:cubicBezTo>
                        <a:pt x="164" y="1929"/>
                        <a:pt x="162" y="1970"/>
                        <a:pt x="173" y="2002"/>
                      </a:cubicBezTo>
                      <a:cubicBezTo>
                        <a:pt x="199" y="2078"/>
                        <a:pt x="228" y="2152"/>
                        <a:pt x="256" y="2226"/>
                      </a:cubicBezTo>
                      <a:cubicBezTo>
                        <a:pt x="270" y="2262"/>
                        <a:pt x="298" y="2298"/>
                        <a:pt x="297" y="2334"/>
                      </a:cubicBezTo>
                      <a:cubicBezTo>
                        <a:pt x="293" y="2433"/>
                        <a:pt x="358" y="2505"/>
                        <a:pt x="416" y="2553"/>
                      </a:cubicBezTo>
                      <a:cubicBezTo>
                        <a:pt x="486" y="2611"/>
                        <a:pt x="553" y="2672"/>
                        <a:pt x="620" y="2733"/>
                      </a:cubicBezTo>
                      <a:cubicBezTo>
                        <a:pt x="648" y="2758"/>
                        <a:pt x="663" y="2840"/>
                        <a:pt x="636" y="2865"/>
                      </a:cubicBezTo>
                      <a:cubicBezTo>
                        <a:pt x="580" y="2917"/>
                        <a:pt x="587" y="2977"/>
                        <a:pt x="595" y="3043"/>
                      </a:cubicBezTo>
                      <a:cubicBezTo>
                        <a:pt x="610" y="3159"/>
                        <a:pt x="603" y="3166"/>
                        <a:pt x="481" y="3183"/>
                      </a:cubicBezTo>
                      <a:cubicBezTo>
                        <a:pt x="807" y="3591"/>
                        <a:pt x="1217" y="3846"/>
                        <a:pt x="1724" y="3913"/>
                      </a:cubicBezTo>
                      <a:cubicBezTo>
                        <a:pt x="2507" y="4015"/>
                        <a:pt x="3140" y="3737"/>
                        <a:pt x="3598" y="3093"/>
                      </a:cubicBezTo>
                      <a:cubicBezTo>
                        <a:pt x="3999" y="2529"/>
                        <a:pt x="3991" y="1827"/>
                        <a:pt x="3836" y="1454"/>
                      </a:cubicBezTo>
                      <a:cubicBezTo>
                        <a:pt x="3849" y="1630"/>
                        <a:pt x="3863" y="1807"/>
                        <a:pt x="3877" y="1983"/>
                      </a:cubicBezTo>
                      <a:cubicBezTo>
                        <a:pt x="3871" y="1984"/>
                        <a:pt x="3865" y="1985"/>
                        <a:pt x="3860" y="1985"/>
                      </a:cubicBezTo>
                      <a:cubicBezTo>
                        <a:pt x="3810" y="1884"/>
                        <a:pt x="3761" y="1783"/>
                        <a:pt x="3709" y="1682"/>
                      </a:cubicBezTo>
                      <a:cubicBezTo>
                        <a:pt x="3697" y="1658"/>
                        <a:pt x="3678" y="1629"/>
                        <a:pt x="3656" y="1620"/>
                      </a:cubicBezTo>
                      <a:cubicBezTo>
                        <a:pt x="3621" y="1607"/>
                        <a:pt x="3580" y="1609"/>
                        <a:pt x="3542" y="1604"/>
                      </a:cubicBezTo>
                      <a:cubicBezTo>
                        <a:pt x="3479" y="1611"/>
                        <a:pt x="3425" y="1688"/>
                        <a:pt x="3343" y="1628"/>
                      </a:cubicBezTo>
                      <a:cubicBezTo>
                        <a:pt x="3290" y="1670"/>
                        <a:pt x="3251" y="1666"/>
                        <a:pt x="3201" y="1616"/>
                      </a:cubicBezTo>
                      <a:cubicBezTo>
                        <a:pt x="3186" y="1602"/>
                        <a:pt x="3162" y="1598"/>
                        <a:pt x="3142" y="1589"/>
                      </a:cubicBezTo>
                      <a:cubicBezTo>
                        <a:pt x="3148" y="1611"/>
                        <a:pt x="3147" y="1639"/>
                        <a:pt x="3161" y="1655"/>
                      </a:cubicBezTo>
                      <a:cubicBezTo>
                        <a:pt x="3194" y="1692"/>
                        <a:pt x="3234" y="1724"/>
                        <a:pt x="3282" y="1767"/>
                      </a:cubicBezTo>
                      <a:cubicBezTo>
                        <a:pt x="3304" y="1737"/>
                        <a:pt x="3326" y="1704"/>
                        <a:pt x="3341" y="1683"/>
                      </a:cubicBezTo>
                      <a:cubicBezTo>
                        <a:pt x="3370" y="1697"/>
                        <a:pt x="3400" y="1708"/>
                        <a:pt x="3426" y="1726"/>
                      </a:cubicBezTo>
                      <a:cubicBezTo>
                        <a:pt x="3441" y="1737"/>
                        <a:pt x="3462" y="1759"/>
                        <a:pt x="3460" y="1773"/>
                      </a:cubicBezTo>
                      <a:cubicBezTo>
                        <a:pt x="3452" y="1827"/>
                        <a:pt x="3440" y="1881"/>
                        <a:pt x="3421" y="1931"/>
                      </a:cubicBezTo>
                      <a:cubicBezTo>
                        <a:pt x="3410" y="1960"/>
                        <a:pt x="3372" y="1979"/>
                        <a:pt x="3362" y="2007"/>
                      </a:cubicBezTo>
                      <a:cubicBezTo>
                        <a:pt x="3322" y="2115"/>
                        <a:pt x="3226" y="2159"/>
                        <a:pt x="3153" y="2218"/>
                      </a:cubicBezTo>
                      <a:cubicBezTo>
                        <a:pt x="3109" y="2147"/>
                        <a:pt x="3072" y="2082"/>
                        <a:pt x="3029" y="2020"/>
                      </a:cubicBezTo>
                      <a:cubicBezTo>
                        <a:pt x="3011" y="1994"/>
                        <a:pt x="2980" y="1978"/>
                        <a:pt x="2961" y="1953"/>
                      </a:cubicBezTo>
                      <a:cubicBezTo>
                        <a:pt x="2906" y="1881"/>
                        <a:pt x="2854" y="1807"/>
                        <a:pt x="2801" y="1735"/>
                      </a:cubicBezTo>
                      <a:cubicBezTo>
                        <a:pt x="2795" y="1736"/>
                        <a:pt x="2789" y="1738"/>
                        <a:pt x="2783" y="1740"/>
                      </a:cubicBezTo>
                      <a:cubicBezTo>
                        <a:pt x="2787" y="1763"/>
                        <a:pt x="2784" y="1791"/>
                        <a:pt x="2795" y="1810"/>
                      </a:cubicBezTo>
                      <a:cubicBezTo>
                        <a:pt x="2841" y="1891"/>
                        <a:pt x="2891" y="1970"/>
                        <a:pt x="2940" y="2050"/>
                      </a:cubicBezTo>
                      <a:cubicBezTo>
                        <a:pt x="2942" y="2054"/>
                        <a:pt x="2945" y="2057"/>
                        <a:pt x="2948" y="2059"/>
                      </a:cubicBezTo>
                      <a:cubicBezTo>
                        <a:pt x="3022" y="2136"/>
                        <a:pt x="3096" y="2212"/>
                        <a:pt x="3176" y="2294"/>
                      </a:cubicBezTo>
                      <a:cubicBezTo>
                        <a:pt x="3231" y="2258"/>
                        <a:pt x="3284" y="2223"/>
                        <a:pt x="3354" y="2177"/>
                      </a:cubicBezTo>
                      <a:cubicBezTo>
                        <a:pt x="3343" y="2243"/>
                        <a:pt x="3339" y="2294"/>
                        <a:pt x="3326" y="2342"/>
                      </a:cubicBezTo>
                      <a:cubicBezTo>
                        <a:pt x="3288" y="2488"/>
                        <a:pt x="3192" y="2601"/>
                        <a:pt x="3100" y="2715"/>
                      </a:cubicBezTo>
                      <a:cubicBezTo>
                        <a:pt x="3043" y="2786"/>
                        <a:pt x="3019" y="2862"/>
                        <a:pt x="3040" y="2950"/>
                      </a:cubicBezTo>
                      <a:cubicBezTo>
                        <a:pt x="3070" y="3076"/>
                        <a:pt x="3047" y="3174"/>
                        <a:pt x="2918" y="3233"/>
                      </a:cubicBezTo>
                      <a:cubicBezTo>
                        <a:pt x="2876" y="3252"/>
                        <a:pt x="2838" y="3285"/>
                        <a:pt x="2858" y="3346"/>
                      </a:cubicBezTo>
                      <a:cubicBezTo>
                        <a:pt x="2863" y="3361"/>
                        <a:pt x="2852" y="3394"/>
                        <a:pt x="2839" y="3400"/>
                      </a:cubicBezTo>
                      <a:cubicBezTo>
                        <a:pt x="2783" y="3425"/>
                        <a:pt x="2758" y="3482"/>
                        <a:pt x="2716" y="3517"/>
                      </a:cubicBezTo>
                      <a:cubicBezTo>
                        <a:pt x="2635" y="3585"/>
                        <a:pt x="2539" y="3636"/>
                        <a:pt x="2450" y="3694"/>
                      </a:cubicBezTo>
                      <a:cubicBezTo>
                        <a:pt x="2391" y="3732"/>
                        <a:pt x="2340" y="3701"/>
                        <a:pt x="2307" y="3663"/>
                      </a:cubicBezTo>
                      <a:cubicBezTo>
                        <a:pt x="2269" y="3617"/>
                        <a:pt x="2248" y="3556"/>
                        <a:pt x="2221" y="3501"/>
                      </a:cubicBezTo>
                      <a:cubicBezTo>
                        <a:pt x="2202" y="3461"/>
                        <a:pt x="2191" y="3416"/>
                        <a:pt x="2168" y="3378"/>
                      </a:cubicBezTo>
                      <a:cubicBezTo>
                        <a:pt x="2112" y="3285"/>
                        <a:pt x="2111" y="3263"/>
                        <a:pt x="2176" y="3174"/>
                      </a:cubicBezTo>
                      <a:cubicBezTo>
                        <a:pt x="2186" y="3161"/>
                        <a:pt x="2195" y="3141"/>
                        <a:pt x="2193" y="3125"/>
                      </a:cubicBezTo>
                      <a:cubicBezTo>
                        <a:pt x="2181" y="3040"/>
                        <a:pt x="2155" y="2960"/>
                        <a:pt x="2091" y="2898"/>
                      </a:cubicBezTo>
                      <a:cubicBezTo>
                        <a:pt x="2040" y="2849"/>
                        <a:pt x="2035" y="2796"/>
                        <a:pt x="2058" y="2731"/>
                      </a:cubicBezTo>
                      <a:cubicBezTo>
                        <a:pt x="2080" y="2670"/>
                        <a:pt x="2049" y="2639"/>
                        <a:pt x="1984" y="2634"/>
                      </a:cubicBezTo>
                      <a:cubicBezTo>
                        <a:pt x="1950" y="2631"/>
                        <a:pt x="1908" y="2622"/>
                        <a:pt x="1887" y="2599"/>
                      </a:cubicBezTo>
                      <a:cubicBezTo>
                        <a:pt x="1860" y="2570"/>
                        <a:pt x="1836" y="2563"/>
                        <a:pt x="1802" y="2572"/>
                      </a:cubicBezTo>
                      <a:cubicBezTo>
                        <a:pt x="1748" y="2586"/>
                        <a:pt x="1690" y="2618"/>
                        <a:pt x="1641" y="2608"/>
                      </a:cubicBezTo>
                      <a:cubicBezTo>
                        <a:pt x="1579" y="2595"/>
                        <a:pt x="1524" y="2605"/>
                        <a:pt x="1466" y="2612"/>
                      </a:cubicBezTo>
                      <a:cubicBezTo>
                        <a:pt x="1455" y="2613"/>
                        <a:pt x="1440" y="2610"/>
                        <a:pt x="1433" y="2602"/>
                      </a:cubicBezTo>
                      <a:cubicBezTo>
                        <a:pt x="1341" y="2517"/>
                        <a:pt x="1251" y="2430"/>
                        <a:pt x="1128" y="2390"/>
                      </a:cubicBezTo>
                      <a:cubicBezTo>
                        <a:pt x="1148" y="2328"/>
                        <a:pt x="1161" y="2271"/>
                        <a:pt x="1184" y="2218"/>
                      </a:cubicBezTo>
                      <a:cubicBezTo>
                        <a:pt x="1210" y="2157"/>
                        <a:pt x="1231" y="2098"/>
                        <a:pt x="1217" y="2028"/>
                      </a:cubicBezTo>
                      <a:cubicBezTo>
                        <a:pt x="1211" y="2001"/>
                        <a:pt x="1221" y="1963"/>
                        <a:pt x="1238" y="1941"/>
                      </a:cubicBezTo>
                      <a:cubicBezTo>
                        <a:pt x="1296" y="1871"/>
                        <a:pt x="1330" y="1776"/>
                        <a:pt x="1432" y="1747"/>
                      </a:cubicBezTo>
                      <a:cubicBezTo>
                        <a:pt x="1450" y="1742"/>
                        <a:pt x="1475" y="1721"/>
                        <a:pt x="1477" y="1705"/>
                      </a:cubicBezTo>
                      <a:cubicBezTo>
                        <a:pt x="1488" y="1618"/>
                        <a:pt x="1558" y="1587"/>
                        <a:pt x="1616" y="1540"/>
                      </a:cubicBezTo>
                      <a:cubicBezTo>
                        <a:pt x="1670" y="1580"/>
                        <a:pt x="1723" y="1575"/>
                        <a:pt x="1777" y="1543"/>
                      </a:cubicBezTo>
                      <a:cubicBezTo>
                        <a:pt x="1879" y="1484"/>
                        <a:pt x="1987" y="1542"/>
                        <a:pt x="2087" y="1516"/>
                      </a:cubicBezTo>
                      <a:cubicBezTo>
                        <a:pt x="2087" y="1559"/>
                        <a:pt x="2075" y="1612"/>
                        <a:pt x="2089" y="1620"/>
                      </a:cubicBezTo>
                      <a:cubicBezTo>
                        <a:pt x="2161" y="1662"/>
                        <a:pt x="2239" y="1693"/>
                        <a:pt x="2317" y="1724"/>
                      </a:cubicBezTo>
                      <a:cubicBezTo>
                        <a:pt x="2327" y="1728"/>
                        <a:pt x="2361" y="1706"/>
                        <a:pt x="2360" y="1698"/>
                      </a:cubicBezTo>
                      <a:cubicBezTo>
                        <a:pt x="2353" y="1631"/>
                        <a:pt x="2395" y="1650"/>
                        <a:pt x="2431" y="1653"/>
                      </a:cubicBezTo>
                      <a:cubicBezTo>
                        <a:pt x="2515" y="1662"/>
                        <a:pt x="2599" y="1676"/>
                        <a:pt x="2683" y="1673"/>
                      </a:cubicBezTo>
                      <a:cubicBezTo>
                        <a:pt x="2712" y="1671"/>
                        <a:pt x="2754" y="1630"/>
                        <a:pt x="2765" y="1599"/>
                      </a:cubicBezTo>
                      <a:cubicBezTo>
                        <a:pt x="2779" y="1556"/>
                        <a:pt x="2768" y="1506"/>
                        <a:pt x="2768" y="1456"/>
                      </a:cubicBezTo>
                      <a:cubicBezTo>
                        <a:pt x="2715" y="1461"/>
                        <a:pt x="2667" y="1462"/>
                        <a:pt x="2620" y="1470"/>
                      </a:cubicBezTo>
                      <a:cubicBezTo>
                        <a:pt x="2548" y="1484"/>
                        <a:pt x="2487" y="1435"/>
                        <a:pt x="2484" y="1345"/>
                      </a:cubicBezTo>
                      <a:cubicBezTo>
                        <a:pt x="2454" y="1357"/>
                        <a:pt x="2427" y="1367"/>
                        <a:pt x="2400" y="1378"/>
                      </a:cubicBezTo>
                      <a:cubicBezTo>
                        <a:pt x="2412" y="1404"/>
                        <a:pt x="2424" y="1429"/>
                        <a:pt x="2443" y="1473"/>
                      </a:cubicBezTo>
                      <a:cubicBezTo>
                        <a:pt x="2387" y="1422"/>
                        <a:pt x="2307" y="1431"/>
                        <a:pt x="2292" y="1348"/>
                      </a:cubicBezTo>
                      <a:cubicBezTo>
                        <a:pt x="2290" y="1339"/>
                        <a:pt x="2282" y="1329"/>
                        <a:pt x="2274" y="1323"/>
                      </a:cubicBezTo>
                      <a:cubicBezTo>
                        <a:pt x="2234" y="1292"/>
                        <a:pt x="2194" y="1262"/>
                        <a:pt x="2153" y="1234"/>
                      </a:cubicBezTo>
                      <a:cubicBezTo>
                        <a:pt x="2143" y="1227"/>
                        <a:pt x="2127" y="1231"/>
                        <a:pt x="2114" y="1230"/>
                      </a:cubicBezTo>
                      <a:cubicBezTo>
                        <a:pt x="2113" y="1241"/>
                        <a:pt x="2107" y="1258"/>
                        <a:pt x="2113" y="1264"/>
                      </a:cubicBezTo>
                      <a:cubicBezTo>
                        <a:pt x="2142" y="1294"/>
                        <a:pt x="2169" y="1329"/>
                        <a:pt x="2205" y="1348"/>
                      </a:cubicBezTo>
                      <a:cubicBezTo>
                        <a:pt x="2256" y="1377"/>
                        <a:pt x="2265" y="1418"/>
                        <a:pt x="2233" y="1454"/>
                      </a:cubicBezTo>
                      <a:cubicBezTo>
                        <a:pt x="2207" y="1426"/>
                        <a:pt x="2185" y="1390"/>
                        <a:pt x="2153" y="1372"/>
                      </a:cubicBezTo>
                      <a:cubicBezTo>
                        <a:pt x="2085" y="1333"/>
                        <a:pt x="2039" y="1235"/>
                        <a:pt x="1929" y="1295"/>
                      </a:cubicBezTo>
                      <a:cubicBezTo>
                        <a:pt x="1904" y="1309"/>
                        <a:pt x="1871" y="1305"/>
                        <a:pt x="1849" y="1338"/>
                      </a:cubicBezTo>
                      <a:cubicBezTo>
                        <a:pt x="1831" y="1365"/>
                        <a:pt x="1798" y="1382"/>
                        <a:pt x="1773" y="1405"/>
                      </a:cubicBezTo>
                      <a:cubicBezTo>
                        <a:pt x="1768" y="1409"/>
                        <a:pt x="1767" y="1421"/>
                        <a:pt x="1769" y="1429"/>
                      </a:cubicBezTo>
                      <a:cubicBezTo>
                        <a:pt x="1781" y="1494"/>
                        <a:pt x="1735" y="1503"/>
                        <a:pt x="1689" y="1511"/>
                      </a:cubicBezTo>
                      <a:cubicBezTo>
                        <a:pt x="1664" y="1515"/>
                        <a:pt x="1640" y="1516"/>
                        <a:pt x="1619" y="1519"/>
                      </a:cubicBezTo>
                      <a:cubicBezTo>
                        <a:pt x="1602" y="1503"/>
                        <a:pt x="1583" y="1492"/>
                        <a:pt x="1570" y="1475"/>
                      </a:cubicBezTo>
                      <a:cubicBezTo>
                        <a:pt x="1557" y="1457"/>
                        <a:pt x="1540" y="1434"/>
                        <a:pt x="1539" y="1413"/>
                      </a:cubicBezTo>
                      <a:cubicBezTo>
                        <a:pt x="1537" y="1307"/>
                        <a:pt x="1585" y="1269"/>
                        <a:pt x="1693" y="1285"/>
                      </a:cubicBezTo>
                      <a:cubicBezTo>
                        <a:pt x="1760" y="1296"/>
                        <a:pt x="1795" y="1253"/>
                        <a:pt x="1767" y="1189"/>
                      </a:cubicBezTo>
                      <a:cubicBezTo>
                        <a:pt x="1757" y="1164"/>
                        <a:pt x="1732" y="1146"/>
                        <a:pt x="1713" y="1125"/>
                      </a:cubicBezTo>
                      <a:cubicBezTo>
                        <a:pt x="1765" y="1106"/>
                        <a:pt x="1834" y="1125"/>
                        <a:pt x="1860" y="1056"/>
                      </a:cubicBezTo>
                      <a:lnTo>
                        <a:pt x="1858" y="1058"/>
                      </a:lnTo>
                      <a:close/>
                      <a:moveTo>
                        <a:pt x="2516" y="1348"/>
                      </a:moveTo>
                      <a:cubicBezTo>
                        <a:pt x="2592" y="1319"/>
                        <a:pt x="2659" y="1255"/>
                        <a:pt x="2751" y="1299"/>
                      </a:cubicBezTo>
                      <a:cubicBezTo>
                        <a:pt x="2765" y="1306"/>
                        <a:pt x="2792" y="1292"/>
                        <a:pt x="2809" y="1281"/>
                      </a:cubicBezTo>
                      <a:cubicBezTo>
                        <a:pt x="2816" y="1276"/>
                        <a:pt x="2818" y="1244"/>
                        <a:pt x="2814" y="1243"/>
                      </a:cubicBezTo>
                      <a:cubicBezTo>
                        <a:pt x="2768" y="1225"/>
                        <a:pt x="2718" y="1191"/>
                        <a:pt x="2674" y="1197"/>
                      </a:cubicBezTo>
                      <a:cubicBezTo>
                        <a:pt x="2613" y="1205"/>
                        <a:pt x="2556" y="1244"/>
                        <a:pt x="2498" y="1269"/>
                      </a:cubicBezTo>
                      <a:cubicBezTo>
                        <a:pt x="2505" y="1299"/>
                        <a:pt x="2510" y="1322"/>
                        <a:pt x="2516" y="13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sp>
              <p:nvSpPr>
                <p:cNvPr id="74" name="Freeform 25"/>
                <p:cNvSpPr>
                  <a:spLocks/>
                </p:cNvSpPr>
                <p:nvPr/>
              </p:nvSpPr>
              <p:spPr bwMode="auto">
                <a:xfrm>
                  <a:off x="6405563" y="5105400"/>
                  <a:ext cx="387350" cy="620713"/>
                </a:xfrm>
                <a:custGeom>
                  <a:avLst/>
                  <a:gdLst>
                    <a:gd name="T0" fmla="*/ 227 w 227"/>
                    <a:gd name="T1" fmla="*/ 0 h 364"/>
                    <a:gd name="T2" fmla="*/ 194 w 227"/>
                    <a:gd name="T3" fmla="*/ 118 h 364"/>
                    <a:gd name="T4" fmla="*/ 105 w 227"/>
                    <a:gd name="T5" fmla="*/ 287 h 364"/>
                    <a:gd name="T6" fmla="*/ 75 w 227"/>
                    <a:gd name="T7" fmla="*/ 333 h 364"/>
                    <a:gd name="T8" fmla="*/ 1 w 227"/>
                    <a:gd name="T9" fmla="*/ 364 h 364"/>
                    <a:gd name="T10" fmla="*/ 7 w 227"/>
                    <a:gd name="T11" fmla="*/ 280 h 364"/>
                    <a:gd name="T12" fmla="*/ 46 w 227"/>
                    <a:gd name="T13" fmla="*/ 176 h 364"/>
                    <a:gd name="T14" fmla="*/ 74 w 227"/>
                    <a:gd name="T15" fmla="*/ 129 h 364"/>
                    <a:gd name="T16" fmla="*/ 212 w 227"/>
                    <a:gd name="T17" fmla="*/ 0 h 364"/>
                    <a:gd name="T18" fmla="*/ 227 w 227"/>
                    <a:gd name="T1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7" h="364">
                      <a:moveTo>
                        <a:pt x="227" y="0"/>
                      </a:moveTo>
                      <a:cubicBezTo>
                        <a:pt x="216" y="40"/>
                        <a:pt x="211" y="81"/>
                        <a:pt x="194" y="118"/>
                      </a:cubicBezTo>
                      <a:cubicBezTo>
                        <a:pt x="168" y="176"/>
                        <a:pt x="135" y="231"/>
                        <a:pt x="105" y="287"/>
                      </a:cubicBezTo>
                      <a:cubicBezTo>
                        <a:pt x="96" y="303"/>
                        <a:pt x="89" y="323"/>
                        <a:pt x="75" y="333"/>
                      </a:cubicBezTo>
                      <a:cubicBezTo>
                        <a:pt x="53" y="347"/>
                        <a:pt x="26" y="354"/>
                        <a:pt x="1" y="364"/>
                      </a:cubicBezTo>
                      <a:cubicBezTo>
                        <a:pt x="3" y="336"/>
                        <a:pt x="0" y="307"/>
                        <a:pt x="7" y="280"/>
                      </a:cubicBezTo>
                      <a:cubicBezTo>
                        <a:pt x="16" y="244"/>
                        <a:pt x="31" y="210"/>
                        <a:pt x="46" y="176"/>
                      </a:cubicBezTo>
                      <a:cubicBezTo>
                        <a:pt x="53" y="159"/>
                        <a:pt x="61" y="142"/>
                        <a:pt x="74" y="129"/>
                      </a:cubicBezTo>
                      <a:cubicBezTo>
                        <a:pt x="119" y="85"/>
                        <a:pt x="166" y="43"/>
                        <a:pt x="212" y="0"/>
                      </a:cubicBezTo>
                      <a:cubicBezTo>
                        <a:pt x="217" y="0"/>
                        <a:pt x="222" y="0"/>
                        <a:pt x="22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sp>
              <p:nvSpPr>
                <p:cNvPr id="75" name="Freeform 26"/>
                <p:cNvSpPr>
                  <a:spLocks/>
                </p:cNvSpPr>
                <p:nvPr/>
              </p:nvSpPr>
              <p:spPr bwMode="auto">
                <a:xfrm>
                  <a:off x="4081463" y="1371600"/>
                  <a:ext cx="250825" cy="433388"/>
                </a:xfrm>
                <a:custGeom>
                  <a:avLst/>
                  <a:gdLst>
                    <a:gd name="T0" fmla="*/ 139 w 147"/>
                    <a:gd name="T1" fmla="*/ 252 h 254"/>
                    <a:gd name="T2" fmla="*/ 0 w 147"/>
                    <a:gd name="T3" fmla="*/ 252 h 254"/>
                    <a:gd name="T4" fmla="*/ 41 w 147"/>
                    <a:gd name="T5" fmla="*/ 161 h 254"/>
                    <a:gd name="T6" fmla="*/ 17 w 147"/>
                    <a:gd name="T7" fmla="*/ 26 h 254"/>
                    <a:gd name="T8" fmla="*/ 113 w 147"/>
                    <a:gd name="T9" fmla="*/ 0 h 254"/>
                    <a:gd name="T10" fmla="*/ 138 w 147"/>
                    <a:gd name="T11" fmla="*/ 196 h 254"/>
                    <a:gd name="T12" fmla="*/ 137 w 147"/>
                    <a:gd name="T13" fmla="*/ 254 h 254"/>
                    <a:gd name="T14" fmla="*/ 139 w 147"/>
                    <a:gd name="T15" fmla="*/ 252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7" h="254">
                      <a:moveTo>
                        <a:pt x="139" y="252"/>
                      </a:moveTo>
                      <a:cubicBezTo>
                        <a:pt x="95" y="252"/>
                        <a:pt x="51" y="252"/>
                        <a:pt x="0" y="252"/>
                      </a:cubicBezTo>
                      <a:cubicBezTo>
                        <a:pt x="13" y="221"/>
                        <a:pt x="29" y="187"/>
                        <a:pt x="41" y="161"/>
                      </a:cubicBezTo>
                      <a:cubicBezTo>
                        <a:pt x="31" y="114"/>
                        <a:pt x="20" y="70"/>
                        <a:pt x="17" y="26"/>
                      </a:cubicBezTo>
                      <a:cubicBezTo>
                        <a:pt x="17" y="21"/>
                        <a:pt x="65" y="13"/>
                        <a:pt x="113" y="0"/>
                      </a:cubicBezTo>
                      <a:cubicBezTo>
                        <a:pt x="59" y="89"/>
                        <a:pt x="101" y="141"/>
                        <a:pt x="138" y="196"/>
                      </a:cubicBezTo>
                      <a:cubicBezTo>
                        <a:pt x="147" y="209"/>
                        <a:pt x="138" y="234"/>
                        <a:pt x="137" y="254"/>
                      </a:cubicBezTo>
                      <a:cubicBezTo>
                        <a:pt x="137" y="254"/>
                        <a:pt x="139" y="252"/>
                        <a:pt x="139" y="2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sp>
              <p:nvSpPr>
                <p:cNvPr id="76" name="Freeform 27"/>
                <p:cNvSpPr>
                  <a:spLocks/>
                </p:cNvSpPr>
                <p:nvPr/>
              </p:nvSpPr>
              <p:spPr bwMode="auto">
                <a:xfrm>
                  <a:off x="3798888" y="993775"/>
                  <a:ext cx="242888" cy="136525"/>
                </a:xfrm>
                <a:custGeom>
                  <a:avLst/>
                  <a:gdLst>
                    <a:gd name="T0" fmla="*/ 139 w 142"/>
                    <a:gd name="T1" fmla="*/ 57 h 80"/>
                    <a:gd name="T2" fmla="*/ 0 w 142"/>
                    <a:gd name="T3" fmla="*/ 80 h 80"/>
                    <a:gd name="T4" fmla="*/ 28 w 142"/>
                    <a:gd name="T5" fmla="*/ 5 h 80"/>
                    <a:gd name="T6" fmla="*/ 142 w 142"/>
                    <a:gd name="T7" fmla="*/ 34 h 80"/>
                    <a:gd name="T8" fmla="*/ 139 w 142"/>
                    <a:gd name="T9" fmla="*/ 57 h 80"/>
                  </a:gdLst>
                  <a:ahLst/>
                  <a:cxnLst>
                    <a:cxn ang="0">
                      <a:pos x="T0" y="T1"/>
                    </a:cxn>
                    <a:cxn ang="0">
                      <a:pos x="T2" y="T3"/>
                    </a:cxn>
                    <a:cxn ang="0">
                      <a:pos x="T4" y="T5"/>
                    </a:cxn>
                    <a:cxn ang="0">
                      <a:pos x="T6" y="T7"/>
                    </a:cxn>
                    <a:cxn ang="0">
                      <a:pos x="T8" y="T9"/>
                    </a:cxn>
                  </a:cxnLst>
                  <a:rect l="0" t="0" r="r" b="b"/>
                  <a:pathLst>
                    <a:path w="142" h="80">
                      <a:moveTo>
                        <a:pt x="139" y="57"/>
                      </a:moveTo>
                      <a:cubicBezTo>
                        <a:pt x="99" y="64"/>
                        <a:pt x="59" y="70"/>
                        <a:pt x="0" y="80"/>
                      </a:cubicBezTo>
                      <a:cubicBezTo>
                        <a:pt x="14" y="42"/>
                        <a:pt x="20" y="6"/>
                        <a:pt x="28" y="5"/>
                      </a:cubicBezTo>
                      <a:cubicBezTo>
                        <a:pt x="68" y="3"/>
                        <a:pt x="113" y="0"/>
                        <a:pt x="142" y="34"/>
                      </a:cubicBezTo>
                      <a:cubicBezTo>
                        <a:pt x="141" y="42"/>
                        <a:pt x="140" y="50"/>
                        <a:pt x="139" y="5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sp>
              <p:nvSpPr>
                <p:cNvPr id="77" name="Freeform 28"/>
                <p:cNvSpPr>
                  <a:spLocks/>
                </p:cNvSpPr>
                <p:nvPr/>
              </p:nvSpPr>
              <p:spPr bwMode="auto">
                <a:xfrm>
                  <a:off x="3897313" y="1550988"/>
                  <a:ext cx="184150" cy="190500"/>
                </a:xfrm>
                <a:custGeom>
                  <a:avLst/>
                  <a:gdLst>
                    <a:gd name="T0" fmla="*/ 0 w 108"/>
                    <a:gd name="T1" fmla="*/ 104 h 112"/>
                    <a:gd name="T2" fmla="*/ 60 w 108"/>
                    <a:gd name="T3" fmla="*/ 15 h 112"/>
                    <a:gd name="T4" fmla="*/ 93 w 108"/>
                    <a:gd name="T5" fmla="*/ 5 h 112"/>
                    <a:gd name="T6" fmla="*/ 106 w 108"/>
                    <a:gd name="T7" fmla="*/ 40 h 112"/>
                    <a:gd name="T8" fmla="*/ 0 w 108"/>
                    <a:gd name="T9" fmla="*/ 104 h 112"/>
                  </a:gdLst>
                  <a:ahLst/>
                  <a:cxnLst>
                    <a:cxn ang="0">
                      <a:pos x="T0" y="T1"/>
                    </a:cxn>
                    <a:cxn ang="0">
                      <a:pos x="T2" y="T3"/>
                    </a:cxn>
                    <a:cxn ang="0">
                      <a:pos x="T4" y="T5"/>
                    </a:cxn>
                    <a:cxn ang="0">
                      <a:pos x="T6" y="T7"/>
                    </a:cxn>
                    <a:cxn ang="0">
                      <a:pos x="T8" y="T9"/>
                    </a:cxn>
                  </a:cxnLst>
                  <a:rect l="0" t="0" r="r" b="b"/>
                  <a:pathLst>
                    <a:path w="108" h="112">
                      <a:moveTo>
                        <a:pt x="0" y="104"/>
                      </a:moveTo>
                      <a:cubicBezTo>
                        <a:pt x="22" y="70"/>
                        <a:pt x="39" y="41"/>
                        <a:pt x="60" y="15"/>
                      </a:cubicBezTo>
                      <a:cubicBezTo>
                        <a:pt x="66" y="7"/>
                        <a:pt x="88" y="0"/>
                        <a:pt x="93" y="5"/>
                      </a:cubicBezTo>
                      <a:cubicBezTo>
                        <a:pt x="101" y="12"/>
                        <a:pt x="108" y="30"/>
                        <a:pt x="106" y="40"/>
                      </a:cubicBezTo>
                      <a:cubicBezTo>
                        <a:pt x="93" y="87"/>
                        <a:pt x="62" y="112"/>
                        <a:pt x="0"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a:ln>
                      <a:noFill/>
                    </a:ln>
                    <a:solidFill>
                      <a:prstClr val="black"/>
                    </a:solidFill>
                    <a:effectLst/>
                    <a:uLnTx/>
                    <a:uFillTx/>
                    <a:latin typeface="Arial"/>
                    <a:ea typeface="+mn-ea"/>
                    <a:cs typeface="+mn-cs"/>
                  </a:endParaRPr>
                </a:p>
              </p:txBody>
            </p:sp>
          </p:grpSp>
        </p:grpSp>
      </p:grpSp>
      <p:cxnSp>
        <p:nvCxnSpPr>
          <p:cNvPr id="84" name="Connecteur droit 83"/>
          <p:cNvCxnSpPr>
            <a:cxnSpLocks/>
          </p:cNvCxnSpPr>
          <p:nvPr/>
        </p:nvCxnSpPr>
        <p:spPr>
          <a:xfrm>
            <a:off x="3415003" y="1885951"/>
            <a:ext cx="0" cy="77424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4" name="Connecteur droit 93"/>
          <p:cNvCxnSpPr>
            <a:cxnSpLocks/>
          </p:cNvCxnSpPr>
          <p:nvPr/>
        </p:nvCxnSpPr>
        <p:spPr>
          <a:xfrm>
            <a:off x="6685253" y="1424941"/>
            <a:ext cx="0" cy="774247"/>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5" name="Connecteur droit 94"/>
          <p:cNvCxnSpPr>
            <a:cxnSpLocks/>
          </p:cNvCxnSpPr>
          <p:nvPr/>
        </p:nvCxnSpPr>
        <p:spPr>
          <a:xfrm>
            <a:off x="8437853" y="2270761"/>
            <a:ext cx="0" cy="459105"/>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6" name="Connecteur droit 95"/>
          <p:cNvCxnSpPr>
            <a:cxnSpLocks/>
          </p:cNvCxnSpPr>
          <p:nvPr/>
        </p:nvCxnSpPr>
        <p:spPr>
          <a:xfrm>
            <a:off x="2295815" y="1051688"/>
            <a:ext cx="0" cy="49530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99" name="Connecteur droit 98"/>
          <p:cNvCxnSpPr>
            <a:cxnSpLocks/>
          </p:cNvCxnSpPr>
          <p:nvPr/>
        </p:nvCxnSpPr>
        <p:spPr>
          <a:xfrm>
            <a:off x="10403973" y="1051688"/>
            <a:ext cx="0" cy="459105"/>
          </a:xfrm>
          <a:prstGeom prst="line">
            <a:avLst/>
          </a:prstGeom>
          <a:ln w="38100"/>
        </p:spPr>
        <p:style>
          <a:lnRef idx="1">
            <a:schemeClr val="accent1"/>
          </a:lnRef>
          <a:fillRef idx="0">
            <a:schemeClr val="accent1"/>
          </a:fillRef>
          <a:effectRef idx="0">
            <a:schemeClr val="accent1"/>
          </a:effectRef>
          <a:fontRef idx="minor">
            <a:schemeClr val="tx1"/>
          </a:fontRef>
        </p:style>
      </p:cxnSp>
      <p:sp useBgFill="1">
        <p:nvSpPr>
          <p:cNvPr id="17" name="Rectangle 16"/>
          <p:cNvSpPr/>
          <p:nvPr/>
        </p:nvSpPr>
        <p:spPr>
          <a:xfrm>
            <a:off x="570589" y="185086"/>
            <a:ext cx="9971313" cy="643271"/>
          </a:xfrm>
          <a:prstGeom prst="rect">
            <a:avLst/>
          </a:prstGeom>
          <a:ln w="12700" cap="rnd">
            <a:no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lvl="0">
              <a:defRPr/>
            </a:pPr>
            <a:r>
              <a:rPr lang="sl-SI" sz="2800" b="1" cap="all" dirty="0">
                <a:solidFill>
                  <a:schemeClr val="bg2"/>
                </a:solidFill>
                <a:latin typeface="+mj-lt"/>
                <a:ea typeface="+mj-ea"/>
                <a:cs typeface="+mj-cs"/>
              </a:rPr>
              <a:t>SKUPINA</a:t>
            </a:r>
            <a:r>
              <a:rPr lang="sl-SI" noProof="0" dirty="0"/>
              <a:t> </a:t>
            </a:r>
            <a:r>
              <a:rPr lang="sl-SI" sz="2800" b="1" cap="all" dirty="0">
                <a:solidFill>
                  <a:schemeClr val="bg2"/>
                </a:solidFill>
                <a:latin typeface="+mj-lt"/>
                <a:ea typeface="+mj-ea"/>
                <a:cs typeface="+mj-cs"/>
              </a:rPr>
              <a:t>COFACE</a:t>
            </a:r>
            <a:endParaRPr lang="fr-FR" sz="2800" b="1" cap="all" dirty="0">
              <a:solidFill>
                <a:schemeClr val="bg2"/>
              </a:solidFill>
              <a:latin typeface="+mj-lt"/>
              <a:ea typeface="+mj-ea"/>
              <a:cs typeface="+mj-cs"/>
            </a:endParaRPr>
          </a:p>
        </p:txBody>
      </p:sp>
      <p:sp>
        <p:nvSpPr>
          <p:cNvPr id="57" name="Rectangle 56"/>
          <p:cNvSpPr/>
          <p:nvPr/>
        </p:nvSpPr>
        <p:spPr>
          <a:xfrm>
            <a:off x="1523999" y="5522438"/>
            <a:ext cx="9144002" cy="523220"/>
          </a:xfrm>
          <a:prstGeom prst="rect">
            <a:avLst/>
          </a:prstGeom>
          <a:solidFill>
            <a:schemeClr val="tx2"/>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prstClr val="white"/>
                </a:solidFill>
                <a:effectLst/>
                <a:uLnTx/>
                <a:uFillTx/>
                <a:latin typeface="Arial"/>
                <a:ea typeface="+mn-ea"/>
                <a:cs typeface="+mn-cs"/>
              </a:rPr>
              <a:t>…</a:t>
            </a:r>
            <a:r>
              <a:rPr kumimoji="0" lang="sl-SI" sz="1400" b="0" i="0" u="none" strike="noStrike" kern="1200" cap="all" spc="0" normalizeH="0" baseline="0" noProof="0" dirty="0">
                <a:ln>
                  <a:noFill/>
                </a:ln>
                <a:solidFill>
                  <a:prstClr val="white"/>
                </a:solidFill>
                <a:effectLst/>
                <a:uLnTx/>
                <a:uFillTx/>
                <a:latin typeface="Arial"/>
                <a:ea typeface="+mn-ea"/>
                <a:cs typeface="+mn-cs"/>
              </a:rPr>
              <a:t>z </a:t>
            </a:r>
            <a:r>
              <a:rPr kumimoji="0" lang="sl-SI" sz="1400" b="1" i="0" u="none" strike="noStrike" kern="1200" cap="all" spc="0" normalizeH="0" baseline="0" noProof="0" dirty="0">
                <a:ln>
                  <a:noFill/>
                </a:ln>
                <a:solidFill>
                  <a:prstClr val="white"/>
                </a:solidFill>
                <a:effectLst/>
                <a:uLnTx/>
                <a:uFillTx/>
                <a:latin typeface="Arial"/>
                <a:ea typeface="+mn-ea"/>
                <a:cs typeface="+mn-cs"/>
              </a:rPr>
              <a:t>Ambicijo </a:t>
            </a:r>
            <a:r>
              <a:rPr kumimoji="0" lang="sl-SI" sz="1400" b="0" i="0" u="none" strike="noStrike" kern="1200" cap="all" spc="0" normalizeH="0" baseline="0" noProof="0" dirty="0">
                <a:ln>
                  <a:noFill/>
                </a:ln>
                <a:solidFill>
                  <a:prstClr val="white"/>
                </a:solidFill>
                <a:effectLst/>
                <a:uLnTx/>
                <a:uFillTx/>
                <a:latin typeface="Arial"/>
                <a:ea typeface="+mn-ea"/>
                <a:cs typeface="+mn-cs"/>
              </a:rPr>
              <a:t>da</a:t>
            </a:r>
            <a:r>
              <a:rPr kumimoji="0" lang="sl-SI" sz="1400" b="1" i="0" u="none" strike="noStrike" kern="1200" cap="all" spc="0" normalizeH="0" baseline="0" noProof="0" dirty="0">
                <a:ln>
                  <a:noFill/>
                </a:ln>
                <a:solidFill>
                  <a:prstClr val="white"/>
                </a:solidFill>
                <a:effectLst/>
                <a:uLnTx/>
                <a:uFillTx/>
                <a:latin typeface="Arial"/>
                <a:ea typeface="+mn-ea"/>
                <a:cs typeface="+mn-cs"/>
              </a:rPr>
              <a:t> </a:t>
            </a:r>
            <a:r>
              <a:rPr kumimoji="0" lang="sl-SI" sz="1400" b="0" i="0" u="none" strike="noStrike" kern="1200" cap="all" spc="0" normalizeH="0" baseline="0" noProof="0" dirty="0">
                <a:ln>
                  <a:noFill/>
                </a:ln>
                <a:solidFill>
                  <a:prstClr val="white"/>
                </a:solidFill>
                <a:effectLst/>
                <a:uLnTx/>
                <a:uFillTx/>
                <a:latin typeface="Arial"/>
                <a:ea typeface="+mn-ea"/>
                <a:cs typeface="+mn-cs"/>
              </a:rPr>
              <a:t>postanemo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l-SI" sz="1400" b="1" i="0" u="none" strike="noStrike" kern="1200" cap="all" spc="0" normalizeH="0" baseline="0" noProof="0" dirty="0" err="1">
                <a:ln>
                  <a:noFill/>
                </a:ln>
                <a:solidFill>
                  <a:prstClr val="white"/>
                </a:solidFill>
                <a:effectLst/>
                <a:uLnTx/>
                <a:uFillTx/>
                <a:latin typeface="Arial"/>
                <a:ea typeface="+mn-ea"/>
                <a:cs typeface="+mn-cs"/>
              </a:rPr>
              <a:t>najodzivnejši</a:t>
            </a:r>
            <a:r>
              <a:rPr kumimoji="0" lang="sl-SI" sz="1400" b="1" i="0" u="none" strike="noStrike" kern="1200" cap="all" spc="0" normalizeH="0" baseline="0" noProof="0" dirty="0">
                <a:ln>
                  <a:noFill/>
                </a:ln>
                <a:solidFill>
                  <a:prstClr val="white"/>
                </a:solidFill>
                <a:effectLst/>
                <a:uLnTx/>
                <a:uFillTx/>
                <a:latin typeface="Arial"/>
                <a:ea typeface="+mn-ea"/>
                <a:cs typeface="+mn-cs"/>
              </a:rPr>
              <a:t> partner za zavarovanje terjatev </a:t>
            </a:r>
            <a:r>
              <a:rPr kumimoji="0" lang="sl-SI" sz="1400" b="0" i="0" u="none" strike="noStrike" kern="1200" cap="all" spc="0" normalizeH="0" baseline="0" noProof="0" dirty="0">
                <a:ln>
                  <a:noFill/>
                </a:ln>
                <a:solidFill>
                  <a:prstClr val="white"/>
                </a:solidFill>
                <a:effectLst/>
                <a:uLnTx/>
                <a:uFillTx/>
                <a:latin typeface="Arial"/>
                <a:ea typeface="+mn-ea"/>
                <a:cs typeface="+mn-cs"/>
              </a:rPr>
              <a:t>v industriji</a:t>
            </a:r>
            <a:endParaRPr kumimoji="0" lang="en-US" sz="1400" b="0" i="0" u="none" strike="noStrike" kern="1200" cap="all" spc="0" normalizeH="0" baseline="0" noProof="0" dirty="0">
              <a:ln>
                <a:noFill/>
              </a:ln>
              <a:solidFill>
                <a:prstClr val="white"/>
              </a:solidFill>
              <a:effectLst/>
              <a:uLnTx/>
              <a:uFillTx/>
              <a:latin typeface="Arial"/>
              <a:ea typeface="+mn-ea"/>
              <a:cs typeface="+mn-cs"/>
            </a:endParaRPr>
          </a:p>
        </p:txBody>
      </p:sp>
      <p:sp>
        <p:nvSpPr>
          <p:cNvPr id="54" name="Rectangle 53"/>
          <p:cNvSpPr/>
          <p:nvPr/>
        </p:nvSpPr>
        <p:spPr>
          <a:xfrm>
            <a:off x="1524000" y="5522438"/>
            <a:ext cx="1927761" cy="521086"/>
          </a:xfrm>
          <a:prstGeom prst="rect">
            <a:avLst/>
          </a:prstGeom>
          <a:solidFill>
            <a:schemeClr val="bg1">
              <a:alpha val="16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58" name="Rectangle 57"/>
          <p:cNvSpPr/>
          <p:nvPr/>
        </p:nvSpPr>
        <p:spPr>
          <a:xfrm>
            <a:off x="1524000" y="5522438"/>
            <a:ext cx="1383101" cy="521086"/>
          </a:xfrm>
          <a:prstGeom prst="rect">
            <a:avLst/>
          </a:prstGeom>
          <a:solidFill>
            <a:schemeClr val="accent4">
              <a:alpha val="16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60" name="Rectangle 59"/>
          <p:cNvSpPr/>
          <p:nvPr/>
        </p:nvSpPr>
        <p:spPr>
          <a:xfrm rot="10800000">
            <a:off x="8820543" y="5522438"/>
            <a:ext cx="1857284" cy="521086"/>
          </a:xfrm>
          <a:prstGeom prst="rect">
            <a:avLst/>
          </a:prstGeom>
          <a:solidFill>
            <a:schemeClr val="bg1">
              <a:alpha val="16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61" name="Rectangle 60"/>
          <p:cNvSpPr/>
          <p:nvPr/>
        </p:nvSpPr>
        <p:spPr>
          <a:xfrm rot="10800000">
            <a:off x="9365203" y="5522438"/>
            <a:ext cx="1312625" cy="521086"/>
          </a:xfrm>
          <a:prstGeom prst="rect">
            <a:avLst/>
          </a:prstGeom>
          <a:solidFill>
            <a:schemeClr val="accent4">
              <a:alpha val="16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726909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83"/>
                                        </p:tgtEl>
                                        <p:attrNameLst>
                                          <p:attrName>style.visibility</p:attrName>
                                        </p:attrNameLst>
                                      </p:cBhvr>
                                      <p:to>
                                        <p:strVal val="visible"/>
                                      </p:to>
                                    </p:set>
                                    <p:anim calcmode="lin" valueType="num">
                                      <p:cBhvr additive="base">
                                        <p:cTn id="7" dur="2250" fill="hold"/>
                                        <p:tgtEl>
                                          <p:spTgt spid="83"/>
                                        </p:tgtEl>
                                        <p:attrNameLst>
                                          <p:attrName>ppt_x</p:attrName>
                                        </p:attrNameLst>
                                      </p:cBhvr>
                                      <p:tavLst>
                                        <p:tav tm="0">
                                          <p:val>
                                            <p:strVal val="1+#ppt_w/2"/>
                                          </p:val>
                                        </p:tav>
                                        <p:tav tm="100000">
                                          <p:val>
                                            <p:strVal val="#ppt_x"/>
                                          </p:val>
                                        </p:tav>
                                      </p:tavLst>
                                    </p:anim>
                                    <p:anim calcmode="lin" valueType="num">
                                      <p:cBhvr additive="base">
                                        <p:cTn id="8" dur="2250" fill="hold"/>
                                        <p:tgtEl>
                                          <p:spTgt spid="83"/>
                                        </p:tgtEl>
                                        <p:attrNameLst>
                                          <p:attrName>ppt_y</p:attrName>
                                        </p:attrNameLst>
                                      </p:cBhvr>
                                      <p:tavLst>
                                        <p:tav tm="0">
                                          <p:val>
                                            <p:strVal val="#ppt_y"/>
                                          </p:val>
                                        </p:tav>
                                        <p:tav tm="100000">
                                          <p:val>
                                            <p:strVal val="#ppt_y"/>
                                          </p:val>
                                        </p:tav>
                                      </p:tavLst>
                                    </p:anim>
                                  </p:childTnLst>
                                </p:cTn>
                              </p:par>
                              <p:par>
                                <p:cTn id="9" presetID="10" presetClass="entr" presetSubtype="0" fill="hold" grpId="1" nodeType="withEffect">
                                  <p:stCondLst>
                                    <p:cond delay="0"/>
                                  </p:stCondLst>
                                  <p:childTnLst>
                                    <p:set>
                                      <p:cBhvr>
                                        <p:cTn id="10" dur="1" fill="hold">
                                          <p:stCondLst>
                                            <p:cond delay="0"/>
                                          </p:stCondLst>
                                        </p:cTn>
                                        <p:tgtEl>
                                          <p:spTgt spid="83"/>
                                        </p:tgtEl>
                                        <p:attrNameLst>
                                          <p:attrName>style.visibility</p:attrName>
                                        </p:attrNameLst>
                                      </p:cBhvr>
                                      <p:to>
                                        <p:strVal val="visible"/>
                                      </p:to>
                                    </p:set>
                                    <p:animEffect transition="in" filter="fade">
                                      <p:cBhvr>
                                        <p:cTn id="11" dur="2250"/>
                                        <p:tgtEl>
                                          <p:spTgt spid="83"/>
                                        </p:tgtEl>
                                      </p:cBhvr>
                                    </p:animEffect>
                                  </p:childTnLst>
                                </p:cTn>
                              </p:par>
                              <p:par>
                                <p:cTn id="12" presetID="2" presetClass="entr" presetSubtype="2" decel="100000" fill="hold" grpId="0" nodeType="withEffect">
                                  <p:stCondLst>
                                    <p:cond delay="0"/>
                                  </p:stCondLst>
                                  <p:childTnLst>
                                    <p:set>
                                      <p:cBhvr>
                                        <p:cTn id="13" dur="1" fill="hold">
                                          <p:stCondLst>
                                            <p:cond delay="0"/>
                                          </p:stCondLst>
                                        </p:cTn>
                                        <p:tgtEl>
                                          <p:spTgt spid="85"/>
                                        </p:tgtEl>
                                        <p:attrNameLst>
                                          <p:attrName>style.visibility</p:attrName>
                                        </p:attrNameLst>
                                      </p:cBhvr>
                                      <p:to>
                                        <p:strVal val="visible"/>
                                      </p:to>
                                    </p:set>
                                    <p:anim calcmode="lin" valueType="num">
                                      <p:cBhvr additive="base">
                                        <p:cTn id="14" dur="2250" fill="hold"/>
                                        <p:tgtEl>
                                          <p:spTgt spid="85"/>
                                        </p:tgtEl>
                                        <p:attrNameLst>
                                          <p:attrName>ppt_x</p:attrName>
                                        </p:attrNameLst>
                                      </p:cBhvr>
                                      <p:tavLst>
                                        <p:tav tm="0">
                                          <p:val>
                                            <p:strVal val="1+#ppt_w/2"/>
                                          </p:val>
                                        </p:tav>
                                        <p:tav tm="100000">
                                          <p:val>
                                            <p:strVal val="#ppt_x"/>
                                          </p:val>
                                        </p:tav>
                                      </p:tavLst>
                                    </p:anim>
                                    <p:anim calcmode="lin" valueType="num">
                                      <p:cBhvr additive="base">
                                        <p:cTn id="15" dur="2250" fill="hold"/>
                                        <p:tgtEl>
                                          <p:spTgt spid="85"/>
                                        </p:tgtEl>
                                        <p:attrNameLst>
                                          <p:attrName>ppt_y</p:attrName>
                                        </p:attrNameLst>
                                      </p:cBhvr>
                                      <p:tavLst>
                                        <p:tav tm="0">
                                          <p:val>
                                            <p:strVal val="#ppt_y"/>
                                          </p:val>
                                        </p:tav>
                                        <p:tav tm="100000">
                                          <p:val>
                                            <p:strVal val="#ppt_y"/>
                                          </p:val>
                                        </p:tav>
                                      </p:tavLst>
                                    </p:anim>
                                  </p:childTnLst>
                                </p:cTn>
                              </p:par>
                              <p:par>
                                <p:cTn id="16" presetID="10" presetClass="entr" presetSubtype="0" fill="hold" grpId="1" nodeType="withEffect">
                                  <p:stCondLst>
                                    <p:cond delay="0"/>
                                  </p:stCondLst>
                                  <p:childTnLst>
                                    <p:set>
                                      <p:cBhvr>
                                        <p:cTn id="17" dur="1" fill="hold">
                                          <p:stCondLst>
                                            <p:cond delay="0"/>
                                          </p:stCondLst>
                                        </p:cTn>
                                        <p:tgtEl>
                                          <p:spTgt spid="85"/>
                                        </p:tgtEl>
                                        <p:attrNameLst>
                                          <p:attrName>style.visibility</p:attrName>
                                        </p:attrNameLst>
                                      </p:cBhvr>
                                      <p:to>
                                        <p:strVal val="visible"/>
                                      </p:to>
                                    </p:set>
                                    <p:animEffect transition="in" filter="fade">
                                      <p:cBhvr>
                                        <p:cTn id="18" dur="2250"/>
                                        <p:tgtEl>
                                          <p:spTgt spid="85"/>
                                        </p:tgtEl>
                                      </p:cBhvr>
                                    </p:animEffect>
                                  </p:childTnLst>
                                </p:cTn>
                              </p:par>
                              <p:par>
                                <p:cTn id="19" presetID="2" presetClass="entr" presetSubtype="2" decel="100000" fill="hold" grpId="0" nodeType="withEffect">
                                  <p:stCondLst>
                                    <p:cond delay="0"/>
                                  </p:stCondLst>
                                  <p:childTnLst>
                                    <p:set>
                                      <p:cBhvr>
                                        <p:cTn id="20" dur="1" fill="hold">
                                          <p:stCondLst>
                                            <p:cond delay="0"/>
                                          </p:stCondLst>
                                        </p:cTn>
                                        <p:tgtEl>
                                          <p:spTgt spid="86"/>
                                        </p:tgtEl>
                                        <p:attrNameLst>
                                          <p:attrName>style.visibility</p:attrName>
                                        </p:attrNameLst>
                                      </p:cBhvr>
                                      <p:to>
                                        <p:strVal val="visible"/>
                                      </p:to>
                                    </p:set>
                                    <p:anim calcmode="lin" valueType="num">
                                      <p:cBhvr additive="base">
                                        <p:cTn id="21" dur="2250" fill="hold"/>
                                        <p:tgtEl>
                                          <p:spTgt spid="86"/>
                                        </p:tgtEl>
                                        <p:attrNameLst>
                                          <p:attrName>ppt_x</p:attrName>
                                        </p:attrNameLst>
                                      </p:cBhvr>
                                      <p:tavLst>
                                        <p:tav tm="0">
                                          <p:val>
                                            <p:strVal val="1+#ppt_w/2"/>
                                          </p:val>
                                        </p:tav>
                                        <p:tav tm="100000">
                                          <p:val>
                                            <p:strVal val="#ppt_x"/>
                                          </p:val>
                                        </p:tav>
                                      </p:tavLst>
                                    </p:anim>
                                    <p:anim calcmode="lin" valueType="num">
                                      <p:cBhvr additive="base">
                                        <p:cTn id="22" dur="2250" fill="hold"/>
                                        <p:tgtEl>
                                          <p:spTgt spid="86"/>
                                        </p:tgtEl>
                                        <p:attrNameLst>
                                          <p:attrName>ppt_y</p:attrName>
                                        </p:attrNameLst>
                                      </p:cBhvr>
                                      <p:tavLst>
                                        <p:tav tm="0">
                                          <p:val>
                                            <p:strVal val="#ppt_y"/>
                                          </p:val>
                                        </p:tav>
                                        <p:tav tm="100000">
                                          <p:val>
                                            <p:strVal val="#ppt_y"/>
                                          </p:val>
                                        </p:tav>
                                      </p:tavLst>
                                    </p:anim>
                                  </p:childTnLst>
                                </p:cTn>
                              </p:par>
                              <p:par>
                                <p:cTn id="23" presetID="10" presetClass="entr" presetSubtype="0" fill="hold" grpId="1" nodeType="withEffect">
                                  <p:stCondLst>
                                    <p:cond delay="0"/>
                                  </p:stCondLst>
                                  <p:childTnLst>
                                    <p:set>
                                      <p:cBhvr>
                                        <p:cTn id="24" dur="1" fill="hold">
                                          <p:stCondLst>
                                            <p:cond delay="0"/>
                                          </p:stCondLst>
                                        </p:cTn>
                                        <p:tgtEl>
                                          <p:spTgt spid="86"/>
                                        </p:tgtEl>
                                        <p:attrNameLst>
                                          <p:attrName>style.visibility</p:attrName>
                                        </p:attrNameLst>
                                      </p:cBhvr>
                                      <p:to>
                                        <p:strVal val="visible"/>
                                      </p:to>
                                    </p:set>
                                    <p:animEffect transition="in" filter="fade">
                                      <p:cBhvr>
                                        <p:cTn id="25" dur="2250"/>
                                        <p:tgtEl>
                                          <p:spTgt spid="86"/>
                                        </p:tgtEl>
                                      </p:cBhvr>
                                    </p:animEffect>
                                  </p:childTnLst>
                                </p:cTn>
                              </p:par>
                              <p:par>
                                <p:cTn id="26" presetID="2" presetClass="entr" presetSubtype="8" decel="100000" fill="hold" grpId="0" nodeType="withEffect">
                                  <p:stCondLst>
                                    <p:cond delay="0"/>
                                  </p:stCondLst>
                                  <p:childTnLst>
                                    <p:set>
                                      <p:cBhvr>
                                        <p:cTn id="27" dur="1" fill="hold">
                                          <p:stCondLst>
                                            <p:cond delay="0"/>
                                          </p:stCondLst>
                                        </p:cTn>
                                        <p:tgtEl>
                                          <p:spTgt spid="88"/>
                                        </p:tgtEl>
                                        <p:attrNameLst>
                                          <p:attrName>style.visibility</p:attrName>
                                        </p:attrNameLst>
                                      </p:cBhvr>
                                      <p:to>
                                        <p:strVal val="visible"/>
                                      </p:to>
                                    </p:set>
                                    <p:anim calcmode="lin" valueType="num">
                                      <p:cBhvr additive="base">
                                        <p:cTn id="28" dur="2250" fill="hold"/>
                                        <p:tgtEl>
                                          <p:spTgt spid="88"/>
                                        </p:tgtEl>
                                        <p:attrNameLst>
                                          <p:attrName>ppt_x</p:attrName>
                                        </p:attrNameLst>
                                      </p:cBhvr>
                                      <p:tavLst>
                                        <p:tav tm="0">
                                          <p:val>
                                            <p:strVal val="0-#ppt_w/2"/>
                                          </p:val>
                                        </p:tav>
                                        <p:tav tm="100000">
                                          <p:val>
                                            <p:strVal val="#ppt_x"/>
                                          </p:val>
                                        </p:tav>
                                      </p:tavLst>
                                    </p:anim>
                                    <p:anim calcmode="lin" valueType="num">
                                      <p:cBhvr additive="base">
                                        <p:cTn id="29" dur="2250" fill="hold"/>
                                        <p:tgtEl>
                                          <p:spTgt spid="88"/>
                                        </p:tgtEl>
                                        <p:attrNameLst>
                                          <p:attrName>ppt_y</p:attrName>
                                        </p:attrNameLst>
                                      </p:cBhvr>
                                      <p:tavLst>
                                        <p:tav tm="0">
                                          <p:val>
                                            <p:strVal val="#ppt_y"/>
                                          </p:val>
                                        </p:tav>
                                        <p:tav tm="100000">
                                          <p:val>
                                            <p:strVal val="#ppt_y"/>
                                          </p:val>
                                        </p:tav>
                                      </p:tavLst>
                                    </p:anim>
                                  </p:childTnLst>
                                </p:cTn>
                              </p:par>
                              <p:par>
                                <p:cTn id="30" presetID="10" presetClass="entr" presetSubtype="0" fill="hold" grpId="1" nodeType="withEffect">
                                  <p:stCondLst>
                                    <p:cond delay="0"/>
                                  </p:stCondLst>
                                  <p:childTnLst>
                                    <p:set>
                                      <p:cBhvr>
                                        <p:cTn id="31" dur="1" fill="hold">
                                          <p:stCondLst>
                                            <p:cond delay="0"/>
                                          </p:stCondLst>
                                        </p:cTn>
                                        <p:tgtEl>
                                          <p:spTgt spid="88"/>
                                        </p:tgtEl>
                                        <p:attrNameLst>
                                          <p:attrName>style.visibility</p:attrName>
                                        </p:attrNameLst>
                                      </p:cBhvr>
                                      <p:to>
                                        <p:strVal val="visible"/>
                                      </p:to>
                                    </p:set>
                                    <p:animEffect transition="in" filter="fade">
                                      <p:cBhvr>
                                        <p:cTn id="32" dur="2250"/>
                                        <p:tgtEl>
                                          <p:spTgt spid="88"/>
                                        </p:tgtEl>
                                      </p:cBhvr>
                                    </p:animEffect>
                                  </p:childTnLst>
                                </p:cTn>
                              </p:par>
                              <p:par>
                                <p:cTn id="33" presetID="2" presetClass="entr" presetSubtype="8" decel="100000" fill="hold" grpId="0" nodeType="withEffect">
                                  <p:stCondLst>
                                    <p:cond delay="0"/>
                                  </p:stCondLst>
                                  <p:childTnLst>
                                    <p:set>
                                      <p:cBhvr>
                                        <p:cTn id="34" dur="1" fill="hold">
                                          <p:stCondLst>
                                            <p:cond delay="0"/>
                                          </p:stCondLst>
                                        </p:cTn>
                                        <p:tgtEl>
                                          <p:spTgt spid="89"/>
                                        </p:tgtEl>
                                        <p:attrNameLst>
                                          <p:attrName>style.visibility</p:attrName>
                                        </p:attrNameLst>
                                      </p:cBhvr>
                                      <p:to>
                                        <p:strVal val="visible"/>
                                      </p:to>
                                    </p:set>
                                    <p:anim calcmode="lin" valueType="num">
                                      <p:cBhvr additive="base">
                                        <p:cTn id="35" dur="2250" fill="hold"/>
                                        <p:tgtEl>
                                          <p:spTgt spid="89"/>
                                        </p:tgtEl>
                                        <p:attrNameLst>
                                          <p:attrName>ppt_x</p:attrName>
                                        </p:attrNameLst>
                                      </p:cBhvr>
                                      <p:tavLst>
                                        <p:tav tm="0">
                                          <p:val>
                                            <p:strVal val="0-#ppt_w/2"/>
                                          </p:val>
                                        </p:tav>
                                        <p:tav tm="100000">
                                          <p:val>
                                            <p:strVal val="#ppt_x"/>
                                          </p:val>
                                        </p:tav>
                                      </p:tavLst>
                                    </p:anim>
                                    <p:anim calcmode="lin" valueType="num">
                                      <p:cBhvr additive="base">
                                        <p:cTn id="36" dur="2250" fill="hold"/>
                                        <p:tgtEl>
                                          <p:spTgt spid="89"/>
                                        </p:tgtEl>
                                        <p:attrNameLst>
                                          <p:attrName>ppt_y</p:attrName>
                                        </p:attrNameLst>
                                      </p:cBhvr>
                                      <p:tavLst>
                                        <p:tav tm="0">
                                          <p:val>
                                            <p:strVal val="#ppt_y"/>
                                          </p:val>
                                        </p:tav>
                                        <p:tav tm="100000">
                                          <p:val>
                                            <p:strVal val="#ppt_y"/>
                                          </p:val>
                                        </p:tav>
                                      </p:tavLst>
                                    </p:anim>
                                  </p:childTnLst>
                                </p:cTn>
                              </p:par>
                              <p:par>
                                <p:cTn id="37" presetID="10" presetClass="entr" presetSubtype="0" fill="hold" grpId="1" nodeType="withEffect">
                                  <p:stCondLst>
                                    <p:cond delay="0"/>
                                  </p:stCondLst>
                                  <p:childTnLst>
                                    <p:set>
                                      <p:cBhvr>
                                        <p:cTn id="38" dur="1" fill="hold">
                                          <p:stCondLst>
                                            <p:cond delay="0"/>
                                          </p:stCondLst>
                                        </p:cTn>
                                        <p:tgtEl>
                                          <p:spTgt spid="89"/>
                                        </p:tgtEl>
                                        <p:attrNameLst>
                                          <p:attrName>style.visibility</p:attrName>
                                        </p:attrNameLst>
                                      </p:cBhvr>
                                      <p:to>
                                        <p:strVal val="visible"/>
                                      </p:to>
                                    </p:set>
                                    <p:animEffect transition="in" filter="fade">
                                      <p:cBhvr>
                                        <p:cTn id="39" dur="2250"/>
                                        <p:tgtEl>
                                          <p:spTgt spid="89"/>
                                        </p:tgtEl>
                                      </p:cBhvr>
                                    </p:animEffect>
                                  </p:childTnLst>
                                </p:cTn>
                              </p:par>
                              <p:par>
                                <p:cTn id="40" presetID="2" presetClass="entr" presetSubtype="8" decel="100000" fill="hold" grpId="0" nodeType="withEffect">
                                  <p:stCondLst>
                                    <p:cond delay="0"/>
                                  </p:stCondLst>
                                  <p:childTnLst>
                                    <p:set>
                                      <p:cBhvr>
                                        <p:cTn id="41" dur="1" fill="hold">
                                          <p:stCondLst>
                                            <p:cond delay="0"/>
                                          </p:stCondLst>
                                        </p:cTn>
                                        <p:tgtEl>
                                          <p:spTgt spid="90"/>
                                        </p:tgtEl>
                                        <p:attrNameLst>
                                          <p:attrName>style.visibility</p:attrName>
                                        </p:attrNameLst>
                                      </p:cBhvr>
                                      <p:to>
                                        <p:strVal val="visible"/>
                                      </p:to>
                                    </p:set>
                                    <p:anim calcmode="lin" valueType="num">
                                      <p:cBhvr additive="base">
                                        <p:cTn id="42" dur="2250" fill="hold"/>
                                        <p:tgtEl>
                                          <p:spTgt spid="90"/>
                                        </p:tgtEl>
                                        <p:attrNameLst>
                                          <p:attrName>ppt_x</p:attrName>
                                        </p:attrNameLst>
                                      </p:cBhvr>
                                      <p:tavLst>
                                        <p:tav tm="0">
                                          <p:val>
                                            <p:strVal val="0-#ppt_w/2"/>
                                          </p:val>
                                        </p:tav>
                                        <p:tav tm="100000">
                                          <p:val>
                                            <p:strVal val="#ppt_x"/>
                                          </p:val>
                                        </p:tav>
                                      </p:tavLst>
                                    </p:anim>
                                    <p:anim calcmode="lin" valueType="num">
                                      <p:cBhvr additive="base">
                                        <p:cTn id="43" dur="2250" fill="hold"/>
                                        <p:tgtEl>
                                          <p:spTgt spid="90"/>
                                        </p:tgtEl>
                                        <p:attrNameLst>
                                          <p:attrName>ppt_y</p:attrName>
                                        </p:attrNameLst>
                                      </p:cBhvr>
                                      <p:tavLst>
                                        <p:tav tm="0">
                                          <p:val>
                                            <p:strVal val="#ppt_y"/>
                                          </p:val>
                                        </p:tav>
                                        <p:tav tm="100000">
                                          <p:val>
                                            <p:strVal val="#ppt_y"/>
                                          </p:val>
                                        </p:tav>
                                      </p:tavLst>
                                    </p:anim>
                                  </p:childTnLst>
                                </p:cTn>
                              </p:par>
                              <p:par>
                                <p:cTn id="44" presetID="10" presetClass="entr" presetSubtype="0" fill="hold" grpId="1" nodeType="withEffect">
                                  <p:stCondLst>
                                    <p:cond delay="0"/>
                                  </p:stCondLst>
                                  <p:childTnLst>
                                    <p:set>
                                      <p:cBhvr>
                                        <p:cTn id="45" dur="1" fill="hold">
                                          <p:stCondLst>
                                            <p:cond delay="0"/>
                                          </p:stCondLst>
                                        </p:cTn>
                                        <p:tgtEl>
                                          <p:spTgt spid="90"/>
                                        </p:tgtEl>
                                        <p:attrNameLst>
                                          <p:attrName>style.visibility</p:attrName>
                                        </p:attrNameLst>
                                      </p:cBhvr>
                                      <p:to>
                                        <p:strVal val="visible"/>
                                      </p:to>
                                    </p:set>
                                    <p:animEffect transition="in" filter="fade">
                                      <p:cBhvr>
                                        <p:cTn id="46" dur="2250"/>
                                        <p:tgtEl>
                                          <p:spTgt spid="90"/>
                                        </p:tgtEl>
                                      </p:cBhvr>
                                    </p:animEffect>
                                  </p:childTnLst>
                                </p:cTn>
                              </p:par>
                              <p:par>
                                <p:cTn id="47" presetID="2" presetClass="entr" presetSubtype="8" decel="100000" fill="hold" grpId="0" nodeType="withEffect">
                                  <p:stCondLst>
                                    <p:cond delay="0"/>
                                  </p:stCondLst>
                                  <p:childTnLst>
                                    <p:set>
                                      <p:cBhvr>
                                        <p:cTn id="48" dur="1" fill="hold">
                                          <p:stCondLst>
                                            <p:cond delay="0"/>
                                          </p:stCondLst>
                                        </p:cTn>
                                        <p:tgtEl>
                                          <p:spTgt spid="91"/>
                                        </p:tgtEl>
                                        <p:attrNameLst>
                                          <p:attrName>style.visibility</p:attrName>
                                        </p:attrNameLst>
                                      </p:cBhvr>
                                      <p:to>
                                        <p:strVal val="visible"/>
                                      </p:to>
                                    </p:set>
                                    <p:anim calcmode="lin" valueType="num">
                                      <p:cBhvr additive="base">
                                        <p:cTn id="49" dur="2250" fill="hold"/>
                                        <p:tgtEl>
                                          <p:spTgt spid="91"/>
                                        </p:tgtEl>
                                        <p:attrNameLst>
                                          <p:attrName>ppt_x</p:attrName>
                                        </p:attrNameLst>
                                      </p:cBhvr>
                                      <p:tavLst>
                                        <p:tav tm="0">
                                          <p:val>
                                            <p:strVal val="0-#ppt_w/2"/>
                                          </p:val>
                                        </p:tav>
                                        <p:tav tm="100000">
                                          <p:val>
                                            <p:strVal val="#ppt_x"/>
                                          </p:val>
                                        </p:tav>
                                      </p:tavLst>
                                    </p:anim>
                                    <p:anim calcmode="lin" valueType="num">
                                      <p:cBhvr additive="base">
                                        <p:cTn id="50" dur="2250" fill="hold"/>
                                        <p:tgtEl>
                                          <p:spTgt spid="91"/>
                                        </p:tgtEl>
                                        <p:attrNameLst>
                                          <p:attrName>ppt_y</p:attrName>
                                        </p:attrNameLst>
                                      </p:cBhvr>
                                      <p:tavLst>
                                        <p:tav tm="0">
                                          <p:val>
                                            <p:strVal val="#ppt_y"/>
                                          </p:val>
                                        </p:tav>
                                        <p:tav tm="100000">
                                          <p:val>
                                            <p:strVal val="#ppt_y"/>
                                          </p:val>
                                        </p:tav>
                                      </p:tavLst>
                                    </p:anim>
                                  </p:childTnLst>
                                </p:cTn>
                              </p:par>
                              <p:par>
                                <p:cTn id="51" presetID="10" presetClass="entr" presetSubtype="0" fill="hold" grpId="1" nodeType="withEffect">
                                  <p:stCondLst>
                                    <p:cond delay="0"/>
                                  </p:stCondLst>
                                  <p:childTnLst>
                                    <p:set>
                                      <p:cBhvr>
                                        <p:cTn id="52" dur="1" fill="hold">
                                          <p:stCondLst>
                                            <p:cond delay="0"/>
                                          </p:stCondLst>
                                        </p:cTn>
                                        <p:tgtEl>
                                          <p:spTgt spid="91"/>
                                        </p:tgtEl>
                                        <p:attrNameLst>
                                          <p:attrName>style.visibility</p:attrName>
                                        </p:attrNameLst>
                                      </p:cBhvr>
                                      <p:to>
                                        <p:strVal val="visible"/>
                                      </p:to>
                                    </p:set>
                                    <p:animEffect transition="in" filter="fade">
                                      <p:cBhvr>
                                        <p:cTn id="53" dur="2250"/>
                                        <p:tgtEl>
                                          <p:spTgt spid="91"/>
                                        </p:tgtEl>
                                      </p:cBhvr>
                                    </p:animEffect>
                                  </p:childTnLst>
                                </p:cTn>
                              </p:par>
                              <p:par>
                                <p:cTn id="54" presetID="2" presetClass="entr" presetSubtype="1" fill="hold" nodeType="withEffect">
                                  <p:stCondLst>
                                    <p:cond delay="0"/>
                                  </p:stCondLst>
                                  <p:childTnLst>
                                    <p:set>
                                      <p:cBhvr>
                                        <p:cTn id="55" dur="1" fill="hold">
                                          <p:stCondLst>
                                            <p:cond delay="0"/>
                                          </p:stCondLst>
                                        </p:cTn>
                                        <p:tgtEl>
                                          <p:spTgt spid="84"/>
                                        </p:tgtEl>
                                        <p:attrNameLst>
                                          <p:attrName>style.visibility</p:attrName>
                                        </p:attrNameLst>
                                      </p:cBhvr>
                                      <p:to>
                                        <p:strVal val="visible"/>
                                      </p:to>
                                    </p:set>
                                    <p:anim calcmode="lin" valueType="num">
                                      <p:cBhvr additive="base">
                                        <p:cTn id="56" dur="1250" fill="hold"/>
                                        <p:tgtEl>
                                          <p:spTgt spid="84"/>
                                        </p:tgtEl>
                                        <p:attrNameLst>
                                          <p:attrName>ppt_x</p:attrName>
                                        </p:attrNameLst>
                                      </p:cBhvr>
                                      <p:tavLst>
                                        <p:tav tm="0">
                                          <p:val>
                                            <p:strVal val="#ppt_x"/>
                                          </p:val>
                                        </p:tav>
                                        <p:tav tm="100000">
                                          <p:val>
                                            <p:strVal val="#ppt_x"/>
                                          </p:val>
                                        </p:tav>
                                      </p:tavLst>
                                    </p:anim>
                                    <p:anim calcmode="lin" valueType="num">
                                      <p:cBhvr additive="base">
                                        <p:cTn id="57" dur="1250" fill="hold"/>
                                        <p:tgtEl>
                                          <p:spTgt spid="84"/>
                                        </p:tgtEl>
                                        <p:attrNameLst>
                                          <p:attrName>ppt_y</p:attrName>
                                        </p:attrNameLst>
                                      </p:cBhvr>
                                      <p:tavLst>
                                        <p:tav tm="0">
                                          <p:val>
                                            <p:strVal val="0-#ppt_h/2"/>
                                          </p:val>
                                        </p:tav>
                                        <p:tav tm="100000">
                                          <p:val>
                                            <p:strVal val="#ppt_y"/>
                                          </p:val>
                                        </p:tav>
                                      </p:tavLst>
                                    </p:anim>
                                  </p:childTnLst>
                                </p:cTn>
                              </p:par>
                              <p:par>
                                <p:cTn id="58" presetID="10" presetClass="entr" presetSubtype="0" fill="hold" nodeType="withEffect">
                                  <p:stCondLst>
                                    <p:cond delay="0"/>
                                  </p:stCondLst>
                                  <p:childTnLst>
                                    <p:set>
                                      <p:cBhvr>
                                        <p:cTn id="59" dur="1" fill="hold">
                                          <p:stCondLst>
                                            <p:cond delay="0"/>
                                          </p:stCondLst>
                                        </p:cTn>
                                        <p:tgtEl>
                                          <p:spTgt spid="84"/>
                                        </p:tgtEl>
                                        <p:attrNameLst>
                                          <p:attrName>style.visibility</p:attrName>
                                        </p:attrNameLst>
                                      </p:cBhvr>
                                      <p:to>
                                        <p:strVal val="visible"/>
                                      </p:to>
                                    </p:set>
                                    <p:animEffect transition="in" filter="fade">
                                      <p:cBhvr>
                                        <p:cTn id="60" dur="1250"/>
                                        <p:tgtEl>
                                          <p:spTgt spid="84"/>
                                        </p:tgtEl>
                                      </p:cBhvr>
                                    </p:animEffect>
                                  </p:childTnLst>
                                </p:cTn>
                              </p:par>
                              <p:par>
                                <p:cTn id="61" presetID="2" presetClass="entr" presetSubtype="1" fill="hold" nodeType="withEffect">
                                  <p:stCondLst>
                                    <p:cond delay="0"/>
                                  </p:stCondLst>
                                  <p:childTnLst>
                                    <p:set>
                                      <p:cBhvr>
                                        <p:cTn id="62" dur="1" fill="hold">
                                          <p:stCondLst>
                                            <p:cond delay="0"/>
                                          </p:stCondLst>
                                        </p:cTn>
                                        <p:tgtEl>
                                          <p:spTgt spid="94"/>
                                        </p:tgtEl>
                                        <p:attrNameLst>
                                          <p:attrName>style.visibility</p:attrName>
                                        </p:attrNameLst>
                                      </p:cBhvr>
                                      <p:to>
                                        <p:strVal val="visible"/>
                                      </p:to>
                                    </p:set>
                                    <p:anim calcmode="lin" valueType="num">
                                      <p:cBhvr additive="base">
                                        <p:cTn id="63" dur="1250" fill="hold"/>
                                        <p:tgtEl>
                                          <p:spTgt spid="94"/>
                                        </p:tgtEl>
                                        <p:attrNameLst>
                                          <p:attrName>ppt_x</p:attrName>
                                        </p:attrNameLst>
                                      </p:cBhvr>
                                      <p:tavLst>
                                        <p:tav tm="0">
                                          <p:val>
                                            <p:strVal val="#ppt_x"/>
                                          </p:val>
                                        </p:tav>
                                        <p:tav tm="100000">
                                          <p:val>
                                            <p:strVal val="#ppt_x"/>
                                          </p:val>
                                        </p:tav>
                                      </p:tavLst>
                                    </p:anim>
                                    <p:anim calcmode="lin" valueType="num">
                                      <p:cBhvr additive="base">
                                        <p:cTn id="64" dur="1250" fill="hold"/>
                                        <p:tgtEl>
                                          <p:spTgt spid="94"/>
                                        </p:tgtEl>
                                        <p:attrNameLst>
                                          <p:attrName>ppt_y</p:attrName>
                                        </p:attrNameLst>
                                      </p:cBhvr>
                                      <p:tavLst>
                                        <p:tav tm="0">
                                          <p:val>
                                            <p:strVal val="0-#ppt_h/2"/>
                                          </p:val>
                                        </p:tav>
                                        <p:tav tm="100000">
                                          <p:val>
                                            <p:strVal val="#ppt_y"/>
                                          </p:val>
                                        </p:tav>
                                      </p:tavLst>
                                    </p:anim>
                                  </p:childTnLst>
                                </p:cTn>
                              </p:par>
                              <p:par>
                                <p:cTn id="65" presetID="10" presetClass="entr" presetSubtype="0" fill="hold" nodeType="withEffect">
                                  <p:stCondLst>
                                    <p:cond delay="0"/>
                                  </p:stCondLst>
                                  <p:childTnLst>
                                    <p:set>
                                      <p:cBhvr>
                                        <p:cTn id="66" dur="1" fill="hold">
                                          <p:stCondLst>
                                            <p:cond delay="0"/>
                                          </p:stCondLst>
                                        </p:cTn>
                                        <p:tgtEl>
                                          <p:spTgt spid="94"/>
                                        </p:tgtEl>
                                        <p:attrNameLst>
                                          <p:attrName>style.visibility</p:attrName>
                                        </p:attrNameLst>
                                      </p:cBhvr>
                                      <p:to>
                                        <p:strVal val="visible"/>
                                      </p:to>
                                    </p:set>
                                    <p:animEffect transition="in" filter="fade">
                                      <p:cBhvr>
                                        <p:cTn id="67" dur="1250"/>
                                        <p:tgtEl>
                                          <p:spTgt spid="94"/>
                                        </p:tgtEl>
                                      </p:cBhvr>
                                    </p:animEffect>
                                  </p:childTnLst>
                                </p:cTn>
                              </p:par>
                              <p:par>
                                <p:cTn id="68" presetID="2" presetClass="entr" presetSubtype="1" fill="hold" nodeType="withEffect">
                                  <p:stCondLst>
                                    <p:cond delay="0"/>
                                  </p:stCondLst>
                                  <p:childTnLst>
                                    <p:set>
                                      <p:cBhvr>
                                        <p:cTn id="69" dur="1" fill="hold">
                                          <p:stCondLst>
                                            <p:cond delay="0"/>
                                          </p:stCondLst>
                                        </p:cTn>
                                        <p:tgtEl>
                                          <p:spTgt spid="95"/>
                                        </p:tgtEl>
                                        <p:attrNameLst>
                                          <p:attrName>style.visibility</p:attrName>
                                        </p:attrNameLst>
                                      </p:cBhvr>
                                      <p:to>
                                        <p:strVal val="visible"/>
                                      </p:to>
                                    </p:set>
                                    <p:anim calcmode="lin" valueType="num">
                                      <p:cBhvr additive="base">
                                        <p:cTn id="70" dur="1250" fill="hold"/>
                                        <p:tgtEl>
                                          <p:spTgt spid="95"/>
                                        </p:tgtEl>
                                        <p:attrNameLst>
                                          <p:attrName>ppt_x</p:attrName>
                                        </p:attrNameLst>
                                      </p:cBhvr>
                                      <p:tavLst>
                                        <p:tav tm="0">
                                          <p:val>
                                            <p:strVal val="#ppt_x"/>
                                          </p:val>
                                        </p:tav>
                                        <p:tav tm="100000">
                                          <p:val>
                                            <p:strVal val="#ppt_x"/>
                                          </p:val>
                                        </p:tav>
                                      </p:tavLst>
                                    </p:anim>
                                    <p:anim calcmode="lin" valueType="num">
                                      <p:cBhvr additive="base">
                                        <p:cTn id="71" dur="1250" fill="hold"/>
                                        <p:tgtEl>
                                          <p:spTgt spid="95"/>
                                        </p:tgtEl>
                                        <p:attrNameLst>
                                          <p:attrName>ppt_y</p:attrName>
                                        </p:attrNameLst>
                                      </p:cBhvr>
                                      <p:tavLst>
                                        <p:tav tm="0">
                                          <p:val>
                                            <p:strVal val="0-#ppt_h/2"/>
                                          </p:val>
                                        </p:tav>
                                        <p:tav tm="100000">
                                          <p:val>
                                            <p:strVal val="#ppt_y"/>
                                          </p:val>
                                        </p:tav>
                                      </p:tavLst>
                                    </p:anim>
                                  </p:childTnLst>
                                </p:cTn>
                              </p:par>
                              <p:par>
                                <p:cTn id="72" presetID="10" presetClass="entr" presetSubtype="0" fill="hold" nodeType="withEffect">
                                  <p:stCondLst>
                                    <p:cond delay="0"/>
                                  </p:stCondLst>
                                  <p:childTnLst>
                                    <p:set>
                                      <p:cBhvr>
                                        <p:cTn id="73" dur="1" fill="hold">
                                          <p:stCondLst>
                                            <p:cond delay="0"/>
                                          </p:stCondLst>
                                        </p:cTn>
                                        <p:tgtEl>
                                          <p:spTgt spid="95"/>
                                        </p:tgtEl>
                                        <p:attrNameLst>
                                          <p:attrName>style.visibility</p:attrName>
                                        </p:attrNameLst>
                                      </p:cBhvr>
                                      <p:to>
                                        <p:strVal val="visible"/>
                                      </p:to>
                                    </p:set>
                                    <p:animEffect transition="in" filter="fade">
                                      <p:cBhvr>
                                        <p:cTn id="74" dur="1250"/>
                                        <p:tgtEl>
                                          <p:spTgt spid="95"/>
                                        </p:tgtEl>
                                      </p:cBhvr>
                                    </p:animEffect>
                                  </p:childTnLst>
                                </p:cTn>
                              </p:par>
                              <p:par>
                                <p:cTn id="75" presetID="2" presetClass="entr" presetSubtype="1" fill="hold" nodeType="withEffect">
                                  <p:stCondLst>
                                    <p:cond delay="0"/>
                                  </p:stCondLst>
                                  <p:childTnLst>
                                    <p:set>
                                      <p:cBhvr>
                                        <p:cTn id="76" dur="1" fill="hold">
                                          <p:stCondLst>
                                            <p:cond delay="0"/>
                                          </p:stCondLst>
                                        </p:cTn>
                                        <p:tgtEl>
                                          <p:spTgt spid="96"/>
                                        </p:tgtEl>
                                        <p:attrNameLst>
                                          <p:attrName>style.visibility</p:attrName>
                                        </p:attrNameLst>
                                      </p:cBhvr>
                                      <p:to>
                                        <p:strVal val="visible"/>
                                      </p:to>
                                    </p:set>
                                    <p:anim calcmode="lin" valueType="num">
                                      <p:cBhvr additive="base">
                                        <p:cTn id="77" dur="1250" fill="hold"/>
                                        <p:tgtEl>
                                          <p:spTgt spid="96"/>
                                        </p:tgtEl>
                                        <p:attrNameLst>
                                          <p:attrName>ppt_x</p:attrName>
                                        </p:attrNameLst>
                                      </p:cBhvr>
                                      <p:tavLst>
                                        <p:tav tm="0">
                                          <p:val>
                                            <p:strVal val="#ppt_x"/>
                                          </p:val>
                                        </p:tav>
                                        <p:tav tm="100000">
                                          <p:val>
                                            <p:strVal val="#ppt_x"/>
                                          </p:val>
                                        </p:tav>
                                      </p:tavLst>
                                    </p:anim>
                                    <p:anim calcmode="lin" valueType="num">
                                      <p:cBhvr additive="base">
                                        <p:cTn id="78" dur="1250" fill="hold"/>
                                        <p:tgtEl>
                                          <p:spTgt spid="96"/>
                                        </p:tgtEl>
                                        <p:attrNameLst>
                                          <p:attrName>ppt_y</p:attrName>
                                        </p:attrNameLst>
                                      </p:cBhvr>
                                      <p:tavLst>
                                        <p:tav tm="0">
                                          <p:val>
                                            <p:strVal val="0-#ppt_h/2"/>
                                          </p:val>
                                        </p:tav>
                                        <p:tav tm="100000">
                                          <p:val>
                                            <p:strVal val="#ppt_y"/>
                                          </p:val>
                                        </p:tav>
                                      </p:tavLst>
                                    </p:anim>
                                  </p:childTnLst>
                                </p:cTn>
                              </p:par>
                              <p:par>
                                <p:cTn id="79" presetID="10" presetClass="entr" presetSubtype="0" fill="hold" nodeType="withEffect">
                                  <p:stCondLst>
                                    <p:cond delay="0"/>
                                  </p:stCondLst>
                                  <p:childTnLst>
                                    <p:set>
                                      <p:cBhvr>
                                        <p:cTn id="80" dur="1" fill="hold">
                                          <p:stCondLst>
                                            <p:cond delay="0"/>
                                          </p:stCondLst>
                                        </p:cTn>
                                        <p:tgtEl>
                                          <p:spTgt spid="96"/>
                                        </p:tgtEl>
                                        <p:attrNameLst>
                                          <p:attrName>style.visibility</p:attrName>
                                        </p:attrNameLst>
                                      </p:cBhvr>
                                      <p:to>
                                        <p:strVal val="visible"/>
                                      </p:to>
                                    </p:set>
                                    <p:animEffect transition="in" filter="fade">
                                      <p:cBhvr>
                                        <p:cTn id="81" dur="1250"/>
                                        <p:tgtEl>
                                          <p:spTgt spid="96"/>
                                        </p:tgtEl>
                                      </p:cBhvr>
                                    </p:animEffect>
                                  </p:childTnLst>
                                </p:cTn>
                              </p:par>
                              <p:par>
                                <p:cTn id="82" presetID="2" presetClass="entr" presetSubtype="1" fill="hold" nodeType="withEffect">
                                  <p:stCondLst>
                                    <p:cond delay="0"/>
                                  </p:stCondLst>
                                  <p:childTnLst>
                                    <p:set>
                                      <p:cBhvr>
                                        <p:cTn id="83" dur="1" fill="hold">
                                          <p:stCondLst>
                                            <p:cond delay="0"/>
                                          </p:stCondLst>
                                        </p:cTn>
                                        <p:tgtEl>
                                          <p:spTgt spid="99"/>
                                        </p:tgtEl>
                                        <p:attrNameLst>
                                          <p:attrName>style.visibility</p:attrName>
                                        </p:attrNameLst>
                                      </p:cBhvr>
                                      <p:to>
                                        <p:strVal val="visible"/>
                                      </p:to>
                                    </p:set>
                                    <p:anim calcmode="lin" valueType="num">
                                      <p:cBhvr additive="base">
                                        <p:cTn id="84" dur="1250" fill="hold"/>
                                        <p:tgtEl>
                                          <p:spTgt spid="99"/>
                                        </p:tgtEl>
                                        <p:attrNameLst>
                                          <p:attrName>ppt_x</p:attrName>
                                        </p:attrNameLst>
                                      </p:cBhvr>
                                      <p:tavLst>
                                        <p:tav tm="0">
                                          <p:val>
                                            <p:strVal val="#ppt_x"/>
                                          </p:val>
                                        </p:tav>
                                        <p:tav tm="100000">
                                          <p:val>
                                            <p:strVal val="#ppt_x"/>
                                          </p:val>
                                        </p:tav>
                                      </p:tavLst>
                                    </p:anim>
                                    <p:anim calcmode="lin" valueType="num">
                                      <p:cBhvr additive="base">
                                        <p:cTn id="85" dur="1250" fill="hold"/>
                                        <p:tgtEl>
                                          <p:spTgt spid="99"/>
                                        </p:tgtEl>
                                        <p:attrNameLst>
                                          <p:attrName>ppt_y</p:attrName>
                                        </p:attrNameLst>
                                      </p:cBhvr>
                                      <p:tavLst>
                                        <p:tav tm="0">
                                          <p:val>
                                            <p:strVal val="0-#ppt_h/2"/>
                                          </p:val>
                                        </p:tav>
                                        <p:tav tm="100000">
                                          <p:val>
                                            <p:strVal val="#ppt_y"/>
                                          </p:val>
                                        </p:tav>
                                      </p:tavLst>
                                    </p:anim>
                                  </p:childTnLst>
                                </p:cTn>
                              </p:par>
                              <p:par>
                                <p:cTn id="86" presetID="10" presetClass="entr" presetSubtype="0" fill="hold" nodeType="withEffect">
                                  <p:stCondLst>
                                    <p:cond delay="0"/>
                                  </p:stCondLst>
                                  <p:childTnLst>
                                    <p:set>
                                      <p:cBhvr>
                                        <p:cTn id="87" dur="1" fill="hold">
                                          <p:stCondLst>
                                            <p:cond delay="0"/>
                                          </p:stCondLst>
                                        </p:cTn>
                                        <p:tgtEl>
                                          <p:spTgt spid="99"/>
                                        </p:tgtEl>
                                        <p:attrNameLst>
                                          <p:attrName>style.visibility</p:attrName>
                                        </p:attrNameLst>
                                      </p:cBhvr>
                                      <p:to>
                                        <p:strVal val="visible"/>
                                      </p:to>
                                    </p:set>
                                    <p:animEffect transition="in" filter="fade">
                                      <p:cBhvr>
                                        <p:cTn id="88" dur="1250"/>
                                        <p:tgtEl>
                                          <p:spTgt spid="99"/>
                                        </p:tgtEl>
                                      </p:cBhvr>
                                    </p:animEffect>
                                  </p:childTnLst>
                                </p:cTn>
                              </p:par>
                              <p:par>
                                <p:cTn id="89" presetID="10" presetClass="entr" presetSubtype="0" fill="hold" nodeType="withEffect">
                                  <p:stCondLst>
                                    <p:cond delay="1250"/>
                                  </p:stCondLst>
                                  <p:childTnLst>
                                    <p:set>
                                      <p:cBhvr>
                                        <p:cTn id="90" dur="1" fill="hold">
                                          <p:stCondLst>
                                            <p:cond delay="0"/>
                                          </p:stCondLst>
                                        </p:cTn>
                                        <p:tgtEl>
                                          <p:spTgt spid="7"/>
                                        </p:tgtEl>
                                        <p:attrNameLst>
                                          <p:attrName>style.visibility</p:attrName>
                                        </p:attrNameLst>
                                      </p:cBhvr>
                                      <p:to>
                                        <p:strVal val="visible"/>
                                      </p:to>
                                    </p:set>
                                    <p:animEffect transition="in" filter="fade">
                                      <p:cBhvr>
                                        <p:cTn id="91" dur="500"/>
                                        <p:tgtEl>
                                          <p:spTgt spid="7"/>
                                        </p:tgtEl>
                                      </p:cBhvr>
                                    </p:animEffect>
                                  </p:childTnLst>
                                </p:cTn>
                              </p:par>
                              <p:par>
                                <p:cTn id="92" presetID="42" presetClass="path" presetSubtype="0" decel="100000" fill="hold" nodeType="withEffect">
                                  <p:stCondLst>
                                    <p:cond delay="1250"/>
                                  </p:stCondLst>
                                  <p:childTnLst>
                                    <p:animMotion origin="layout" path="M 3.88889E-6 1.85185E-6 L 3.88889E-6 -0.08171 " pathEditMode="relative" rAng="0" ptsTypes="AA">
                                      <p:cBhvr>
                                        <p:cTn id="93" dur="500" spd="-100000" fill="hold"/>
                                        <p:tgtEl>
                                          <p:spTgt spid="7"/>
                                        </p:tgtEl>
                                        <p:attrNameLst>
                                          <p:attrName>ppt_x</p:attrName>
                                          <p:attrName>ppt_y</p:attrName>
                                        </p:attrNameLst>
                                      </p:cBhvr>
                                      <p:rCtr x="0" y="-4097"/>
                                    </p:animMotion>
                                  </p:childTnLst>
                                </p:cTn>
                              </p:par>
                              <p:par>
                                <p:cTn id="94" presetID="10" presetClass="entr" presetSubtype="0" fill="hold" nodeType="withEffect">
                                  <p:stCondLst>
                                    <p:cond delay="1500"/>
                                  </p:stCondLst>
                                  <p:childTnLst>
                                    <p:set>
                                      <p:cBhvr>
                                        <p:cTn id="95" dur="1" fill="hold">
                                          <p:stCondLst>
                                            <p:cond delay="0"/>
                                          </p:stCondLst>
                                        </p:cTn>
                                        <p:tgtEl>
                                          <p:spTgt spid="8"/>
                                        </p:tgtEl>
                                        <p:attrNameLst>
                                          <p:attrName>style.visibility</p:attrName>
                                        </p:attrNameLst>
                                      </p:cBhvr>
                                      <p:to>
                                        <p:strVal val="visible"/>
                                      </p:to>
                                    </p:set>
                                    <p:animEffect transition="in" filter="fade">
                                      <p:cBhvr>
                                        <p:cTn id="96" dur="500"/>
                                        <p:tgtEl>
                                          <p:spTgt spid="8"/>
                                        </p:tgtEl>
                                      </p:cBhvr>
                                    </p:animEffect>
                                  </p:childTnLst>
                                </p:cTn>
                              </p:par>
                              <p:par>
                                <p:cTn id="97" presetID="42" presetClass="path" presetSubtype="0" decel="100000" fill="hold" nodeType="withEffect">
                                  <p:stCondLst>
                                    <p:cond delay="1500"/>
                                  </p:stCondLst>
                                  <p:childTnLst>
                                    <p:animMotion origin="layout" path="M 3.88889E-6 1.85185E-6 L 3.88889E-6 -0.08171 " pathEditMode="relative" rAng="0" ptsTypes="AA">
                                      <p:cBhvr>
                                        <p:cTn id="98" dur="500" spd="-100000" fill="hold"/>
                                        <p:tgtEl>
                                          <p:spTgt spid="8"/>
                                        </p:tgtEl>
                                        <p:attrNameLst>
                                          <p:attrName>ppt_x</p:attrName>
                                          <p:attrName>ppt_y</p:attrName>
                                        </p:attrNameLst>
                                      </p:cBhvr>
                                      <p:rCtr x="0" y="-4097"/>
                                    </p:animMotion>
                                  </p:childTnLst>
                                </p:cTn>
                              </p:par>
                              <p:par>
                                <p:cTn id="99" presetID="10" presetClass="entr" presetSubtype="0" fill="hold" nodeType="withEffect">
                                  <p:stCondLst>
                                    <p:cond delay="1750"/>
                                  </p:stCondLst>
                                  <p:childTnLst>
                                    <p:set>
                                      <p:cBhvr>
                                        <p:cTn id="100" dur="1" fill="hold">
                                          <p:stCondLst>
                                            <p:cond delay="0"/>
                                          </p:stCondLst>
                                        </p:cTn>
                                        <p:tgtEl>
                                          <p:spTgt spid="12"/>
                                        </p:tgtEl>
                                        <p:attrNameLst>
                                          <p:attrName>style.visibility</p:attrName>
                                        </p:attrNameLst>
                                      </p:cBhvr>
                                      <p:to>
                                        <p:strVal val="visible"/>
                                      </p:to>
                                    </p:set>
                                    <p:animEffect transition="in" filter="fade">
                                      <p:cBhvr>
                                        <p:cTn id="101" dur="500"/>
                                        <p:tgtEl>
                                          <p:spTgt spid="12"/>
                                        </p:tgtEl>
                                      </p:cBhvr>
                                    </p:animEffect>
                                  </p:childTnLst>
                                </p:cTn>
                              </p:par>
                              <p:par>
                                <p:cTn id="102" presetID="42" presetClass="path" presetSubtype="0" decel="100000" fill="hold" nodeType="withEffect">
                                  <p:stCondLst>
                                    <p:cond delay="1750"/>
                                  </p:stCondLst>
                                  <p:childTnLst>
                                    <p:animMotion origin="layout" path="M 3.88889E-6 1.85185E-6 L 3.88889E-6 -0.08171 " pathEditMode="relative" rAng="0" ptsTypes="AA">
                                      <p:cBhvr>
                                        <p:cTn id="103" dur="500" spd="-100000" fill="hold"/>
                                        <p:tgtEl>
                                          <p:spTgt spid="12"/>
                                        </p:tgtEl>
                                        <p:attrNameLst>
                                          <p:attrName>ppt_x</p:attrName>
                                          <p:attrName>ppt_y</p:attrName>
                                        </p:attrNameLst>
                                      </p:cBhvr>
                                      <p:rCtr x="0" y="-4097"/>
                                    </p:animMotion>
                                  </p:childTnLst>
                                </p:cTn>
                              </p:par>
                              <p:par>
                                <p:cTn id="104" presetID="10" presetClass="entr" presetSubtype="0" fill="hold" nodeType="withEffect">
                                  <p:stCondLst>
                                    <p:cond delay="2000"/>
                                  </p:stCondLst>
                                  <p:childTnLst>
                                    <p:set>
                                      <p:cBhvr>
                                        <p:cTn id="105" dur="1" fill="hold">
                                          <p:stCondLst>
                                            <p:cond delay="0"/>
                                          </p:stCondLst>
                                        </p:cTn>
                                        <p:tgtEl>
                                          <p:spTgt spid="13"/>
                                        </p:tgtEl>
                                        <p:attrNameLst>
                                          <p:attrName>style.visibility</p:attrName>
                                        </p:attrNameLst>
                                      </p:cBhvr>
                                      <p:to>
                                        <p:strVal val="visible"/>
                                      </p:to>
                                    </p:set>
                                    <p:animEffect transition="in" filter="fade">
                                      <p:cBhvr>
                                        <p:cTn id="106" dur="500"/>
                                        <p:tgtEl>
                                          <p:spTgt spid="13"/>
                                        </p:tgtEl>
                                      </p:cBhvr>
                                    </p:animEffect>
                                  </p:childTnLst>
                                </p:cTn>
                              </p:par>
                              <p:par>
                                <p:cTn id="107" presetID="42" presetClass="path" presetSubtype="0" decel="100000" fill="hold" nodeType="withEffect">
                                  <p:stCondLst>
                                    <p:cond delay="2000"/>
                                  </p:stCondLst>
                                  <p:childTnLst>
                                    <p:animMotion origin="layout" path="M 3.88889E-6 1.85185E-6 L 3.88889E-6 -0.08171 " pathEditMode="relative" rAng="0" ptsTypes="AA">
                                      <p:cBhvr>
                                        <p:cTn id="108" dur="500" spd="-100000" fill="hold"/>
                                        <p:tgtEl>
                                          <p:spTgt spid="13"/>
                                        </p:tgtEl>
                                        <p:attrNameLst>
                                          <p:attrName>ppt_x</p:attrName>
                                          <p:attrName>ppt_y</p:attrName>
                                        </p:attrNameLst>
                                      </p:cBhvr>
                                      <p:rCtr x="0" y="-4097"/>
                                    </p:animMotion>
                                  </p:childTnLst>
                                </p:cTn>
                              </p:par>
                              <p:par>
                                <p:cTn id="109" presetID="10" presetClass="entr" presetSubtype="0" fill="hold" nodeType="withEffect">
                                  <p:stCondLst>
                                    <p:cond delay="2250"/>
                                  </p:stCondLst>
                                  <p:childTnLst>
                                    <p:set>
                                      <p:cBhvr>
                                        <p:cTn id="110" dur="1" fill="hold">
                                          <p:stCondLst>
                                            <p:cond delay="0"/>
                                          </p:stCondLst>
                                        </p:cTn>
                                        <p:tgtEl>
                                          <p:spTgt spid="14"/>
                                        </p:tgtEl>
                                        <p:attrNameLst>
                                          <p:attrName>style.visibility</p:attrName>
                                        </p:attrNameLst>
                                      </p:cBhvr>
                                      <p:to>
                                        <p:strVal val="visible"/>
                                      </p:to>
                                    </p:set>
                                    <p:animEffect transition="in" filter="fade">
                                      <p:cBhvr>
                                        <p:cTn id="111" dur="500"/>
                                        <p:tgtEl>
                                          <p:spTgt spid="14"/>
                                        </p:tgtEl>
                                      </p:cBhvr>
                                    </p:animEffect>
                                  </p:childTnLst>
                                </p:cTn>
                              </p:par>
                              <p:par>
                                <p:cTn id="112" presetID="42" presetClass="path" presetSubtype="0" decel="100000" fill="hold" nodeType="withEffect">
                                  <p:stCondLst>
                                    <p:cond delay="2250"/>
                                  </p:stCondLst>
                                  <p:childTnLst>
                                    <p:animMotion origin="layout" path="M 3.88889E-6 1.85185E-6 L 3.88889E-6 -0.08171 " pathEditMode="relative" rAng="0" ptsTypes="AA">
                                      <p:cBhvr>
                                        <p:cTn id="113" dur="500" spd="-100000" fill="hold"/>
                                        <p:tgtEl>
                                          <p:spTgt spid="14"/>
                                        </p:tgtEl>
                                        <p:attrNameLst>
                                          <p:attrName>ppt_x</p:attrName>
                                          <p:attrName>ppt_y</p:attrName>
                                        </p:attrNameLst>
                                      </p:cBhvr>
                                      <p:rCtr x="0" y="-4097"/>
                                    </p:animMotion>
                                  </p:childTnLst>
                                </p:cTn>
                              </p:par>
                            </p:childTnLst>
                          </p:cTn>
                        </p:par>
                        <p:par>
                          <p:cTn id="114" fill="hold">
                            <p:stCondLst>
                              <p:cond delay="2750"/>
                            </p:stCondLst>
                            <p:childTnLst>
                              <p:par>
                                <p:cTn id="115" presetID="10" presetClass="entr" presetSubtype="0" fill="hold" grpId="0" nodeType="afterEffect">
                                  <p:stCondLst>
                                    <p:cond delay="0"/>
                                  </p:stCondLst>
                                  <p:childTnLst>
                                    <p:set>
                                      <p:cBhvr>
                                        <p:cTn id="116" dur="1" fill="hold">
                                          <p:stCondLst>
                                            <p:cond delay="0"/>
                                          </p:stCondLst>
                                        </p:cTn>
                                        <p:tgtEl>
                                          <p:spTgt spid="57"/>
                                        </p:tgtEl>
                                        <p:attrNameLst>
                                          <p:attrName>style.visibility</p:attrName>
                                        </p:attrNameLst>
                                      </p:cBhvr>
                                      <p:to>
                                        <p:strVal val="visible"/>
                                      </p:to>
                                    </p:set>
                                    <p:animEffect transition="in" filter="fade">
                                      <p:cBhvr>
                                        <p:cTn id="117" dur="1500"/>
                                        <p:tgtEl>
                                          <p:spTgt spid="57"/>
                                        </p:tgtEl>
                                      </p:cBhvr>
                                    </p:animEffect>
                                  </p:childTnLst>
                                </p:cTn>
                              </p:par>
                              <p:par>
                                <p:cTn id="118" presetID="2" presetClass="entr" presetSubtype="8" decel="100000" fill="hold" grpId="0" nodeType="withEffect">
                                  <p:stCondLst>
                                    <p:cond delay="750"/>
                                  </p:stCondLst>
                                  <p:childTnLst>
                                    <p:set>
                                      <p:cBhvr>
                                        <p:cTn id="119" dur="1" fill="hold">
                                          <p:stCondLst>
                                            <p:cond delay="0"/>
                                          </p:stCondLst>
                                        </p:cTn>
                                        <p:tgtEl>
                                          <p:spTgt spid="60"/>
                                        </p:tgtEl>
                                        <p:attrNameLst>
                                          <p:attrName>style.visibility</p:attrName>
                                        </p:attrNameLst>
                                      </p:cBhvr>
                                      <p:to>
                                        <p:strVal val="visible"/>
                                      </p:to>
                                    </p:set>
                                    <p:anim calcmode="lin" valueType="num">
                                      <p:cBhvr additive="base">
                                        <p:cTn id="120" dur="1500" fill="hold"/>
                                        <p:tgtEl>
                                          <p:spTgt spid="60"/>
                                        </p:tgtEl>
                                        <p:attrNameLst>
                                          <p:attrName>ppt_x</p:attrName>
                                        </p:attrNameLst>
                                      </p:cBhvr>
                                      <p:tavLst>
                                        <p:tav tm="0">
                                          <p:val>
                                            <p:strVal val="0-#ppt_w/2"/>
                                          </p:val>
                                        </p:tav>
                                        <p:tav tm="100000">
                                          <p:val>
                                            <p:strVal val="#ppt_x"/>
                                          </p:val>
                                        </p:tav>
                                      </p:tavLst>
                                    </p:anim>
                                    <p:anim calcmode="lin" valueType="num">
                                      <p:cBhvr additive="base">
                                        <p:cTn id="121" dur="1500" fill="hold"/>
                                        <p:tgtEl>
                                          <p:spTgt spid="60"/>
                                        </p:tgtEl>
                                        <p:attrNameLst>
                                          <p:attrName>ppt_y</p:attrName>
                                        </p:attrNameLst>
                                      </p:cBhvr>
                                      <p:tavLst>
                                        <p:tav tm="0">
                                          <p:val>
                                            <p:strVal val="#ppt_y"/>
                                          </p:val>
                                        </p:tav>
                                        <p:tav tm="100000">
                                          <p:val>
                                            <p:strVal val="#ppt_y"/>
                                          </p:val>
                                        </p:tav>
                                      </p:tavLst>
                                    </p:anim>
                                  </p:childTnLst>
                                </p:cTn>
                              </p:par>
                              <p:par>
                                <p:cTn id="122" presetID="10" presetClass="entr" presetSubtype="0" fill="hold" grpId="1" nodeType="withEffect">
                                  <p:stCondLst>
                                    <p:cond delay="750"/>
                                  </p:stCondLst>
                                  <p:childTnLst>
                                    <p:set>
                                      <p:cBhvr>
                                        <p:cTn id="123" dur="1" fill="hold">
                                          <p:stCondLst>
                                            <p:cond delay="0"/>
                                          </p:stCondLst>
                                        </p:cTn>
                                        <p:tgtEl>
                                          <p:spTgt spid="60"/>
                                        </p:tgtEl>
                                        <p:attrNameLst>
                                          <p:attrName>style.visibility</p:attrName>
                                        </p:attrNameLst>
                                      </p:cBhvr>
                                      <p:to>
                                        <p:strVal val="visible"/>
                                      </p:to>
                                    </p:set>
                                    <p:animEffect transition="in" filter="fade">
                                      <p:cBhvr>
                                        <p:cTn id="124" dur="1000"/>
                                        <p:tgtEl>
                                          <p:spTgt spid="60"/>
                                        </p:tgtEl>
                                      </p:cBhvr>
                                    </p:animEffect>
                                  </p:childTnLst>
                                </p:cTn>
                              </p:par>
                              <p:par>
                                <p:cTn id="125" presetID="2" presetClass="entr" presetSubtype="8" decel="100000" fill="hold" grpId="0" nodeType="withEffect">
                                  <p:stCondLst>
                                    <p:cond delay="1000"/>
                                  </p:stCondLst>
                                  <p:childTnLst>
                                    <p:set>
                                      <p:cBhvr>
                                        <p:cTn id="126" dur="1" fill="hold">
                                          <p:stCondLst>
                                            <p:cond delay="0"/>
                                          </p:stCondLst>
                                        </p:cTn>
                                        <p:tgtEl>
                                          <p:spTgt spid="61"/>
                                        </p:tgtEl>
                                        <p:attrNameLst>
                                          <p:attrName>style.visibility</p:attrName>
                                        </p:attrNameLst>
                                      </p:cBhvr>
                                      <p:to>
                                        <p:strVal val="visible"/>
                                      </p:to>
                                    </p:set>
                                    <p:anim calcmode="lin" valueType="num">
                                      <p:cBhvr additive="base">
                                        <p:cTn id="127" dur="1500" fill="hold"/>
                                        <p:tgtEl>
                                          <p:spTgt spid="61"/>
                                        </p:tgtEl>
                                        <p:attrNameLst>
                                          <p:attrName>ppt_x</p:attrName>
                                        </p:attrNameLst>
                                      </p:cBhvr>
                                      <p:tavLst>
                                        <p:tav tm="0">
                                          <p:val>
                                            <p:strVal val="0-#ppt_w/2"/>
                                          </p:val>
                                        </p:tav>
                                        <p:tav tm="100000">
                                          <p:val>
                                            <p:strVal val="#ppt_x"/>
                                          </p:val>
                                        </p:tav>
                                      </p:tavLst>
                                    </p:anim>
                                    <p:anim calcmode="lin" valueType="num">
                                      <p:cBhvr additive="base">
                                        <p:cTn id="128" dur="1500" fill="hold"/>
                                        <p:tgtEl>
                                          <p:spTgt spid="61"/>
                                        </p:tgtEl>
                                        <p:attrNameLst>
                                          <p:attrName>ppt_y</p:attrName>
                                        </p:attrNameLst>
                                      </p:cBhvr>
                                      <p:tavLst>
                                        <p:tav tm="0">
                                          <p:val>
                                            <p:strVal val="#ppt_y"/>
                                          </p:val>
                                        </p:tav>
                                        <p:tav tm="100000">
                                          <p:val>
                                            <p:strVal val="#ppt_y"/>
                                          </p:val>
                                        </p:tav>
                                      </p:tavLst>
                                    </p:anim>
                                  </p:childTnLst>
                                </p:cTn>
                              </p:par>
                              <p:par>
                                <p:cTn id="129" presetID="10" presetClass="entr" presetSubtype="0" fill="hold" grpId="1" nodeType="withEffect">
                                  <p:stCondLst>
                                    <p:cond delay="1000"/>
                                  </p:stCondLst>
                                  <p:childTnLst>
                                    <p:set>
                                      <p:cBhvr>
                                        <p:cTn id="130" dur="1" fill="hold">
                                          <p:stCondLst>
                                            <p:cond delay="0"/>
                                          </p:stCondLst>
                                        </p:cTn>
                                        <p:tgtEl>
                                          <p:spTgt spid="61"/>
                                        </p:tgtEl>
                                        <p:attrNameLst>
                                          <p:attrName>style.visibility</p:attrName>
                                        </p:attrNameLst>
                                      </p:cBhvr>
                                      <p:to>
                                        <p:strVal val="visible"/>
                                      </p:to>
                                    </p:set>
                                    <p:animEffect transition="in" filter="fade">
                                      <p:cBhvr>
                                        <p:cTn id="131" dur="1000"/>
                                        <p:tgtEl>
                                          <p:spTgt spid="61"/>
                                        </p:tgtEl>
                                      </p:cBhvr>
                                    </p:animEffect>
                                  </p:childTnLst>
                                </p:cTn>
                              </p:par>
                              <p:par>
                                <p:cTn id="132" presetID="2" presetClass="entr" presetSubtype="2" decel="100000" fill="hold" grpId="1" nodeType="withEffect">
                                  <p:stCondLst>
                                    <p:cond delay="750"/>
                                  </p:stCondLst>
                                  <p:childTnLst>
                                    <p:set>
                                      <p:cBhvr>
                                        <p:cTn id="133" dur="1" fill="hold">
                                          <p:stCondLst>
                                            <p:cond delay="0"/>
                                          </p:stCondLst>
                                        </p:cTn>
                                        <p:tgtEl>
                                          <p:spTgt spid="58"/>
                                        </p:tgtEl>
                                        <p:attrNameLst>
                                          <p:attrName>style.visibility</p:attrName>
                                        </p:attrNameLst>
                                      </p:cBhvr>
                                      <p:to>
                                        <p:strVal val="visible"/>
                                      </p:to>
                                    </p:set>
                                    <p:anim calcmode="lin" valueType="num">
                                      <p:cBhvr additive="base">
                                        <p:cTn id="134" dur="1500" fill="hold"/>
                                        <p:tgtEl>
                                          <p:spTgt spid="58"/>
                                        </p:tgtEl>
                                        <p:attrNameLst>
                                          <p:attrName>ppt_x</p:attrName>
                                        </p:attrNameLst>
                                      </p:cBhvr>
                                      <p:tavLst>
                                        <p:tav tm="0">
                                          <p:val>
                                            <p:strVal val="1+#ppt_w/2"/>
                                          </p:val>
                                        </p:tav>
                                        <p:tav tm="100000">
                                          <p:val>
                                            <p:strVal val="#ppt_x"/>
                                          </p:val>
                                        </p:tav>
                                      </p:tavLst>
                                    </p:anim>
                                    <p:anim calcmode="lin" valueType="num">
                                      <p:cBhvr additive="base">
                                        <p:cTn id="135" dur="1500" fill="hold"/>
                                        <p:tgtEl>
                                          <p:spTgt spid="58"/>
                                        </p:tgtEl>
                                        <p:attrNameLst>
                                          <p:attrName>ppt_y</p:attrName>
                                        </p:attrNameLst>
                                      </p:cBhvr>
                                      <p:tavLst>
                                        <p:tav tm="0">
                                          <p:val>
                                            <p:strVal val="#ppt_y"/>
                                          </p:val>
                                        </p:tav>
                                        <p:tav tm="100000">
                                          <p:val>
                                            <p:strVal val="#ppt_y"/>
                                          </p:val>
                                        </p:tav>
                                      </p:tavLst>
                                    </p:anim>
                                  </p:childTnLst>
                                </p:cTn>
                              </p:par>
                              <p:par>
                                <p:cTn id="136" presetID="10" presetClass="entr" presetSubtype="0" fill="hold" grpId="0" nodeType="withEffect">
                                  <p:stCondLst>
                                    <p:cond delay="750"/>
                                  </p:stCondLst>
                                  <p:childTnLst>
                                    <p:set>
                                      <p:cBhvr>
                                        <p:cTn id="137" dur="1" fill="hold">
                                          <p:stCondLst>
                                            <p:cond delay="0"/>
                                          </p:stCondLst>
                                        </p:cTn>
                                        <p:tgtEl>
                                          <p:spTgt spid="58"/>
                                        </p:tgtEl>
                                        <p:attrNameLst>
                                          <p:attrName>style.visibility</p:attrName>
                                        </p:attrNameLst>
                                      </p:cBhvr>
                                      <p:to>
                                        <p:strVal val="visible"/>
                                      </p:to>
                                    </p:set>
                                    <p:animEffect transition="in" filter="fade">
                                      <p:cBhvr>
                                        <p:cTn id="138" dur="1000"/>
                                        <p:tgtEl>
                                          <p:spTgt spid="58"/>
                                        </p:tgtEl>
                                      </p:cBhvr>
                                    </p:animEffect>
                                  </p:childTnLst>
                                </p:cTn>
                              </p:par>
                              <p:par>
                                <p:cTn id="139" presetID="2" presetClass="entr" presetSubtype="2" decel="100000" fill="hold" grpId="1" nodeType="withEffect">
                                  <p:stCondLst>
                                    <p:cond delay="1000"/>
                                  </p:stCondLst>
                                  <p:childTnLst>
                                    <p:set>
                                      <p:cBhvr>
                                        <p:cTn id="140" dur="1" fill="hold">
                                          <p:stCondLst>
                                            <p:cond delay="0"/>
                                          </p:stCondLst>
                                        </p:cTn>
                                        <p:tgtEl>
                                          <p:spTgt spid="54"/>
                                        </p:tgtEl>
                                        <p:attrNameLst>
                                          <p:attrName>style.visibility</p:attrName>
                                        </p:attrNameLst>
                                      </p:cBhvr>
                                      <p:to>
                                        <p:strVal val="visible"/>
                                      </p:to>
                                    </p:set>
                                    <p:anim calcmode="lin" valueType="num">
                                      <p:cBhvr additive="base">
                                        <p:cTn id="141" dur="1500" fill="hold"/>
                                        <p:tgtEl>
                                          <p:spTgt spid="54"/>
                                        </p:tgtEl>
                                        <p:attrNameLst>
                                          <p:attrName>ppt_x</p:attrName>
                                        </p:attrNameLst>
                                      </p:cBhvr>
                                      <p:tavLst>
                                        <p:tav tm="0">
                                          <p:val>
                                            <p:strVal val="1+#ppt_w/2"/>
                                          </p:val>
                                        </p:tav>
                                        <p:tav tm="100000">
                                          <p:val>
                                            <p:strVal val="#ppt_x"/>
                                          </p:val>
                                        </p:tav>
                                      </p:tavLst>
                                    </p:anim>
                                    <p:anim calcmode="lin" valueType="num">
                                      <p:cBhvr additive="base">
                                        <p:cTn id="142" dur="1500" fill="hold"/>
                                        <p:tgtEl>
                                          <p:spTgt spid="54"/>
                                        </p:tgtEl>
                                        <p:attrNameLst>
                                          <p:attrName>ppt_y</p:attrName>
                                        </p:attrNameLst>
                                      </p:cBhvr>
                                      <p:tavLst>
                                        <p:tav tm="0">
                                          <p:val>
                                            <p:strVal val="#ppt_y"/>
                                          </p:val>
                                        </p:tav>
                                        <p:tav tm="100000">
                                          <p:val>
                                            <p:strVal val="#ppt_y"/>
                                          </p:val>
                                        </p:tav>
                                      </p:tavLst>
                                    </p:anim>
                                  </p:childTnLst>
                                </p:cTn>
                              </p:par>
                              <p:par>
                                <p:cTn id="143" presetID="10" presetClass="entr" presetSubtype="0" fill="hold" grpId="0" nodeType="withEffect">
                                  <p:stCondLst>
                                    <p:cond delay="1000"/>
                                  </p:stCondLst>
                                  <p:childTnLst>
                                    <p:set>
                                      <p:cBhvr>
                                        <p:cTn id="144" dur="1" fill="hold">
                                          <p:stCondLst>
                                            <p:cond delay="0"/>
                                          </p:stCondLst>
                                        </p:cTn>
                                        <p:tgtEl>
                                          <p:spTgt spid="54"/>
                                        </p:tgtEl>
                                        <p:attrNameLst>
                                          <p:attrName>style.visibility</p:attrName>
                                        </p:attrNameLst>
                                      </p:cBhvr>
                                      <p:to>
                                        <p:strVal val="visible"/>
                                      </p:to>
                                    </p:set>
                                    <p:animEffect transition="in" filter="fade">
                                      <p:cBhvr>
                                        <p:cTn id="145" dur="1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83" grpId="1" animBg="1"/>
      <p:bldP spid="85" grpId="0" animBg="1"/>
      <p:bldP spid="85" grpId="1" animBg="1"/>
      <p:bldP spid="86" grpId="0" animBg="1"/>
      <p:bldP spid="86" grpId="1" animBg="1"/>
      <p:bldP spid="88" grpId="0" animBg="1"/>
      <p:bldP spid="88" grpId="1" animBg="1"/>
      <p:bldP spid="89" grpId="0" animBg="1"/>
      <p:bldP spid="89" grpId="1" animBg="1"/>
      <p:bldP spid="90" grpId="0" animBg="1"/>
      <p:bldP spid="90" grpId="1" animBg="1"/>
      <p:bldP spid="91" grpId="0" animBg="1"/>
      <p:bldP spid="91" grpId="1" animBg="1"/>
      <p:bldP spid="57" grpId="0" animBg="1"/>
      <p:bldP spid="54" grpId="0" animBg="1"/>
      <p:bldP spid="54" grpId="1" animBg="1"/>
      <p:bldP spid="58" grpId="0" animBg="1"/>
      <p:bldP spid="58" grpId="1" animBg="1"/>
      <p:bldP spid="60" grpId="0" animBg="1"/>
      <p:bldP spid="60" grpId="1" animBg="1"/>
      <p:bldP spid="61" grpId="0" animBg="1"/>
      <p:bldP spid="61" grpId="1"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Image 17"/>
          <p:cNvPicPr>
            <a:picLocks noChangeAspect="1"/>
          </p:cNvPicPr>
          <p:nvPr/>
        </p:nvPicPr>
        <p:blipFill rotWithShape="1">
          <a:blip r:embed="rId3">
            <a:extLst>
              <a:ext uri="{28A0092B-C50C-407E-A947-70E740481C1C}">
                <a14:useLocalDpi xmlns:a14="http://schemas.microsoft.com/office/drawing/2010/main" val="0"/>
              </a:ext>
            </a:extLst>
          </a:blip>
          <a:srcRect l="-2998" t="15485" r="-2998" b="15485"/>
          <a:stretch/>
        </p:blipFill>
        <p:spPr>
          <a:xfrm>
            <a:off x="1381817" y="2053049"/>
            <a:ext cx="8941574" cy="4367376"/>
          </a:xfrm>
          <a:prstGeom prst="rect">
            <a:avLst/>
          </a:prstGeom>
        </p:spPr>
      </p:pic>
      <p:sp>
        <p:nvSpPr>
          <p:cNvPr id="6" name="Rectangle 5"/>
          <p:cNvSpPr/>
          <p:nvPr/>
        </p:nvSpPr>
        <p:spPr>
          <a:xfrm>
            <a:off x="1919288" y="2645997"/>
            <a:ext cx="1125169" cy="163902"/>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5" name="Espace réservé du texte 4"/>
          <p:cNvSpPr>
            <a:spLocks noGrp="1"/>
          </p:cNvSpPr>
          <p:nvPr>
            <p:ph type="body" sz="quarter" idx="14"/>
          </p:nvPr>
        </p:nvSpPr>
        <p:spPr/>
        <p:txBody>
          <a:bodyPr>
            <a:normAutofit fontScale="25000" lnSpcReduction="20000"/>
          </a:bodyPr>
          <a:lstStyle/>
          <a:p>
            <a:endParaRPr lang="en-GB" dirty="0"/>
          </a:p>
        </p:txBody>
      </p:sp>
      <p:sp>
        <p:nvSpPr>
          <p:cNvPr id="8" name="Rectangle 7"/>
          <p:cNvSpPr/>
          <p:nvPr/>
        </p:nvSpPr>
        <p:spPr>
          <a:xfrm>
            <a:off x="1919288" y="960393"/>
            <a:ext cx="835342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200" b="1" i="0" u="none" strike="noStrike" kern="1200" cap="none" spc="0" normalizeH="0" baseline="0" noProof="0" dirty="0">
                <a:ln>
                  <a:noFill/>
                </a:ln>
                <a:solidFill>
                  <a:srgbClr val="1C355E"/>
                </a:solidFill>
                <a:effectLst/>
                <a:uLnTx/>
                <a:uFillTx/>
                <a:latin typeface="Arial"/>
                <a:ea typeface="+mn-ea"/>
                <a:cs typeface="+mn-cs"/>
              </a:rPr>
              <a:t>SKUPINA </a:t>
            </a:r>
            <a:r>
              <a:rPr kumimoji="0" lang="en-GB" sz="1200" b="1" i="0" u="none" strike="noStrike" kern="1200" cap="none" spc="0" normalizeH="0" baseline="0" noProof="0" dirty="0">
                <a:ln>
                  <a:noFill/>
                </a:ln>
                <a:solidFill>
                  <a:srgbClr val="1C355E"/>
                </a:solidFill>
                <a:effectLst/>
                <a:uLnTx/>
                <a:uFillTx/>
                <a:latin typeface="Arial"/>
                <a:ea typeface="+mn-ea"/>
                <a:cs typeface="+mn-cs"/>
              </a:rPr>
              <a:t>COFACE</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sl-SI" sz="1200" b="0" i="0" u="none" strike="noStrike" kern="1200" cap="none" spc="0" normalizeH="0" baseline="0" noProof="0" dirty="0">
                <a:ln>
                  <a:noFill/>
                </a:ln>
                <a:solidFill>
                  <a:srgbClr val="1C355E"/>
                </a:solidFill>
                <a:effectLst/>
                <a:uLnTx/>
                <a:uFillTx/>
                <a:latin typeface="Arial"/>
                <a:ea typeface="+mn-ea"/>
                <a:cs typeface="+mn-cs"/>
              </a:rPr>
              <a:t>je </a:t>
            </a:r>
            <a:r>
              <a:rPr kumimoji="0" lang="en-GB" sz="1200" b="1" i="0" u="none" strike="noStrike" kern="1200" cap="none" spc="0" normalizeH="0" baseline="0" noProof="0" dirty="0">
                <a:ln>
                  <a:noFill/>
                </a:ln>
                <a:solidFill>
                  <a:srgbClr val="1C355E"/>
                </a:solidFill>
                <a:effectLst/>
                <a:uLnTx/>
                <a:uFillTx/>
                <a:latin typeface="Arial"/>
                <a:ea typeface="+mn-ea"/>
                <a:cs typeface="+mn-cs"/>
              </a:rPr>
              <a:t>DIRE</a:t>
            </a:r>
            <a:r>
              <a:rPr kumimoji="0" lang="sl-SI" sz="1200" b="1" i="0" u="none" strike="noStrike" kern="1200" cap="none" spc="0" normalizeH="0" baseline="0" noProof="0" dirty="0">
                <a:ln>
                  <a:noFill/>
                </a:ln>
                <a:solidFill>
                  <a:srgbClr val="1C355E"/>
                </a:solidFill>
                <a:effectLst/>
                <a:uLnTx/>
                <a:uFillTx/>
                <a:latin typeface="Arial"/>
                <a:ea typeface="+mn-ea"/>
                <a:cs typeface="+mn-cs"/>
              </a:rPr>
              <a:t>KTNO</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sl-SI" sz="1200" b="0" i="0" u="none" strike="noStrike" kern="1200" cap="none" spc="0" normalizeH="0" baseline="0" noProof="0" dirty="0">
                <a:ln>
                  <a:noFill/>
                </a:ln>
                <a:solidFill>
                  <a:srgbClr val="1C355E"/>
                </a:solidFill>
                <a:effectLst/>
                <a:uLnTx/>
                <a:uFillTx/>
                <a:latin typeface="Arial"/>
                <a:ea typeface="+mn-ea"/>
                <a:cs typeface="+mn-cs"/>
              </a:rPr>
              <a:t>ali preko njenih </a:t>
            </a:r>
            <a:r>
              <a:rPr kumimoji="0" lang="en-GB" sz="1200" b="1" i="0" u="none" strike="noStrike" kern="1200" cap="none" spc="0" normalizeH="0" baseline="0" noProof="0" dirty="0">
                <a:ln>
                  <a:noFill/>
                </a:ln>
                <a:solidFill>
                  <a:srgbClr val="1C355E"/>
                </a:solidFill>
                <a:effectLst/>
                <a:uLnTx/>
                <a:uFillTx/>
                <a:latin typeface="Arial"/>
                <a:ea typeface="+mn-ea"/>
                <a:cs typeface="+mn-cs"/>
              </a:rPr>
              <a:t>PARTNER</a:t>
            </a:r>
            <a:r>
              <a:rPr kumimoji="0" lang="sl-SI" sz="1200" b="1" i="0" u="none" strike="noStrike" kern="1200" cap="none" spc="0" normalizeH="0" baseline="0" noProof="0" dirty="0">
                <a:ln>
                  <a:noFill/>
                </a:ln>
                <a:solidFill>
                  <a:srgbClr val="1C355E"/>
                </a:solidFill>
                <a:effectLst/>
                <a:uLnTx/>
                <a:uFillTx/>
                <a:latin typeface="Arial"/>
                <a:ea typeface="+mn-ea"/>
                <a:cs typeface="+mn-cs"/>
              </a:rPr>
              <a:t>JEV</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sl-SI" sz="1200" b="0" i="0" u="none" strike="noStrike" kern="1200" cap="none" spc="0" normalizeH="0" baseline="0" noProof="0" dirty="0">
                <a:ln>
                  <a:noFill/>
                </a:ln>
                <a:solidFill>
                  <a:srgbClr val="1C355E"/>
                </a:solidFill>
                <a:effectLst/>
                <a:uLnTx/>
                <a:uFillTx/>
                <a:latin typeface="Arial"/>
                <a:ea typeface="+mn-ea"/>
                <a:cs typeface="+mn-cs"/>
              </a:rPr>
              <a:t>prisotna v</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en-GB" sz="1200" b="1" i="0" u="none" strike="noStrike" kern="1200" cap="none" spc="0" normalizeH="0" baseline="0" noProof="0" dirty="0">
                <a:ln>
                  <a:noFill/>
                </a:ln>
                <a:solidFill>
                  <a:srgbClr val="1C355E"/>
                </a:solidFill>
                <a:effectLst/>
                <a:uLnTx/>
                <a:uFillTx/>
                <a:latin typeface="Arial"/>
                <a:ea typeface="+mn-ea"/>
                <a:cs typeface="+mn-cs"/>
              </a:rPr>
              <a:t>100</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sl-SI" sz="1200" b="1" i="0" u="none" strike="noStrike" kern="1200" cap="none" spc="0" normalizeH="0" baseline="0" noProof="0" dirty="0">
                <a:ln>
                  <a:noFill/>
                </a:ln>
                <a:solidFill>
                  <a:srgbClr val="1C355E"/>
                </a:solidFill>
                <a:effectLst/>
                <a:uLnTx/>
                <a:uFillTx/>
                <a:latin typeface="Arial"/>
                <a:ea typeface="+mn-ea"/>
                <a:cs typeface="+mn-cs"/>
              </a:rPr>
              <a:t>DRŽAVAH SVETA</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sl-SI" sz="1200" b="0" i="0" u="none" strike="noStrike" kern="1200" cap="none" spc="0" normalizeH="0" baseline="0" noProof="0" dirty="0">
                <a:ln>
                  <a:noFill/>
                </a:ln>
                <a:solidFill>
                  <a:srgbClr val="1C355E"/>
                </a:solidFill>
                <a:effectLst/>
                <a:uLnTx/>
                <a:uFillTx/>
                <a:latin typeface="Arial"/>
                <a:ea typeface="+mn-ea"/>
                <a:cs typeface="+mn-cs"/>
              </a:rPr>
              <a:t>in k</a:t>
            </a:r>
            <a:r>
              <a:rPr kumimoji="0" lang="en-GB" sz="1200" b="0" i="0" u="none" strike="noStrike" kern="1200" cap="none" spc="0" normalizeH="0" baseline="0" noProof="0" dirty="0" err="1">
                <a:ln>
                  <a:noFill/>
                </a:ln>
                <a:solidFill>
                  <a:srgbClr val="1C355E"/>
                </a:solidFill>
                <a:effectLst/>
                <a:uLnTx/>
                <a:uFillTx/>
                <a:latin typeface="Arial"/>
                <a:ea typeface="+mn-ea"/>
                <a:cs typeface="+mn-cs"/>
              </a:rPr>
              <a:t>ri</a:t>
            </a:r>
            <a:r>
              <a:rPr kumimoji="0" lang="sl-SI" sz="1200" b="0" i="0" u="none" strike="noStrike" kern="1200" cap="none" spc="0" normalizeH="0" baseline="0" noProof="0" dirty="0">
                <a:ln>
                  <a:noFill/>
                </a:ln>
                <a:solidFill>
                  <a:srgbClr val="1C355E"/>
                </a:solidFill>
                <a:effectLst/>
                <a:uLnTx/>
                <a:uFillTx/>
                <a:latin typeface="Arial"/>
                <a:ea typeface="+mn-ea"/>
                <a:cs typeface="+mn-cs"/>
              </a:rPr>
              <a:t>j</a:t>
            </a:r>
            <a:r>
              <a:rPr kumimoji="0" lang="en-GB" sz="1200" b="0" i="0" u="none" strike="noStrike" kern="1200" cap="none" spc="0" normalizeH="0" baseline="0" noProof="0" dirty="0">
                <a:ln>
                  <a:noFill/>
                </a:ln>
                <a:solidFill>
                  <a:srgbClr val="1C355E"/>
                </a:solidFill>
                <a:effectLst/>
                <a:uLnTx/>
                <a:uFillTx/>
                <a:latin typeface="Arial"/>
                <a:ea typeface="+mn-ea"/>
                <a:cs typeface="+mn-cs"/>
              </a:rPr>
              <a:t>e </a:t>
            </a:r>
            <a:r>
              <a:rPr kumimoji="0" lang="en-GB" sz="1200" b="0" i="0" u="none" strike="noStrike" kern="1200" cap="none" spc="0" normalizeH="0" baseline="0" noProof="0" dirty="0" err="1">
                <a:ln>
                  <a:noFill/>
                </a:ln>
                <a:solidFill>
                  <a:srgbClr val="1C355E"/>
                </a:solidFill>
                <a:effectLst/>
                <a:uLnTx/>
                <a:uFillTx/>
                <a:latin typeface="Arial"/>
                <a:ea typeface="+mn-ea"/>
                <a:cs typeface="+mn-cs"/>
              </a:rPr>
              <a:t>tveganj</a:t>
            </a:r>
            <a:r>
              <a:rPr kumimoji="0" lang="sl-SI" sz="1200" b="0" i="0" u="none" strike="noStrike" kern="1200" cap="none" spc="0" normalizeH="0" baseline="0" noProof="0" dirty="0">
                <a:ln>
                  <a:noFill/>
                </a:ln>
                <a:solidFill>
                  <a:srgbClr val="1C355E"/>
                </a:solidFill>
                <a:effectLst/>
                <a:uLnTx/>
                <a:uFillTx/>
                <a:latin typeface="Arial"/>
                <a:ea typeface="+mn-ea"/>
                <a:cs typeface="+mn-cs"/>
              </a:rPr>
              <a:t>a</a:t>
            </a:r>
            <a:r>
              <a:rPr kumimoji="0" lang="en-GB" sz="1200" b="0" i="0" u="none" strike="noStrike" kern="1200" cap="none" spc="0" normalizeH="0" baseline="0" noProof="0" dirty="0">
                <a:ln>
                  <a:noFill/>
                </a:ln>
                <a:solidFill>
                  <a:srgbClr val="1C355E"/>
                </a:solidFill>
                <a:effectLst/>
                <a:uLnTx/>
                <a:uFillTx/>
                <a:latin typeface="Arial"/>
                <a:ea typeface="+mn-ea"/>
                <a:cs typeface="+mn-cs"/>
              </a:rPr>
              <a:t> v </a:t>
            </a:r>
            <a:r>
              <a:rPr kumimoji="0" lang="en-GB" sz="1200" b="0" i="0" u="none" strike="noStrike" kern="1200" cap="none" spc="0" normalizeH="0" baseline="0" noProof="0" dirty="0" err="1">
                <a:ln>
                  <a:noFill/>
                </a:ln>
                <a:solidFill>
                  <a:srgbClr val="1C355E"/>
                </a:solidFill>
                <a:effectLst/>
                <a:uLnTx/>
                <a:uFillTx/>
                <a:latin typeface="Arial"/>
                <a:ea typeface="+mn-ea"/>
                <a:cs typeface="+mn-cs"/>
              </a:rPr>
              <a:t>več</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en-GB" sz="1200" b="0" i="0" u="none" strike="noStrike" kern="1200" cap="none" spc="0" normalizeH="0" baseline="0" noProof="0" dirty="0" err="1">
                <a:ln>
                  <a:noFill/>
                </a:ln>
                <a:solidFill>
                  <a:srgbClr val="1C355E"/>
                </a:solidFill>
                <a:effectLst/>
                <a:uLnTx/>
                <a:uFillTx/>
                <a:latin typeface="Arial"/>
                <a:ea typeface="+mn-ea"/>
                <a:cs typeface="+mn-cs"/>
              </a:rPr>
              <a:t>kot</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sl-SI" sz="1200" b="1" i="0" u="none" strike="noStrike" kern="1200" cap="none" spc="0" normalizeH="0" baseline="0" noProof="0" dirty="0">
                <a:ln>
                  <a:noFill/>
                </a:ln>
                <a:solidFill>
                  <a:srgbClr val="1C355E"/>
                </a:solidFill>
                <a:effectLst/>
                <a:uLnTx/>
                <a:uFillTx/>
                <a:latin typeface="Arial"/>
                <a:ea typeface="+mn-ea"/>
                <a:cs typeface="+mn-cs"/>
              </a:rPr>
              <a:t>200 DRŽAVAH SVETA</a:t>
            </a:r>
            <a:r>
              <a:rPr kumimoji="0" lang="sl-SI" sz="1200" b="0" i="0" u="none" strike="noStrike" kern="1200" cap="none" spc="0" normalizeH="0" baseline="0" noProof="0" dirty="0">
                <a:ln>
                  <a:noFill/>
                </a:ln>
                <a:solidFill>
                  <a:srgbClr val="1C355E"/>
                </a:solidFill>
                <a:effectLst/>
                <a:uLnTx/>
                <a:uFillTx/>
                <a:latin typeface="Arial"/>
                <a:ea typeface="+mn-ea"/>
                <a:cs typeface="+mn-cs"/>
              </a:rPr>
              <a:t>. </a:t>
            </a:r>
            <a:br>
              <a:rPr kumimoji="0" lang="en-GB" sz="1200" b="0" i="0" u="none" strike="noStrike" kern="1200" cap="none" spc="0" normalizeH="0" baseline="0" noProof="0" dirty="0">
                <a:ln>
                  <a:noFill/>
                </a:ln>
                <a:solidFill>
                  <a:srgbClr val="1C355E"/>
                </a:solidFill>
                <a:effectLst/>
                <a:uLnTx/>
                <a:uFillTx/>
                <a:latin typeface="Arial"/>
                <a:ea typeface="+mn-ea"/>
                <a:cs typeface="+mn-cs"/>
              </a:rPr>
            </a:br>
            <a:r>
              <a:rPr kumimoji="0" lang="en-GB" sz="1200" b="0" i="0" u="none" strike="noStrike" kern="1200" cap="none" spc="0" normalizeH="0" baseline="0" noProof="0" dirty="0" err="1">
                <a:ln>
                  <a:noFill/>
                </a:ln>
                <a:solidFill>
                  <a:srgbClr val="1C355E"/>
                </a:solidFill>
                <a:effectLst/>
                <a:uLnTx/>
                <a:uFillTx/>
                <a:latin typeface="Arial"/>
                <a:ea typeface="+mn-ea"/>
                <a:cs typeface="+mn-cs"/>
              </a:rPr>
              <a:t>Skupina</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en-GB" sz="1200" b="0" i="0" u="none" strike="noStrike" kern="1200" cap="none" spc="0" normalizeH="0" baseline="0" noProof="0" dirty="0" err="1">
                <a:ln>
                  <a:noFill/>
                </a:ln>
                <a:solidFill>
                  <a:srgbClr val="1C355E"/>
                </a:solidFill>
                <a:effectLst/>
                <a:uLnTx/>
                <a:uFillTx/>
                <a:latin typeface="Arial"/>
                <a:ea typeface="+mn-ea"/>
                <a:cs typeface="+mn-cs"/>
              </a:rPr>
              <a:t>uporablja</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en-GB" sz="1200" b="1" i="0" u="none" strike="noStrike" kern="1200" cap="none" spc="0" normalizeH="0" baseline="0" noProof="0" dirty="0">
                <a:ln>
                  <a:noFill/>
                </a:ln>
                <a:solidFill>
                  <a:srgbClr val="1C355E"/>
                </a:solidFill>
                <a:effectLst/>
                <a:uLnTx/>
                <a:uFillTx/>
                <a:latin typeface="Arial"/>
                <a:ea typeface="+mn-ea"/>
                <a:cs typeface="+mn-cs"/>
              </a:rPr>
              <a:t>SVOJ</a:t>
            </a:r>
            <a:r>
              <a:rPr kumimoji="0" lang="sl-SI" sz="1200" b="1" i="0" u="none" strike="noStrike" kern="1200" cap="none" spc="0" normalizeH="0" baseline="0" noProof="0" dirty="0">
                <a:ln>
                  <a:noFill/>
                </a:ln>
                <a:solidFill>
                  <a:srgbClr val="1C355E"/>
                </a:solidFill>
                <a:effectLst/>
                <a:uLnTx/>
                <a:uFillTx/>
                <a:latin typeface="Arial"/>
                <a:ea typeface="+mn-ea"/>
                <a:cs typeface="+mn-cs"/>
              </a:rPr>
              <a:t>O</a:t>
            </a:r>
            <a:r>
              <a:rPr kumimoji="0" lang="en-GB" sz="1200" b="1" i="0" u="none" strike="noStrike" kern="1200" cap="none" spc="0" normalizeH="0" baseline="0" noProof="0" dirty="0">
                <a:ln>
                  <a:noFill/>
                </a:ln>
                <a:solidFill>
                  <a:srgbClr val="1C355E"/>
                </a:solidFill>
                <a:effectLst/>
                <a:uLnTx/>
                <a:uFillTx/>
                <a:latin typeface="Arial"/>
                <a:ea typeface="+mn-ea"/>
                <a:cs typeface="+mn-cs"/>
              </a:rPr>
              <a:t> MEDNARODNO </a:t>
            </a:r>
            <a:r>
              <a:rPr kumimoji="0" lang="sl-SI" sz="1200" b="1" i="0" u="none" strike="noStrike" kern="1200" cap="none" spc="0" normalizeH="0" baseline="0" noProof="0" dirty="0">
                <a:ln>
                  <a:noFill/>
                </a:ln>
                <a:solidFill>
                  <a:srgbClr val="1C355E"/>
                </a:solidFill>
                <a:effectLst/>
                <a:uLnTx/>
                <a:uFillTx/>
                <a:latin typeface="Arial"/>
                <a:ea typeface="+mn-ea"/>
                <a:cs typeface="+mn-cs"/>
              </a:rPr>
              <a:t>MREŽO</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en-GB" sz="1200" b="0" i="0" u="none" strike="noStrike" kern="1200" cap="none" spc="0" normalizeH="0" baseline="0" noProof="0" dirty="0" err="1">
                <a:ln>
                  <a:noFill/>
                </a:ln>
                <a:solidFill>
                  <a:srgbClr val="1C355E"/>
                </a:solidFill>
                <a:effectLst/>
                <a:uLnTx/>
                <a:uFillTx/>
                <a:latin typeface="Arial"/>
                <a:ea typeface="+mn-ea"/>
                <a:cs typeface="+mn-cs"/>
              </a:rPr>
              <a:t>ki</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sl-SI" sz="1200" b="0" i="0" u="none" strike="noStrike" kern="1200" cap="none" spc="0" normalizeH="0" baseline="0" noProof="0" dirty="0">
                <a:ln>
                  <a:noFill/>
                </a:ln>
                <a:solidFill>
                  <a:srgbClr val="1C355E"/>
                </a:solidFill>
                <a:effectLst/>
                <a:uLnTx/>
                <a:uFillTx/>
                <a:latin typeface="Arial"/>
                <a:ea typeface="+mn-ea"/>
                <a:cs typeface="+mn-cs"/>
              </a:rPr>
              <a:t>jo</a:t>
            </a:r>
            <a:r>
              <a:rPr kumimoji="0" lang="en-GB" sz="1200" b="0" i="0" u="none" strike="noStrike" kern="1200" cap="none" spc="0" normalizeH="0" baseline="0" noProof="0" dirty="0">
                <a:ln>
                  <a:noFill/>
                </a:ln>
                <a:solidFill>
                  <a:srgbClr val="1C355E"/>
                </a:solidFill>
                <a:effectLst/>
                <a:uLnTx/>
                <a:uFillTx/>
                <a:latin typeface="Arial"/>
                <a:ea typeface="+mn-ea"/>
                <a:cs typeface="+mn-cs"/>
              </a:rPr>
              <a:t> </a:t>
            </a:r>
            <a:r>
              <a:rPr kumimoji="0" lang="en-GB" sz="1200" b="0" i="0" u="none" strike="noStrike" kern="1200" cap="none" spc="0" normalizeH="0" baseline="0" noProof="0" dirty="0" err="1">
                <a:ln>
                  <a:noFill/>
                </a:ln>
                <a:solidFill>
                  <a:srgbClr val="1C355E"/>
                </a:solidFill>
                <a:effectLst/>
                <a:uLnTx/>
                <a:uFillTx/>
                <a:latin typeface="Arial"/>
                <a:ea typeface="+mn-ea"/>
                <a:cs typeface="+mn-cs"/>
              </a:rPr>
              <a:t>dopolnjuje</a:t>
            </a:r>
            <a:r>
              <a:rPr kumimoji="0" lang="sl-SI" sz="1200" b="0" i="0" u="none" strike="noStrike" kern="1200" cap="none" spc="0" normalizeH="0" baseline="0" noProof="0" dirty="0">
                <a:ln>
                  <a:noFill/>
                </a:ln>
                <a:solidFill>
                  <a:srgbClr val="1C355E"/>
                </a:solidFill>
                <a:effectLst/>
                <a:uLnTx/>
                <a:uFillTx/>
                <a:latin typeface="Arial"/>
                <a:ea typeface="+mn-ea"/>
                <a:cs typeface="+mn-cs"/>
              </a:rPr>
              <a:t> z </a:t>
            </a:r>
            <a:r>
              <a:rPr kumimoji="0" lang="en-GB" sz="1200" b="1" i="0" u="none" strike="noStrike" kern="1200" cap="none" spc="0" normalizeH="0" baseline="0" noProof="0" dirty="0">
                <a:ln>
                  <a:noFill/>
                </a:ln>
                <a:solidFill>
                  <a:srgbClr val="1C355E"/>
                </a:solidFill>
                <a:effectLst/>
                <a:uLnTx/>
                <a:uFillTx/>
                <a:latin typeface="Arial"/>
                <a:ea typeface="+mn-ea"/>
                <a:cs typeface="+mn-cs"/>
              </a:rPr>
              <a:t>MR</a:t>
            </a:r>
            <a:r>
              <a:rPr kumimoji="0" lang="sl-SI" sz="1200" b="1" i="0" u="none" strike="noStrike" kern="1200" cap="none" spc="0" normalizeH="0" baseline="0" noProof="0" dirty="0">
                <a:ln>
                  <a:noFill/>
                </a:ln>
                <a:solidFill>
                  <a:srgbClr val="1C355E"/>
                </a:solidFill>
                <a:effectLst/>
                <a:uLnTx/>
                <a:uFillTx/>
                <a:latin typeface="Arial"/>
                <a:ea typeface="+mn-ea"/>
                <a:cs typeface="+mn-cs"/>
              </a:rPr>
              <a:t>EŽO NJENIH PARTNERJEV</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1C355E"/>
              </a:solidFill>
              <a:effectLst/>
              <a:uLnTx/>
              <a:uFillTx/>
              <a:latin typeface="Arial"/>
              <a:ea typeface="+mn-ea"/>
              <a:cs typeface="+mn-cs"/>
            </a:endParaRPr>
          </a:p>
        </p:txBody>
      </p:sp>
      <p:graphicFrame>
        <p:nvGraphicFramePr>
          <p:cNvPr id="10" name="Tableau 9"/>
          <p:cNvGraphicFramePr>
            <a:graphicFrameLocks noGrp="1"/>
          </p:cNvGraphicFramePr>
          <p:nvPr/>
        </p:nvGraphicFramePr>
        <p:xfrm>
          <a:off x="1669960" y="4550895"/>
          <a:ext cx="1914009" cy="1319659"/>
        </p:xfrm>
        <a:graphic>
          <a:graphicData uri="http://schemas.openxmlformats.org/drawingml/2006/table">
            <a:tbl>
              <a:tblPr firstRow="1" bandRow="1">
                <a:tableStyleId>{5C22544A-7EE6-4342-B048-85BDC9FD1C3A}</a:tableStyleId>
              </a:tblPr>
              <a:tblGrid>
                <a:gridCol w="886980">
                  <a:extLst>
                    <a:ext uri="{9D8B030D-6E8A-4147-A177-3AD203B41FA5}">
                      <a16:colId xmlns:a16="http://schemas.microsoft.com/office/drawing/2014/main" val="3847868841"/>
                    </a:ext>
                  </a:extLst>
                </a:gridCol>
                <a:gridCol w="93366">
                  <a:extLst>
                    <a:ext uri="{9D8B030D-6E8A-4147-A177-3AD203B41FA5}">
                      <a16:colId xmlns:a16="http://schemas.microsoft.com/office/drawing/2014/main" val="542603382"/>
                    </a:ext>
                  </a:extLst>
                </a:gridCol>
                <a:gridCol w="933663">
                  <a:extLst>
                    <a:ext uri="{9D8B030D-6E8A-4147-A177-3AD203B41FA5}">
                      <a16:colId xmlns:a16="http://schemas.microsoft.com/office/drawing/2014/main" val="1317281098"/>
                    </a:ext>
                  </a:extLst>
                </a:gridCol>
              </a:tblGrid>
              <a:tr h="268099">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mn-lt"/>
                          <a:ea typeface="+mn-ea"/>
                          <a:cs typeface="+mn-cs"/>
                        </a:rPr>
                        <a:t>LATIN</a:t>
                      </a:r>
                      <a:r>
                        <a:rPr kumimoji="0" lang="sl-SI" sz="1200" b="1" i="0" u="none" strike="noStrike" kern="1200" cap="none" spc="0" normalizeH="0" baseline="0" noProof="0" dirty="0">
                          <a:ln>
                            <a:noFill/>
                          </a:ln>
                          <a:solidFill>
                            <a:schemeClr val="accent1"/>
                          </a:solidFill>
                          <a:effectLst/>
                          <a:uLnTx/>
                          <a:uFillTx/>
                          <a:latin typeface="+mn-lt"/>
                          <a:ea typeface="+mn-ea"/>
                          <a:cs typeface="+mn-cs"/>
                        </a:rPr>
                        <a:t>SKA</a:t>
                      </a:r>
                      <a:r>
                        <a:rPr kumimoji="0" lang="en-GB" sz="1200" b="1" i="0" u="none" strike="noStrike" kern="1200" cap="none" spc="0" normalizeH="0" baseline="0" noProof="0" dirty="0">
                          <a:ln>
                            <a:noFill/>
                          </a:ln>
                          <a:solidFill>
                            <a:schemeClr val="accent1"/>
                          </a:solidFill>
                          <a:effectLst/>
                          <a:uLnTx/>
                          <a:uFillTx/>
                          <a:latin typeface="+mn-lt"/>
                          <a:ea typeface="+mn-ea"/>
                          <a:cs typeface="+mn-cs"/>
                        </a:rPr>
                        <a:t> AMERI</a:t>
                      </a:r>
                      <a:r>
                        <a:rPr kumimoji="0" lang="sl-SI" sz="1200" b="1" i="0" u="none" strike="noStrike" kern="1200" cap="none" spc="0" normalizeH="0" baseline="0" noProof="0" dirty="0">
                          <a:ln>
                            <a:noFill/>
                          </a:ln>
                          <a:solidFill>
                            <a:schemeClr val="accent1"/>
                          </a:solidFill>
                          <a:effectLst/>
                          <a:uLnTx/>
                          <a:uFillTx/>
                          <a:latin typeface="+mn-lt"/>
                          <a:ea typeface="+mn-ea"/>
                          <a:cs typeface="+mn-cs"/>
                        </a:rPr>
                        <a:t>K</a:t>
                      </a:r>
                      <a:r>
                        <a:rPr kumimoji="0" lang="en-GB" sz="1200" b="1" i="0" u="none" strike="noStrike" kern="1200" cap="none" spc="0" normalizeH="0" baseline="0" noProof="0" dirty="0">
                          <a:ln>
                            <a:noFill/>
                          </a:ln>
                          <a:solidFill>
                            <a:schemeClr val="accent1"/>
                          </a:solidFill>
                          <a:effectLst/>
                          <a:uLnTx/>
                          <a:uFillTx/>
                          <a:latin typeface="+mn-lt"/>
                          <a:ea typeface="+mn-ea"/>
                          <a:cs typeface="+mn-cs"/>
                        </a:rPr>
                        <a:t>A</a:t>
                      </a:r>
                    </a:p>
                  </a:txBody>
                  <a:tcPr marL="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hMerge="1">
                  <a:txBody>
                    <a:bodyPr/>
                    <a:lstStyle/>
                    <a:p>
                      <a:endParaRPr lang="fr-FR"/>
                    </a:p>
                  </a:txBody>
                  <a:tcPr/>
                </a:tc>
                <a:tc hMerge="1">
                  <a:txBody>
                    <a:bodyPr/>
                    <a:lstStyle/>
                    <a:p>
                      <a:endParaRPr lang="fr-FR" dirty="0"/>
                    </a:p>
                  </a:txBody>
                  <a:tcPr/>
                </a:tc>
                <a:extLst>
                  <a:ext uri="{0D108BD9-81ED-4DB2-BD59-A6C34878D82A}">
                    <a16:rowId xmlns:a16="http://schemas.microsoft.com/office/drawing/2014/main" val="3732324102"/>
                  </a:ext>
                </a:extLst>
              </a:tr>
              <a:tr h="92020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Argenti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Brazil</a:t>
                      </a:r>
                      <a:r>
                        <a:rPr kumimoji="0" lang="sl-SI" sz="1050" b="0" i="0" u="none" strike="noStrike" kern="1200" cap="none" spc="0" normalizeH="0" baseline="0" noProof="0" dirty="0" err="1">
                          <a:ln>
                            <a:noFill/>
                          </a:ln>
                          <a:solidFill>
                            <a:srgbClr val="6A7292"/>
                          </a:solidFill>
                          <a:effectLst/>
                          <a:uLnTx/>
                          <a:uFillTx/>
                          <a:latin typeface="+mn-lt"/>
                          <a:ea typeface="+mn-ea"/>
                          <a:cs typeface="+mn-cs"/>
                        </a:rPr>
                        <a:t>i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Čile</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K</a:t>
                      </a:r>
                      <a:r>
                        <a:rPr kumimoji="0" lang="en-GB" sz="1050" b="0" i="0" u="none" strike="noStrike" kern="1200" cap="none" spc="0" normalizeH="0" baseline="0" noProof="0" dirty="0" err="1">
                          <a:ln>
                            <a:noFill/>
                          </a:ln>
                          <a:solidFill>
                            <a:srgbClr val="6A7292"/>
                          </a:solidFill>
                          <a:effectLst/>
                          <a:uLnTx/>
                          <a:uFillTx/>
                          <a:latin typeface="+mn-lt"/>
                          <a:ea typeface="+mn-ea"/>
                          <a:cs typeface="+mn-cs"/>
                        </a:rPr>
                        <a:t>ol</a:t>
                      </a:r>
                      <a:r>
                        <a:rPr kumimoji="0" lang="sl-SI" sz="1050" b="0" i="0" u="none" strike="noStrike" kern="1200" cap="none" spc="0" normalizeH="0" baseline="0" noProof="0" dirty="0">
                          <a:ln>
                            <a:noFill/>
                          </a:ln>
                          <a:solidFill>
                            <a:srgbClr val="6A7292"/>
                          </a:solidFill>
                          <a:effectLst/>
                          <a:uLnTx/>
                          <a:uFillTx/>
                          <a:latin typeface="+mn-lt"/>
                          <a:ea typeface="+mn-ea"/>
                          <a:cs typeface="+mn-cs"/>
                        </a:rPr>
                        <a:t>u</a:t>
                      </a:r>
                      <a:r>
                        <a:rPr kumimoji="0" lang="en-GB" sz="1050" b="0" i="0" u="none" strike="noStrike" kern="1200" cap="none" spc="0" normalizeH="0" baseline="0" noProof="0" dirty="0" err="1">
                          <a:ln>
                            <a:noFill/>
                          </a:ln>
                          <a:solidFill>
                            <a:srgbClr val="6A7292"/>
                          </a:solidFill>
                          <a:effectLst/>
                          <a:uLnTx/>
                          <a:uFillTx/>
                          <a:latin typeface="+mn-lt"/>
                          <a:ea typeface="+mn-ea"/>
                          <a:cs typeface="+mn-cs"/>
                        </a:rPr>
                        <a:t>mbi</a:t>
                      </a:r>
                      <a:r>
                        <a:rPr kumimoji="0" lang="sl-SI" sz="1050" b="0" i="0" u="none" strike="noStrike" kern="1200" cap="none" spc="0" normalizeH="0" baseline="0" noProof="0" dirty="0">
                          <a:ln>
                            <a:noFill/>
                          </a:ln>
                          <a:solidFill>
                            <a:srgbClr val="6A7292"/>
                          </a:solidFill>
                          <a:effectLst/>
                          <a:uLnTx/>
                          <a:uFillTx/>
                          <a:latin typeface="+mn-lt"/>
                          <a:ea typeface="+mn-ea"/>
                          <a:cs typeface="+mn-cs"/>
                        </a:rPr>
                        <a:t>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Kostarik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E</a:t>
                      </a:r>
                      <a:r>
                        <a:rPr kumimoji="0" lang="sl-SI" sz="1050" b="0" i="0" u="none" strike="noStrike" kern="1200" cap="none" spc="0" normalizeH="0" baseline="0" noProof="0" dirty="0" err="1">
                          <a:ln>
                            <a:noFill/>
                          </a:ln>
                          <a:solidFill>
                            <a:srgbClr val="6A7292"/>
                          </a:solidFill>
                          <a:effectLst/>
                          <a:uLnTx/>
                          <a:uFillTx/>
                          <a:latin typeface="+mn-lt"/>
                          <a:ea typeface="+mn-ea"/>
                          <a:cs typeface="+mn-cs"/>
                        </a:rPr>
                        <a:t>kv</a:t>
                      </a:r>
                      <a:r>
                        <a:rPr kumimoji="0" lang="en-GB" sz="1050" b="0" i="0" u="none" strike="noStrike" kern="1200" cap="none" spc="0" normalizeH="0" baseline="0" noProof="0" dirty="0" err="1">
                          <a:ln>
                            <a:noFill/>
                          </a:ln>
                          <a:solidFill>
                            <a:srgbClr val="6A7292"/>
                          </a:solidFill>
                          <a:effectLst/>
                          <a:uLnTx/>
                          <a:uFillTx/>
                          <a:latin typeface="+mn-lt"/>
                          <a:ea typeface="+mn-ea"/>
                          <a:cs typeface="+mn-cs"/>
                        </a:rPr>
                        <a:t>ador</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tc>
                  <a:txBody>
                    <a:bodyPr/>
                    <a:lstStyle/>
                    <a:p>
                      <a:endParaRPr lang="en-GB" sz="100" noProof="0" dirty="0"/>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Me</a:t>
                      </a:r>
                      <a:r>
                        <a:rPr kumimoji="0" lang="sl-SI" sz="1050" b="0" i="0" u="none" strike="noStrike" kern="1200" cap="none" spc="0" normalizeH="0" baseline="0" noProof="0" dirty="0" err="1">
                          <a:ln>
                            <a:noFill/>
                          </a:ln>
                          <a:solidFill>
                            <a:srgbClr val="6A7292"/>
                          </a:solidFill>
                          <a:effectLst/>
                          <a:uLnTx/>
                          <a:uFillTx/>
                          <a:latin typeface="+mn-lt"/>
                          <a:ea typeface="+mn-ea"/>
                          <a:cs typeface="+mn-cs"/>
                        </a:rPr>
                        <a:t>hik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Panam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Parag</a:t>
                      </a:r>
                      <a:r>
                        <a:rPr kumimoji="0" lang="sl-SI" sz="1050" b="0" i="0" u="none" strike="noStrike" kern="1200" cap="none" spc="0" normalizeH="0" baseline="0" noProof="0" dirty="0">
                          <a:ln>
                            <a:noFill/>
                          </a:ln>
                          <a:solidFill>
                            <a:srgbClr val="6A7292"/>
                          </a:solidFill>
                          <a:effectLst/>
                          <a:uLnTx/>
                          <a:uFillTx/>
                          <a:latin typeface="+mn-lt"/>
                          <a:ea typeface="+mn-ea"/>
                          <a:cs typeface="+mn-cs"/>
                        </a:rPr>
                        <a:t>vaj</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Peru</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6A7292"/>
                          </a:solidFill>
                          <a:effectLst/>
                          <a:uLnTx/>
                          <a:uFillTx/>
                          <a:latin typeface="+mn-lt"/>
                          <a:ea typeface="+mn-ea"/>
                          <a:cs typeface="+mn-cs"/>
                        </a:rPr>
                        <a:t>Uru</a:t>
                      </a:r>
                      <a:r>
                        <a:rPr kumimoji="0" lang="sl-SI" sz="1050" b="0" i="0" u="none" strike="noStrike" kern="1200" cap="none" spc="0" normalizeH="0" baseline="0" noProof="0" dirty="0" err="1">
                          <a:ln>
                            <a:noFill/>
                          </a:ln>
                          <a:solidFill>
                            <a:srgbClr val="6A7292"/>
                          </a:solidFill>
                          <a:effectLst/>
                          <a:uLnTx/>
                          <a:uFillTx/>
                          <a:latin typeface="+mn-lt"/>
                          <a:ea typeface="+mn-ea"/>
                          <a:cs typeface="+mn-cs"/>
                        </a:rPr>
                        <a:t>gvaj</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Venezuela</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extLst>
                  <a:ext uri="{0D108BD9-81ED-4DB2-BD59-A6C34878D82A}">
                    <a16:rowId xmlns:a16="http://schemas.microsoft.com/office/drawing/2014/main" val="2437388122"/>
                  </a:ext>
                </a:extLst>
              </a:tr>
            </a:tbl>
          </a:graphicData>
        </a:graphic>
      </p:graphicFrame>
      <p:graphicFrame>
        <p:nvGraphicFramePr>
          <p:cNvPr id="11" name="Tableau 10"/>
          <p:cNvGraphicFramePr>
            <a:graphicFrameLocks noGrp="1"/>
          </p:cNvGraphicFramePr>
          <p:nvPr/>
        </p:nvGraphicFramePr>
        <p:xfrm>
          <a:off x="1192617" y="2645997"/>
          <a:ext cx="1680506" cy="666360"/>
        </p:xfrm>
        <a:graphic>
          <a:graphicData uri="http://schemas.openxmlformats.org/drawingml/2006/table">
            <a:tbl>
              <a:tblPr firstRow="1" bandRow="1">
                <a:tableStyleId>{5C22544A-7EE6-4342-B048-85BDC9FD1C3A}</a:tableStyleId>
              </a:tblPr>
              <a:tblGrid>
                <a:gridCol w="919382">
                  <a:extLst>
                    <a:ext uri="{9D8B030D-6E8A-4147-A177-3AD203B41FA5}">
                      <a16:colId xmlns:a16="http://schemas.microsoft.com/office/drawing/2014/main" val="3847868841"/>
                    </a:ext>
                  </a:extLst>
                </a:gridCol>
                <a:gridCol w="25400">
                  <a:extLst>
                    <a:ext uri="{9D8B030D-6E8A-4147-A177-3AD203B41FA5}">
                      <a16:colId xmlns:a16="http://schemas.microsoft.com/office/drawing/2014/main" val="1686229825"/>
                    </a:ext>
                  </a:extLst>
                </a:gridCol>
                <a:gridCol w="735724">
                  <a:extLst>
                    <a:ext uri="{9D8B030D-6E8A-4147-A177-3AD203B41FA5}">
                      <a16:colId xmlns:a16="http://schemas.microsoft.com/office/drawing/2014/main" val="1317281098"/>
                    </a:ext>
                  </a:extLst>
                </a:gridCol>
              </a:tblGrid>
              <a:tr h="18288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200" b="1" i="0" u="none" strike="noStrike" kern="1200" cap="none" spc="0" normalizeH="0" baseline="0" noProof="0" dirty="0">
                          <a:ln>
                            <a:noFill/>
                          </a:ln>
                          <a:solidFill>
                            <a:schemeClr val="accent1"/>
                          </a:solidFill>
                          <a:effectLst/>
                          <a:uLnTx/>
                          <a:uFillTx/>
                          <a:latin typeface="+mn-lt"/>
                          <a:ea typeface="+mn-ea"/>
                          <a:cs typeface="+mn-cs"/>
                        </a:rPr>
                        <a:t>SEVERNA</a:t>
                      </a:r>
                      <a:r>
                        <a:rPr kumimoji="0" lang="fr-FR" sz="1200" b="1" i="0" u="none" strike="noStrike" kern="1200" cap="none" spc="0" normalizeH="0" baseline="0" noProof="0" dirty="0">
                          <a:ln>
                            <a:noFill/>
                          </a:ln>
                          <a:solidFill>
                            <a:schemeClr val="accent1"/>
                          </a:solidFill>
                          <a:effectLst/>
                          <a:uLnTx/>
                          <a:uFillTx/>
                          <a:latin typeface="+mn-lt"/>
                          <a:ea typeface="+mn-ea"/>
                          <a:cs typeface="+mn-cs"/>
                        </a:rPr>
                        <a:t> AMERI</a:t>
                      </a:r>
                      <a:r>
                        <a:rPr kumimoji="0" lang="sl-SI" sz="1200" b="1" i="0" u="none" strike="noStrike" kern="1200" cap="none" spc="0" normalizeH="0" baseline="0" noProof="0" dirty="0">
                          <a:ln>
                            <a:noFill/>
                          </a:ln>
                          <a:solidFill>
                            <a:schemeClr val="accent1"/>
                          </a:solidFill>
                          <a:effectLst/>
                          <a:uLnTx/>
                          <a:uFillTx/>
                          <a:latin typeface="+mn-lt"/>
                          <a:ea typeface="+mn-ea"/>
                          <a:cs typeface="+mn-cs"/>
                        </a:rPr>
                        <a:t>K</a:t>
                      </a:r>
                      <a:r>
                        <a:rPr kumimoji="0" lang="fr-FR" sz="1200" b="1" i="0" u="none" strike="noStrike" kern="1200" cap="none" spc="0" normalizeH="0" baseline="0" noProof="0" dirty="0">
                          <a:ln>
                            <a:noFill/>
                          </a:ln>
                          <a:solidFill>
                            <a:schemeClr val="accent1"/>
                          </a:solidFill>
                          <a:effectLst/>
                          <a:uLnTx/>
                          <a:uFillTx/>
                          <a:latin typeface="+mn-lt"/>
                          <a:ea typeface="+mn-ea"/>
                          <a:cs typeface="+mn-cs"/>
                        </a:rPr>
                        <a:t>A</a:t>
                      </a:r>
                    </a:p>
                  </a:txBody>
                  <a:tcPr marL="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hMerge="1">
                  <a:txBody>
                    <a:bodyPr/>
                    <a:lstStyle/>
                    <a:p>
                      <a:endParaRPr lang="en-US"/>
                    </a:p>
                  </a:txBody>
                  <a:tcPr/>
                </a:tc>
                <a:tc hMerge="1">
                  <a:txBody>
                    <a:bodyPr/>
                    <a:lstStyle/>
                    <a:p>
                      <a:endParaRPr lang="fr-FR" dirty="0"/>
                    </a:p>
                  </a:txBody>
                  <a:tcPr/>
                </a:tc>
                <a:extLst>
                  <a:ext uri="{0D108BD9-81ED-4DB2-BD59-A6C34878D82A}">
                    <a16:rowId xmlns:a16="http://schemas.microsoft.com/office/drawing/2014/main" val="373232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K</a:t>
                      </a:r>
                      <a:r>
                        <a:rPr kumimoji="0" lang="es-ES" sz="1050" b="0" i="0" u="none" strike="noStrike" kern="1200" cap="none" spc="0" normalizeH="0" baseline="0" noProof="0" dirty="0" err="1">
                          <a:ln>
                            <a:noFill/>
                          </a:ln>
                          <a:solidFill>
                            <a:srgbClr val="6A7292"/>
                          </a:solidFill>
                          <a:effectLst/>
                          <a:uLnTx/>
                          <a:uFillTx/>
                          <a:latin typeface="+mn-lt"/>
                          <a:ea typeface="+mn-ea"/>
                          <a:cs typeface="+mn-cs"/>
                        </a:rPr>
                        <a:t>anad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ZD</a:t>
                      </a:r>
                      <a:r>
                        <a:rPr kumimoji="0" lang="es-ES" sz="1050" b="0" i="0" u="none" strike="noStrike" kern="1200" cap="none" spc="0" normalizeH="0" baseline="0" noProof="0" dirty="0">
                          <a:ln>
                            <a:noFill/>
                          </a:ln>
                          <a:solidFill>
                            <a:srgbClr val="6A7292"/>
                          </a:solidFill>
                          <a:effectLst/>
                          <a:uLnTx/>
                          <a:uFillTx/>
                          <a:latin typeface="+mn-lt"/>
                          <a:ea typeface="+mn-ea"/>
                          <a:cs typeface="+mn-cs"/>
                        </a:rPr>
                        <a:t>A</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tc>
                  <a:txBody>
                    <a:bodyPr/>
                    <a:lstStyle/>
                    <a:p>
                      <a:endParaRPr lang="en-US"/>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2437388122"/>
                  </a:ext>
                </a:extLst>
              </a:tr>
            </a:tbl>
          </a:graphicData>
        </a:graphic>
      </p:graphicFrame>
      <p:graphicFrame>
        <p:nvGraphicFramePr>
          <p:cNvPr id="12" name="Tableau 11"/>
          <p:cNvGraphicFramePr>
            <a:graphicFrameLocks noGrp="1"/>
          </p:cNvGraphicFramePr>
          <p:nvPr/>
        </p:nvGraphicFramePr>
        <p:xfrm>
          <a:off x="4792851" y="4978563"/>
          <a:ext cx="1928812" cy="986400"/>
        </p:xfrm>
        <a:graphic>
          <a:graphicData uri="http://schemas.openxmlformats.org/drawingml/2006/table">
            <a:tbl>
              <a:tblPr firstRow="1" bandRow="1">
                <a:tableStyleId>{5C22544A-7EE6-4342-B048-85BDC9FD1C3A}</a:tableStyleId>
              </a:tblPr>
              <a:tblGrid>
                <a:gridCol w="685800">
                  <a:extLst>
                    <a:ext uri="{9D8B030D-6E8A-4147-A177-3AD203B41FA5}">
                      <a16:colId xmlns:a16="http://schemas.microsoft.com/office/drawing/2014/main" val="3847868841"/>
                    </a:ext>
                  </a:extLst>
                </a:gridCol>
                <a:gridCol w="85725">
                  <a:extLst>
                    <a:ext uri="{9D8B030D-6E8A-4147-A177-3AD203B41FA5}">
                      <a16:colId xmlns:a16="http://schemas.microsoft.com/office/drawing/2014/main" val="542603382"/>
                    </a:ext>
                  </a:extLst>
                </a:gridCol>
                <a:gridCol w="1157287">
                  <a:extLst>
                    <a:ext uri="{9D8B030D-6E8A-4147-A177-3AD203B41FA5}">
                      <a16:colId xmlns:a16="http://schemas.microsoft.com/office/drawing/2014/main" val="1317281098"/>
                    </a:ext>
                  </a:extLst>
                </a:gridCol>
              </a:tblGrid>
              <a:tr h="18288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200" b="1" i="0" u="none" strike="noStrike" kern="1200" cap="none" spc="0" normalizeH="0" baseline="0" noProof="0" dirty="0">
                          <a:ln>
                            <a:noFill/>
                          </a:ln>
                          <a:solidFill>
                            <a:schemeClr val="accent1"/>
                          </a:solidFill>
                          <a:effectLst/>
                          <a:uLnTx/>
                          <a:uFillTx/>
                          <a:latin typeface="+mn-lt"/>
                          <a:ea typeface="+mn-ea"/>
                          <a:cs typeface="+mn-cs"/>
                        </a:rPr>
                        <a:t>ZAHODNA</a:t>
                      </a:r>
                      <a:r>
                        <a:rPr kumimoji="0" lang="fr-FR" sz="1200" b="1" i="0" u="none" strike="noStrike" kern="1200" cap="none" spc="0" normalizeH="0" baseline="0" noProof="0" dirty="0">
                          <a:ln>
                            <a:noFill/>
                          </a:ln>
                          <a:solidFill>
                            <a:schemeClr val="accent1"/>
                          </a:solidFill>
                          <a:effectLst/>
                          <a:uLnTx/>
                          <a:uFillTx/>
                          <a:latin typeface="+mn-lt"/>
                          <a:ea typeface="+mn-ea"/>
                          <a:cs typeface="+mn-cs"/>
                        </a:rPr>
                        <a:t> E</a:t>
                      </a:r>
                      <a:r>
                        <a:rPr kumimoji="0" lang="sl-SI" sz="1200" b="1" i="0" u="none" strike="noStrike" kern="1200" cap="none" spc="0" normalizeH="0" baseline="0" noProof="0" dirty="0">
                          <a:ln>
                            <a:noFill/>
                          </a:ln>
                          <a:solidFill>
                            <a:schemeClr val="accent1"/>
                          </a:solidFill>
                          <a:effectLst/>
                          <a:uLnTx/>
                          <a:uFillTx/>
                          <a:latin typeface="+mn-lt"/>
                          <a:ea typeface="+mn-ea"/>
                          <a:cs typeface="+mn-cs"/>
                        </a:rPr>
                        <a:t>V</a:t>
                      </a:r>
                      <a:r>
                        <a:rPr kumimoji="0" lang="fr-FR" sz="1200" b="1" i="0" u="none" strike="noStrike" kern="1200" cap="none" spc="0" normalizeH="0" baseline="0" noProof="0" dirty="0">
                          <a:ln>
                            <a:noFill/>
                          </a:ln>
                          <a:solidFill>
                            <a:schemeClr val="accent1"/>
                          </a:solidFill>
                          <a:effectLst/>
                          <a:uLnTx/>
                          <a:uFillTx/>
                          <a:latin typeface="+mn-lt"/>
                          <a:ea typeface="+mn-ea"/>
                          <a:cs typeface="+mn-cs"/>
                        </a:rPr>
                        <a:t>ROP</a:t>
                      </a:r>
                      <a:r>
                        <a:rPr kumimoji="0" lang="sl-SI" sz="1200" b="1" i="0" u="none" strike="noStrike" kern="1200" cap="none" spc="0" normalizeH="0" baseline="0" noProof="0" dirty="0">
                          <a:ln>
                            <a:noFill/>
                          </a:ln>
                          <a:solidFill>
                            <a:schemeClr val="accent1"/>
                          </a:solidFill>
                          <a:effectLst/>
                          <a:uLnTx/>
                          <a:uFillTx/>
                          <a:latin typeface="+mn-lt"/>
                          <a:ea typeface="+mn-ea"/>
                          <a:cs typeface="+mn-cs"/>
                        </a:rPr>
                        <a:t>A</a:t>
                      </a:r>
                      <a:endParaRPr kumimoji="0" lang="fr-FR" sz="1200" b="1" i="0" u="none" strike="noStrike" kern="1200" cap="none" spc="0" normalizeH="0" baseline="0" noProof="0" dirty="0">
                        <a:ln>
                          <a:noFill/>
                        </a:ln>
                        <a:solidFill>
                          <a:schemeClr val="accent1"/>
                        </a:solidFill>
                        <a:effectLst/>
                        <a:uLnTx/>
                        <a:uFillTx/>
                        <a:latin typeface="+mn-lt"/>
                        <a:ea typeface="+mn-ea"/>
                        <a:cs typeface="+mn-cs"/>
                      </a:endParaRPr>
                    </a:p>
                  </a:txBody>
                  <a:tcPr marL="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hMerge="1">
                  <a:txBody>
                    <a:bodyPr/>
                    <a:lstStyle/>
                    <a:p>
                      <a:endParaRPr lang="fr-FR"/>
                    </a:p>
                  </a:txBody>
                  <a:tcPr/>
                </a:tc>
                <a:tc hMerge="1">
                  <a:txBody>
                    <a:bodyPr/>
                    <a:lstStyle/>
                    <a:p>
                      <a:endParaRPr lang="fr-FR" dirty="0"/>
                    </a:p>
                  </a:txBody>
                  <a:tcPr/>
                </a:tc>
                <a:extLst>
                  <a:ext uri="{0D108BD9-81ED-4DB2-BD59-A6C34878D82A}">
                    <a16:rowId xmlns:a16="http://schemas.microsoft.com/office/drawing/2014/main" val="373232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Belg</a:t>
                      </a:r>
                      <a:r>
                        <a:rPr kumimoji="0" lang="sl-SI" sz="1050" b="0" i="0" u="none" strike="noStrike" kern="1200" cap="none" spc="0" normalizeH="0" baseline="0" noProof="0" dirty="0" err="1">
                          <a:ln>
                            <a:noFill/>
                          </a:ln>
                          <a:solidFill>
                            <a:srgbClr val="6A7292"/>
                          </a:solidFill>
                          <a:effectLst/>
                          <a:uLnTx/>
                          <a:uFillTx/>
                          <a:latin typeface="+mn-lt"/>
                          <a:ea typeface="+mn-ea"/>
                          <a:cs typeface="+mn-cs"/>
                        </a:rPr>
                        <a:t>ij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Franc</a:t>
                      </a:r>
                      <a:r>
                        <a:rPr kumimoji="0" lang="sl-SI" sz="1050" b="0" i="0" u="none" strike="noStrike" kern="1200" cap="none" spc="0" normalizeH="0" baseline="0" noProof="0" dirty="0" err="1">
                          <a:ln>
                            <a:noFill/>
                          </a:ln>
                          <a:solidFill>
                            <a:srgbClr val="6A7292"/>
                          </a:solidFill>
                          <a:effectLst/>
                          <a:uLnTx/>
                          <a:uFillTx/>
                          <a:latin typeface="+mn-lt"/>
                          <a:ea typeface="+mn-ea"/>
                          <a:cs typeface="+mn-cs"/>
                        </a:rPr>
                        <a:t>ija</a:t>
                      </a:r>
                      <a:r>
                        <a:rPr kumimoji="0" lang="es-ES" sz="1050" b="0" i="0" u="none" strike="noStrike" kern="1200" cap="none" spc="0" normalizeH="0" baseline="0" noProof="0" dirty="0">
                          <a:ln>
                            <a:noFill/>
                          </a:ln>
                          <a:solidFill>
                            <a:srgbClr val="6A7292"/>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Ir</a:t>
                      </a:r>
                      <a:r>
                        <a:rPr kumimoji="0" lang="sl-SI" sz="1050" b="0" i="0" u="none" strike="noStrike" kern="1200" cap="none" spc="0" normalizeH="0" baseline="0" noProof="0" dirty="0" err="1">
                          <a:ln>
                            <a:noFill/>
                          </a:ln>
                          <a:solidFill>
                            <a:srgbClr val="6A7292"/>
                          </a:solidFill>
                          <a:effectLst/>
                          <a:uLnTx/>
                          <a:uFillTx/>
                          <a:latin typeface="+mn-lt"/>
                          <a:ea typeface="+mn-ea"/>
                          <a:cs typeface="+mn-cs"/>
                        </a:rPr>
                        <a:t>sk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tc>
                  <a:txBody>
                    <a:bodyPr/>
                    <a:lstStyle/>
                    <a:p>
                      <a:endParaRPr lang="fr-FR" sz="100" dirty="0"/>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Lu</a:t>
                      </a:r>
                      <a:r>
                        <a:rPr kumimoji="0" lang="sl-SI" sz="1050" b="0" i="0" u="none" strike="noStrike" kern="1200" cap="none" spc="0" normalizeH="0" baseline="0" noProof="0" dirty="0">
                          <a:ln>
                            <a:noFill/>
                          </a:ln>
                          <a:solidFill>
                            <a:srgbClr val="6A7292"/>
                          </a:solidFill>
                          <a:effectLst/>
                          <a:uLnTx/>
                          <a:uFillTx/>
                          <a:latin typeface="+mn-lt"/>
                          <a:ea typeface="+mn-ea"/>
                          <a:cs typeface="+mn-cs"/>
                        </a:rPr>
                        <a:t>ks</a:t>
                      </a:r>
                      <a:r>
                        <a:rPr kumimoji="0" lang="es-ES" sz="1050" b="0" i="0" u="none" strike="noStrike" kern="1200" cap="none" spc="0" normalizeH="0" baseline="0" noProof="0" dirty="0" err="1">
                          <a:ln>
                            <a:noFill/>
                          </a:ln>
                          <a:solidFill>
                            <a:srgbClr val="6A7292"/>
                          </a:solidFill>
                          <a:effectLst/>
                          <a:uLnTx/>
                          <a:uFillTx/>
                          <a:latin typeface="+mn-lt"/>
                          <a:ea typeface="+mn-ea"/>
                          <a:cs typeface="+mn-cs"/>
                        </a:rPr>
                        <a:t>emburg</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Švic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Združeno kraljestvo</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extLst>
                  <a:ext uri="{0D108BD9-81ED-4DB2-BD59-A6C34878D82A}">
                    <a16:rowId xmlns:a16="http://schemas.microsoft.com/office/drawing/2014/main" val="2437388122"/>
                  </a:ext>
                </a:extLst>
              </a:tr>
            </a:tbl>
          </a:graphicData>
        </a:graphic>
      </p:graphicFrame>
      <p:graphicFrame>
        <p:nvGraphicFramePr>
          <p:cNvPr id="13" name="Tableau 12"/>
          <p:cNvGraphicFramePr>
            <a:graphicFrameLocks noGrp="1"/>
          </p:cNvGraphicFramePr>
          <p:nvPr/>
        </p:nvGraphicFramePr>
        <p:xfrm>
          <a:off x="4369513" y="1946011"/>
          <a:ext cx="1877867" cy="986400"/>
        </p:xfrm>
        <a:graphic>
          <a:graphicData uri="http://schemas.openxmlformats.org/drawingml/2006/table">
            <a:tbl>
              <a:tblPr firstRow="1" bandRow="1">
                <a:tableStyleId>{5C22544A-7EE6-4342-B048-85BDC9FD1C3A}</a:tableStyleId>
              </a:tblPr>
              <a:tblGrid>
                <a:gridCol w="857287">
                  <a:extLst>
                    <a:ext uri="{9D8B030D-6E8A-4147-A177-3AD203B41FA5}">
                      <a16:colId xmlns:a16="http://schemas.microsoft.com/office/drawing/2014/main" val="3847868841"/>
                    </a:ext>
                  </a:extLst>
                </a:gridCol>
                <a:gridCol w="81646">
                  <a:extLst>
                    <a:ext uri="{9D8B030D-6E8A-4147-A177-3AD203B41FA5}">
                      <a16:colId xmlns:a16="http://schemas.microsoft.com/office/drawing/2014/main" val="542603382"/>
                    </a:ext>
                  </a:extLst>
                </a:gridCol>
                <a:gridCol w="938934">
                  <a:extLst>
                    <a:ext uri="{9D8B030D-6E8A-4147-A177-3AD203B41FA5}">
                      <a16:colId xmlns:a16="http://schemas.microsoft.com/office/drawing/2014/main" val="1317281098"/>
                    </a:ext>
                  </a:extLst>
                </a:gridCol>
              </a:tblGrid>
              <a:tr h="18288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200" b="1" i="0" u="none" strike="noStrike" kern="1200" cap="none" spc="0" normalizeH="0" baseline="0" noProof="0" dirty="0">
                          <a:ln>
                            <a:noFill/>
                          </a:ln>
                          <a:solidFill>
                            <a:schemeClr val="accent1"/>
                          </a:solidFill>
                          <a:effectLst/>
                          <a:uLnTx/>
                          <a:uFillTx/>
                          <a:latin typeface="+mn-lt"/>
                          <a:ea typeface="+mn-ea"/>
                          <a:cs typeface="+mn-cs"/>
                        </a:rPr>
                        <a:t>SEVERNA</a:t>
                      </a:r>
                      <a:r>
                        <a:rPr kumimoji="0" lang="fr-FR" sz="1200" b="1" i="0" u="none" strike="noStrike" kern="1200" cap="none" spc="0" normalizeH="0" baseline="0" noProof="0" dirty="0">
                          <a:ln>
                            <a:noFill/>
                          </a:ln>
                          <a:solidFill>
                            <a:schemeClr val="accent1"/>
                          </a:solidFill>
                          <a:effectLst/>
                          <a:uLnTx/>
                          <a:uFillTx/>
                          <a:latin typeface="+mn-lt"/>
                          <a:ea typeface="+mn-ea"/>
                          <a:cs typeface="+mn-cs"/>
                        </a:rPr>
                        <a:t> E</a:t>
                      </a:r>
                      <a:r>
                        <a:rPr kumimoji="0" lang="sl-SI" sz="1200" b="1" i="0" u="none" strike="noStrike" kern="1200" cap="none" spc="0" normalizeH="0" baseline="0" noProof="0" dirty="0">
                          <a:ln>
                            <a:noFill/>
                          </a:ln>
                          <a:solidFill>
                            <a:schemeClr val="accent1"/>
                          </a:solidFill>
                          <a:effectLst/>
                          <a:uLnTx/>
                          <a:uFillTx/>
                          <a:latin typeface="+mn-lt"/>
                          <a:ea typeface="+mn-ea"/>
                          <a:cs typeface="+mn-cs"/>
                        </a:rPr>
                        <a:t>V</a:t>
                      </a:r>
                      <a:r>
                        <a:rPr kumimoji="0" lang="fr-FR" sz="1200" b="1" i="0" u="none" strike="noStrike" kern="1200" cap="none" spc="0" normalizeH="0" baseline="0" noProof="0" dirty="0">
                          <a:ln>
                            <a:noFill/>
                          </a:ln>
                          <a:solidFill>
                            <a:schemeClr val="accent1"/>
                          </a:solidFill>
                          <a:effectLst/>
                          <a:uLnTx/>
                          <a:uFillTx/>
                          <a:latin typeface="+mn-lt"/>
                          <a:ea typeface="+mn-ea"/>
                          <a:cs typeface="+mn-cs"/>
                        </a:rPr>
                        <a:t>ROP</a:t>
                      </a:r>
                      <a:r>
                        <a:rPr kumimoji="0" lang="sl-SI" sz="1200" b="1" i="0" u="none" strike="noStrike" kern="1200" cap="none" spc="0" normalizeH="0" baseline="0" noProof="0" dirty="0">
                          <a:ln>
                            <a:noFill/>
                          </a:ln>
                          <a:solidFill>
                            <a:schemeClr val="accent1"/>
                          </a:solidFill>
                          <a:effectLst/>
                          <a:uLnTx/>
                          <a:uFillTx/>
                          <a:latin typeface="+mn-lt"/>
                          <a:ea typeface="+mn-ea"/>
                          <a:cs typeface="+mn-cs"/>
                        </a:rPr>
                        <a:t>A</a:t>
                      </a:r>
                      <a:endParaRPr kumimoji="0" lang="fr-FR" sz="1200" b="1" i="0" u="none" strike="noStrike" kern="1200" cap="none" spc="0" normalizeH="0" baseline="0" noProof="0" dirty="0">
                        <a:ln>
                          <a:noFill/>
                        </a:ln>
                        <a:solidFill>
                          <a:schemeClr val="accent1"/>
                        </a:solidFill>
                        <a:effectLst/>
                        <a:uLnTx/>
                        <a:uFillTx/>
                        <a:latin typeface="+mn-lt"/>
                        <a:ea typeface="+mn-ea"/>
                        <a:cs typeface="+mn-cs"/>
                      </a:endParaRPr>
                    </a:p>
                  </a:txBody>
                  <a:tcPr marL="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hMerge="1">
                  <a:txBody>
                    <a:bodyPr/>
                    <a:lstStyle/>
                    <a:p>
                      <a:endParaRPr lang="fr-FR"/>
                    </a:p>
                  </a:txBody>
                  <a:tcPr/>
                </a:tc>
                <a:tc hMerge="1">
                  <a:txBody>
                    <a:bodyPr/>
                    <a:lstStyle/>
                    <a:p>
                      <a:endParaRPr lang="fr-FR" dirty="0"/>
                    </a:p>
                  </a:txBody>
                  <a:tcPr/>
                </a:tc>
                <a:extLst>
                  <a:ext uri="{0D108BD9-81ED-4DB2-BD59-A6C34878D82A}">
                    <a16:rowId xmlns:a16="http://schemas.microsoft.com/office/drawing/2014/main" val="373232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srgbClr val="6A7292"/>
                          </a:solidFill>
                          <a:effectLst/>
                          <a:uLnTx/>
                          <a:uFillTx/>
                          <a:latin typeface="+mn-lt"/>
                          <a:ea typeface="+mn-ea"/>
                          <a:cs typeface="+mn-cs"/>
                        </a:rPr>
                        <a:t>D</a:t>
                      </a:r>
                      <a:r>
                        <a:rPr kumimoji="0" lang="sl-SI" sz="1050" b="0" i="0" u="none" strike="noStrike" kern="1200" cap="none" spc="0" normalizeH="0" baseline="0" noProof="0" dirty="0">
                          <a:ln>
                            <a:noFill/>
                          </a:ln>
                          <a:solidFill>
                            <a:srgbClr val="6A7292"/>
                          </a:solidFill>
                          <a:effectLst/>
                          <a:uLnTx/>
                          <a:uFillTx/>
                          <a:latin typeface="+mn-lt"/>
                          <a:ea typeface="+mn-ea"/>
                          <a:cs typeface="+mn-cs"/>
                        </a:rPr>
                        <a:t>a</a:t>
                      </a:r>
                      <a:r>
                        <a:rPr kumimoji="0" lang="de-DE" sz="1050" b="0" i="0" u="none" strike="noStrike" kern="1200" cap="none" spc="0" normalizeH="0" baseline="0" noProof="0" dirty="0">
                          <a:ln>
                            <a:noFill/>
                          </a:ln>
                          <a:solidFill>
                            <a:srgbClr val="6A7292"/>
                          </a:solidFill>
                          <a:effectLst/>
                          <a:uLnTx/>
                          <a:uFillTx/>
                          <a:latin typeface="+mn-lt"/>
                          <a:ea typeface="+mn-ea"/>
                          <a:cs typeface="+mn-cs"/>
                        </a:rPr>
                        <a:t>n</a:t>
                      </a:r>
                      <a:r>
                        <a:rPr kumimoji="0" lang="sl-SI" sz="1050" b="0" i="0" u="none" strike="noStrike" kern="1200" cap="none" spc="0" normalizeH="0" baseline="0" noProof="0" dirty="0" err="1">
                          <a:ln>
                            <a:noFill/>
                          </a:ln>
                          <a:solidFill>
                            <a:srgbClr val="6A7292"/>
                          </a:solidFill>
                          <a:effectLst/>
                          <a:uLnTx/>
                          <a:uFillTx/>
                          <a:latin typeface="+mn-lt"/>
                          <a:ea typeface="+mn-ea"/>
                          <a:cs typeface="+mn-cs"/>
                        </a:rPr>
                        <a:t>ska</a:t>
                      </a:r>
                      <a:endParaRPr kumimoji="0" lang="de-DE"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srgbClr val="6A7292"/>
                          </a:solidFill>
                          <a:effectLst/>
                          <a:uLnTx/>
                          <a:uFillTx/>
                          <a:latin typeface="+mn-lt"/>
                          <a:ea typeface="+mn-ea"/>
                          <a:cs typeface="+mn-cs"/>
                        </a:rPr>
                        <a:t>Fin</a:t>
                      </a:r>
                      <a:r>
                        <a:rPr kumimoji="0" lang="sl-SI" sz="1050" b="0" i="0" u="none" strike="noStrike" kern="1200" cap="none" spc="0" normalizeH="0" baseline="0" noProof="0" dirty="0" err="1">
                          <a:ln>
                            <a:noFill/>
                          </a:ln>
                          <a:solidFill>
                            <a:srgbClr val="6A7292"/>
                          </a:solidFill>
                          <a:effectLst/>
                          <a:uLnTx/>
                          <a:uFillTx/>
                          <a:latin typeface="+mn-lt"/>
                          <a:ea typeface="+mn-ea"/>
                          <a:cs typeface="+mn-cs"/>
                        </a:rPr>
                        <a:t>ska</a:t>
                      </a:r>
                      <a:endParaRPr kumimoji="0" lang="de-DE"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Nemčija</a:t>
                      </a:r>
                      <a:endParaRPr kumimoji="0" lang="de-DE"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50" b="0" i="0" u="none" strike="noStrike" kern="1200" cap="none" spc="0" normalizeH="0" baseline="0" noProof="0" dirty="0">
                          <a:ln>
                            <a:noFill/>
                          </a:ln>
                          <a:solidFill>
                            <a:srgbClr val="6A7292"/>
                          </a:solidFill>
                          <a:effectLst/>
                          <a:uLnTx/>
                          <a:uFillTx/>
                          <a:latin typeface="+mn-lt"/>
                          <a:ea typeface="+mn-ea"/>
                          <a:cs typeface="+mn-cs"/>
                        </a:rPr>
                        <a:t>I</a:t>
                      </a:r>
                      <a:r>
                        <a:rPr kumimoji="0" lang="sl-SI" sz="1050" b="0" i="0" u="none" strike="noStrike" kern="1200" cap="none" spc="0" normalizeH="0" baseline="0" noProof="0" dirty="0" err="1">
                          <a:ln>
                            <a:noFill/>
                          </a:ln>
                          <a:solidFill>
                            <a:srgbClr val="6A7292"/>
                          </a:solidFill>
                          <a:effectLst/>
                          <a:uLnTx/>
                          <a:uFillTx/>
                          <a:latin typeface="+mn-lt"/>
                          <a:ea typeface="+mn-ea"/>
                          <a:cs typeface="+mn-cs"/>
                        </a:rPr>
                        <a:t>slandija</a:t>
                      </a:r>
                      <a:endParaRPr kumimoji="0" lang="de-DE"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tc>
                  <a:txBody>
                    <a:bodyPr/>
                    <a:lstStyle/>
                    <a:p>
                      <a:endParaRPr lang="fr-FR" sz="100" dirty="0"/>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L</a:t>
                      </a:r>
                      <a:r>
                        <a:rPr kumimoji="0" lang="sl-SI" sz="1050" b="0" i="0" u="none" strike="noStrike" kern="1200" cap="none" spc="0" normalizeH="0" baseline="0" noProof="0" dirty="0" err="1">
                          <a:ln>
                            <a:noFill/>
                          </a:ln>
                          <a:solidFill>
                            <a:srgbClr val="6A7292"/>
                          </a:solidFill>
                          <a:effectLst/>
                          <a:uLnTx/>
                          <a:uFillTx/>
                          <a:latin typeface="+mn-lt"/>
                          <a:ea typeface="+mn-ea"/>
                          <a:cs typeface="+mn-cs"/>
                        </a:rPr>
                        <a:t>ihtenštajn</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N</a:t>
                      </a:r>
                      <a:r>
                        <a:rPr kumimoji="0" lang="sl-SI" sz="1050" b="0" i="0" u="none" strike="noStrike" kern="1200" cap="none" spc="0" normalizeH="0" baseline="0" noProof="0" dirty="0" err="1">
                          <a:ln>
                            <a:noFill/>
                          </a:ln>
                          <a:solidFill>
                            <a:srgbClr val="6A7292"/>
                          </a:solidFill>
                          <a:effectLst/>
                          <a:uLnTx/>
                          <a:uFillTx/>
                          <a:latin typeface="+mn-lt"/>
                          <a:ea typeface="+mn-ea"/>
                          <a:cs typeface="+mn-cs"/>
                        </a:rPr>
                        <a:t>izozemsk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No</a:t>
                      </a:r>
                      <a:r>
                        <a:rPr kumimoji="0" lang="sl-SI" sz="1050" b="0" i="0" u="none" strike="noStrike" kern="1200" cap="none" spc="0" normalizeH="0" baseline="0" noProof="0" dirty="0" err="1">
                          <a:ln>
                            <a:noFill/>
                          </a:ln>
                          <a:solidFill>
                            <a:srgbClr val="6A7292"/>
                          </a:solidFill>
                          <a:effectLst/>
                          <a:uLnTx/>
                          <a:uFillTx/>
                          <a:latin typeface="+mn-lt"/>
                          <a:ea typeface="+mn-ea"/>
                          <a:cs typeface="+mn-cs"/>
                        </a:rPr>
                        <a:t>rvešk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Švedsk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extLst>
                  <a:ext uri="{0D108BD9-81ED-4DB2-BD59-A6C34878D82A}">
                    <a16:rowId xmlns:a16="http://schemas.microsoft.com/office/drawing/2014/main" val="2437388122"/>
                  </a:ext>
                </a:extLst>
              </a:tr>
            </a:tbl>
          </a:graphicData>
        </a:graphic>
      </p:graphicFrame>
      <p:graphicFrame>
        <p:nvGraphicFramePr>
          <p:cNvPr id="15" name="Tableau 14"/>
          <p:cNvGraphicFramePr>
            <a:graphicFrameLocks noGrp="1"/>
          </p:cNvGraphicFramePr>
          <p:nvPr/>
        </p:nvGraphicFramePr>
        <p:xfrm>
          <a:off x="4238674" y="3194070"/>
          <a:ext cx="1953827" cy="1629872"/>
        </p:xfrm>
        <a:graphic>
          <a:graphicData uri="http://schemas.openxmlformats.org/drawingml/2006/table">
            <a:tbl>
              <a:tblPr firstRow="1" bandRow="1">
                <a:tableStyleId>{5C22544A-7EE6-4342-B048-85BDC9FD1C3A}</a:tableStyleId>
              </a:tblPr>
              <a:tblGrid>
                <a:gridCol w="974159">
                  <a:extLst>
                    <a:ext uri="{9D8B030D-6E8A-4147-A177-3AD203B41FA5}">
                      <a16:colId xmlns:a16="http://schemas.microsoft.com/office/drawing/2014/main" val="3847868841"/>
                    </a:ext>
                  </a:extLst>
                </a:gridCol>
                <a:gridCol w="29158">
                  <a:extLst>
                    <a:ext uri="{9D8B030D-6E8A-4147-A177-3AD203B41FA5}">
                      <a16:colId xmlns:a16="http://schemas.microsoft.com/office/drawing/2014/main" val="20001"/>
                    </a:ext>
                  </a:extLst>
                </a:gridCol>
                <a:gridCol w="950510">
                  <a:extLst>
                    <a:ext uri="{9D8B030D-6E8A-4147-A177-3AD203B41FA5}">
                      <a16:colId xmlns:a16="http://schemas.microsoft.com/office/drawing/2014/main" val="1317281098"/>
                    </a:ext>
                  </a:extLst>
                </a:gridCol>
              </a:tblGrid>
              <a:tr h="258272">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mn-lt"/>
                          <a:ea typeface="+mn-ea"/>
                          <a:cs typeface="+mn-cs"/>
                        </a:rPr>
                        <a:t>CENTRA</a:t>
                      </a:r>
                      <a:r>
                        <a:rPr kumimoji="0" lang="sl-SI" sz="1200" b="1" i="0" u="none" strike="noStrike" kern="1200" cap="none" spc="0" normalizeH="0" baseline="0" noProof="0" dirty="0">
                          <a:ln>
                            <a:noFill/>
                          </a:ln>
                          <a:solidFill>
                            <a:schemeClr val="accent1"/>
                          </a:solidFill>
                          <a:effectLst/>
                          <a:uLnTx/>
                          <a:uFillTx/>
                          <a:latin typeface="+mn-lt"/>
                          <a:ea typeface="+mn-ea"/>
                          <a:cs typeface="+mn-cs"/>
                        </a:rPr>
                        <a:t>LNA</a:t>
                      </a:r>
                      <a:r>
                        <a:rPr kumimoji="0" lang="en-GB" sz="1200" b="1" i="0" u="none" strike="noStrike" kern="1200" cap="none" spc="0" normalizeH="0" baseline="0" noProof="0" dirty="0">
                          <a:ln>
                            <a:noFill/>
                          </a:ln>
                          <a:solidFill>
                            <a:schemeClr val="accent1"/>
                          </a:solidFill>
                          <a:effectLst/>
                          <a:uLnTx/>
                          <a:uFillTx/>
                          <a:latin typeface="+mn-lt"/>
                          <a:ea typeface="+mn-ea"/>
                          <a:cs typeface="+mn-cs"/>
                        </a:rPr>
                        <a:t> E</a:t>
                      </a:r>
                      <a:r>
                        <a:rPr kumimoji="0" lang="sl-SI" sz="1200" b="1" i="0" u="none" strike="noStrike" kern="1200" cap="none" spc="0" normalizeH="0" baseline="0" noProof="0" dirty="0">
                          <a:ln>
                            <a:noFill/>
                          </a:ln>
                          <a:solidFill>
                            <a:schemeClr val="accent1"/>
                          </a:solidFill>
                          <a:effectLst/>
                          <a:uLnTx/>
                          <a:uFillTx/>
                          <a:latin typeface="+mn-lt"/>
                          <a:ea typeface="+mn-ea"/>
                          <a:cs typeface="+mn-cs"/>
                        </a:rPr>
                        <a:t>V</a:t>
                      </a:r>
                      <a:r>
                        <a:rPr kumimoji="0" lang="en-GB" sz="1200" b="1" i="0" u="none" strike="noStrike" kern="1200" cap="none" spc="0" normalizeH="0" baseline="0" noProof="0" dirty="0">
                          <a:ln>
                            <a:noFill/>
                          </a:ln>
                          <a:solidFill>
                            <a:schemeClr val="accent1"/>
                          </a:solidFill>
                          <a:effectLst/>
                          <a:uLnTx/>
                          <a:uFillTx/>
                          <a:latin typeface="+mn-lt"/>
                          <a:ea typeface="+mn-ea"/>
                          <a:cs typeface="+mn-cs"/>
                        </a:rPr>
                        <a:t>ROP</a:t>
                      </a:r>
                      <a:r>
                        <a:rPr kumimoji="0" lang="sl-SI" sz="1200" b="1" i="0" u="none" strike="noStrike" kern="1200" cap="none" spc="0" normalizeH="0" baseline="0" noProof="0" dirty="0">
                          <a:ln>
                            <a:noFill/>
                          </a:ln>
                          <a:solidFill>
                            <a:schemeClr val="accent1"/>
                          </a:solidFill>
                          <a:effectLst/>
                          <a:uLnTx/>
                          <a:uFillTx/>
                          <a:latin typeface="+mn-lt"/>
                          <a:ea typeface="+mn-ea"/>
                          <a:cs typeface="+mn-cs"/>
                        </a:rPr>
                        <a:t>A</a:t>
                      </a:r>
                      <a:endParaRPr kumimoji="0" lang="en-GB" sz="1200" b="1" i="0" u="none" strike="noStrike" kern="1200" cap="none" spc="0" normalizeH="0" baseline="0" noProof="0" dirty="0">
                        <a:ln>
                          <a:noFill/>
                        </a:ln>
                        <a:solidFill>
                          <a:schemeClr val="accent1"/>
                        </a:solidFill>
                        <a:effectLst/>
                        <a:uLnTx/>
                        <a:uFillTx/>
                        <a:latin typeface="+mn-lt"/>
                        <a:ea typeface="+mn-ea"/>
                        <a:cs typeface="+mn-cs"/>
                      </a:endParaRPr>
                    </a:p>
                  </a:txBody>
                  <a:tcPr marL="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hMerge="1">
                  <a:txBody>
                    <a:bodyPr/>
                    <a:lstStyle/>
                    <a:p>
                      <a:endParaRPr lang="fr-FR"/>
                    </a:p>
                  </a:txBody>
                  <a:tcPr/>
                </a:tc>
                <a:tc hMerge="1">
                  <a:txBody>
                    <a:bodyPr/>
                    <a:lstStyle/>
                    <a:p>
                      <a:endParaRPr lang="fr-FR" dirty="0"/>
                    </a:p>
                  </a:txBody>
                  <a:tcPr/>
                </a:tc>
                <a:extLst>
                  <a:ext uri="{0D108BD9-81ED-4DB2-BD59-A6C34878D82A}">
                    <a16:rowId xmlns:a16="http://schemas.microsoft.com/office/drawing/2014/main" val="373232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A</a:t>
                      </a:r>
                      <a:r>
                        <a:rPr kumimoji="0" lang="sl-SI" sz="1050" b="0" i="0" u="none" strike="noStrike" kern="1200" cap="none" spc="0" normalizeH="0" baseline="0" noProof="0" dirty="0" err="1">
                          <a:ln>
                            <a:noFill/>
                          </a:ln>
                          <a:solidFill>
                            <a:srgbClr val="6A7292"/>
                          </a:solidFill>
                          <a:effectLst/>
                          <a:uLnTx/>
                          <a:uFillTx/>
                          <a:latin typeface="+mn-lt"/>
                          <a:ea typeface="+mn-ea"/>
                          <a:cs typeface="+mn-cs"/>
                        </a:rPr>
                        <a:t>vstri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B</a:t>
                      </a:r>
                      <a:r>
                        <a:rPr kumimoji="0" lang="sl-SI" sz="1050" b="0" i="0" u="none" strike="noStrike" kern="1200" cap="none" spc="0" normalizeH="0" baseline="0" noProof="0" dirty="0" err="1">
                          <a:ln>
                            <a:noFill/>
                          </a:ln>
                          <a:solidFill>
                            <a:srgbClr val="6A7292"/>
                          </a:solidFill>
                          <a:effectLst/>
                          <a:uLnTx/>
                          <a:uFillTx/>
                          <a:latin typeface="+mn-lt"/>
                          <a:ea typeface="+mn-ea"/>
                          <a:cs typeface="+mn-cs"/>
                        </a:rPr>
                        <a:t>olgari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Hrvašk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Češk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6A7292"/>
                          </a:solidFill>
                          <a:effectLst/>
                          <a:uLnTx/>
                          <a:uFillTx/>
                          <a:latin typeface="+mn-lt"/>
                          <a:ea typeface="+mn-ea"/>
                          <a:cs typeface="+mn-cs"/>
                        </a:rPr>
                        <a:t>Esto</a:t>
                      </a:r>
                      <a:r>
                        <a:rPr kumimoji="0" lang="sl-SI" sz="1050" b="0" i="0" u="none" strike="noStrike" kern="1200" cap="none" spc="0" normalizeH="0" baseline="0" noProof="0" dirty="0" err="1">
                          <a:ln>
                            <a:noFill/>
                          </a:ln>
                          <a:solidFill>
                            <a:srgbClr val="6A7292"/>
                          </a:solidFill>
                          <a:effectLst/>
                          <a:uLnTx/>
                          <a:uFillTx/>
                          <a:latin typeface="+mn-lt"/>
                          <a:ea typeface="+mn-ea"/>
                          <a:cs typeface="+mn-cs"/>
                        </a:rPr>
                        <a:t>ni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Madžarsk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6A7292"/>
                          </a:solidFill>
                          <a:effectLst/>
                          <a:uLnTx/>
                          <a:uFillTx/>
                          <a:latin typeface="+mn-lt"/>
                          <a:ea typeface="+mn-ea"/>
                          <a:cs typeface="+mn-cs"/>
                        </a:rPr>
                        <a:t>Kaza</a:t>
                      </a:r>
                      <a:r>
                        <a:rPr kumimoji="0" lang="sl-SI" sz="1050" b="0" i="0" u="none" strike="noStrike" kern="1200" cap="none" spc="0" normalizeH="0" baseline="0" noProof="0" dirty="0" err="1">
                          <a:ln>
                            <a:noFill/>
                          </a:ln>
                          <a:solidFill>
                            <a:srgbClr val="6A7292"/>
                          </a:solidFill>
                          <a:effectLst/>
                          <a:uLnTx/>
                          <a:uFillTx/>
                          <a:latin typeface="+mn-lt"/>
                          <a:ea typeface="+mn-ea"/>
                          <a:cs typeface="+mn-cs"/>
                        </a:rPr>
                        <a:t>hstan</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6A7292"/>
                          </a:solidFill>
                          <a:effectLst/>
                          <a:uLnTx/>
                          <a:uFillTx/>
                          <a:latin typeface="+mn-lt"/>
                          <a:ea typeface="+mn-ea"/>
                          <a:cs typeface="+mn-cs"/>
                        </a:rPr>
                        <a:t>Latvi</a:t>
                      </a:r>
                      <a:r>
                        <a:rPr kumimoji="0" lang="sl-SI" sz="1050" b="0" i="0" u="none" strike="noStrike" kern="1200" cap="none" spc="0" normalizeH="0" baseline="0" noProof="0" dirty="0">
                          <a:ln>
                            <a:noFill/>
                          </a:ln>
                          <a:solidFill>
                            <a:srgbClr val="6A7292"/>
                          </a:solidFill>
                          <a:effectLst/>
                          <a:uLnTx/>
                          <a:uFillTx/>
                          <a:latin typeface="+mn-lt"/>
                          <a:ea typeface="+mn-ea"/>
                          <a:cs typeface="+mn-cs"/>
                        </a:rPr>
                        <a:t>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tc>
                  <a:txBody>
                    <a:bodyPr/>
                    <a:lstStyle/>
                    <a:p>
                      <a:endParaRPr lang="en-GB" noProof="0" dirty="0"/>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Lit</a:t>
                      </a:r>
                      <a:r>
                        <a:rPr kumimoji="0" lang="sl-SI" sz="1050" b="0" i="0" u="none" strike="noStrike" kern="1200" cap="none" spc="0" normalizeH="0" baseline="0" noProof="0" dirty="0" err="1">
                          <a:ln>
                            <a:noFill/>
                          </a:ln>
                          <a:solidFill>
                            <a:srgbClr val="6A7292"/>
                          </a:solidFill>
                          <a:effectLst/>
                          <a:uLnTx/>
                          <a:uFillTx/>
                          <a:latin typeface="+mn-lt"/>
                          <a:ea typeface="+mn-ea"/>
                          <a:cs typeface="+mn-cs"/>
                        </a:rPr>
                        <a:t>va</a:t>
                      </a:r>
                      <a:r>
                        <a:rPr kumimoji="0" lang="en-GB" sz="1050" b="0" i="0" u="none" strike="noStrike" kern="1200" cap="none" spc="0" normalizeH="0" baseline="0" noProof="0" dirty="0">
                          <a:ln>
                            <a:noFill/>
                          </a:ln>
                          <a:solidFill>
                            <a:srgbClr val="6A7292"/>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Pol</a:t>
                      </a:r>
                      <a:r>
                        <a:rPr kumimoji="0" lang="sl-SI" sz="1050" b="0" i="0" u="none" strike="noStrike" kern="1200" cap="none" spc="0" normalizeH="0" baseline="0" noProof="0" dirty="0" err="1">
                          <a:ln>
                            <a:noFill/>
                          </a:ln>
                          <a:solidFill>
                            <a:srgbClr val="6A7292"/>
                          </a:solidFill>
                          <a:effectLst/>
                          <a:uLnTx/>
                          <a:uFillTx/>
                          <a:latin typeface="+mn-lt"/>
                          <a:ea typeface="+mn-ea"/>
                          <a:cs typeface="+mn-cs"/>
                        </a:rPr>
                        <a:t>jsk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Rom</a:t>
                      </a:r>
                      <a:r>
                        <a:rPr kumimoji="0" lang="sl-SI" sz="1050" b="0" i="0" u="none" strike="noStrike" kern="1200" cap="none" spc="0" normalizeH="0" baseline="0" noProof="0" dirty="0">
                          <a:ln>
                            <a:noFill/>
                          </a:ln>
                          <a:solidFill>
                            <a:srgbClr val="6A7292"/>
                          </a:solidFill>
                          <a:effectLst/>
                          <a:uLnTx/>
                          <a:uFillTx/>
                          <a:latin typeface="+mn-lt"/>
                          <a:ea typeface="+mn-ea"/>
                          <a:cs typeface="+mn-cs"/>
                        </a:rPr>
                        <a:t>uni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6A7292"/>
                          </a:solidFill>
                          <a:effectLst/>
                          <a:uLnTx/>
                          <a:uFillTx/>
                          <a:latin typeface="+mn-lt"/>
                          <a:ea typeface="+mn-ea"/>
                          <a:cs typeface="+mn-cs"/>
                        </a:rPr>
                        <a:t>Rus</a:t>
                      </a:r>
                      <a:r>
                        <a:rPr kumimoji="0" lang="sl-SI" sz="1050" b="0" i="0" u="none" strike="noStrike" kern="1200" cap="none" spc="0" normalizeH="0" baseline="0" noProof="0" dirty="0" err="1">
                          <a:ln>
                            <a:noFill/>
                          </a:ln>
                          <a:solidFill>
                            <a:srgbClr val="6A7292"/>
                          </a:solidFill>
                          <a:effectLst/>
                          <a:uLnTx/>
                          <a:uFillTx/>
                          <a:latin typeface="+mn-lt"/>
                          <a:ea typeface="+mn-ea"/>
                          <a:cs typeface="+mn-cs"/>
                        </a:rPr>
                        <a:t>i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6A7292"/>
                          </a:solidFill>
                          <a:effectLst/>
                          <a:uLnTx/>
                          <a:uFillTx/>
                          <a:latin typeface="+mn-lt"/>
                          <a:ea typeface="+mn-ea"/>
                          <a:cs typeface="+mn-cs"/>
                        </a:rPr>
                        <a:t>S</a:t>
                      </a:r>
                      <a:r>
                        <a:rPr kumimoji="0" lang="sl-SI" sz="1050" b="0" i="0" u="none" strike="noStrike" kern="1200" cap="none" spc="0" normalizeH="0" baseline="0" noProof="0" dirty="0" err="1">
                          <a:ln>
                            <a:noFill/>
                          </a:ln>
                          <a:solidFill>
                            <a:srgbClr val="6A7292"/>
                          </a:solidFill>
                          <a:effectLst/>
                          <a:uLnTx/>
                          <a:uFillTx/>
                          <a:latin typeface="+mn-lt"/>
                          <a:ea typeface="+mn-ea"/>
                          <a:cs typeface="+mn-cs"/>
                        </a:rPr>
                        <a:t>rbij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6A7292"/>
                          </a:solidFill>
                          <a:effectLst/>
                          <a:uLnTx/>
                          <a:uFillTx/>
                          <a:latin typeface="+mn-lt"/>
                          <a:ea typeface="+mn-ea"/>
                          <a:cs typeface="+mn-cs"/>
                        </a:rPr>
                        <a:t>Slova</a:t>
                      </a:r>
                      <a:r>
                        <a:rPr kumimoji="0" lang="sl-SI" sz="1050" b="0" i="0" u="none" strike="noStrike" kern="1200" cap="none" spc="0" normalizeH="0" baseline="0" noProof="0" dirty="0" err="1">
                          <a:ln>
                            <a:noFill/>
                          </a:ln>
                          <a:solidFill>
                            <a:srgbClr val="6A7292"/>
                          </a:solidFill>
                          <a:effectLst/>
                          <a:uLnTx/>
                          <a:uFillTx/>
                          <a:latin typeface="+mn-lt"/>
                          <a:ea typeface="+mn-ea"/>
                          <a:cs typeface="+mn-cs"/>
                        </a:rPr>
                        <a:t>ška</a:t>
                      </a:r>
                      <a:endParaRPr kumimoji="0" lang="en-GB"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err="1">
                          <a:ln>
                            <a:noFill/>
                          </a:ln>
                          <a:solidFill>
                            <a:srgbClr val="6A7292"/>
                          </a:solidFill>
                          <a:effectLst/>
                          <a:uLnTx/>
                          <a:uFillTx/>
                          <a:latin typeface="+mn-lt"/>
                          <a:ea typeface="+mn-ea"/>
                          <a:cs typeface="+mn-cs"/>
                        </a:rPr>
                        <a:t>Sloveni</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en-GB" sz="1050" b="0" i="0" u="none" strike="noStrike" kern="1200" cap="none" spc="0" normalizeH="0" baseline="0" noProof="0" dirty="0">
                          <a:ln>
                            <a:noFill/>
                          </a:ln>
                          <a:solidFill>
                            <a:srgbClr val="6A7292"/>
                          </a:solidFill>
                          <a:effectLst/>
                          <a:uLnTx/>
                          <a:uFillTx/>
                          <a:latin typeface="+mn-lt"/>
                          <a:ea typeface="+mn-ea"/>
                          <a:cs typeface="+mn-cs"/>
                        </a:rPr>
                        <a:t>a</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extLst>
                  <a:ext uri="{0D108BD9-81ED-4DB2-BD59-A6C34878D82A}">
                    <a16:rowId xmlns:a16="http://schemas.microsoft.com/office/drawing/2014/main" val="2437388122"/>
                  </a:ext>
                </a:extLst>
              </a:tr>
            </a:tbl>
          </a:graphicData>
        </a:graphic>
      </p:graphicFrame>
      <p:graphicFrame>
        <p:nvGraphicFramePr>
          <p:cNvPr id="16" name="Tableau 15"/>
          <p:cNvGraphicFramePr>
            <a:graphicFrameLocks noGrp="1"/>
          </p:cNvGraphicFramePr>
          <p:nvPr/>
        </p:nvGraphicFramePr>
        <p:xfrm>
          <a:off x="9843298" y="3501246"/>
          <a:ext cx="2038648" cy="1789084"/>
        </p:xfrm>
        <a:graphic>
          <a:graphicData uri="http://schemas.openxmlformats.org/drawingml/2006/table">
            <a:tbl>
              <a:tblPr firstRow="1" bandRow="1">
                <a:tableStyleId>{5C22544A-7EE6-4342-B048-85BDC9FD1C3A}</a:tableStyleId>
              </a:tblPr>
              <a:tblGrid>
                <a:gridCol w="929453">
                  <a:extLst>
                    <a:ext uri="{9D8B030D-6E8A-4147-A177-3AD203B41FA5}">
                      <a16:colId xmlns:a16="http://schemas.microsoft.com/office/drawing/2014/main" val="3847868841"/>
                    </a:ext>
                  </a:extLst>
                </a:gridCol>
                <a:gridCol w="28484">
                  <a:extLst>
                    <a:ext uri="{9D8B030D-6E8A-4147-A177-3AD203B41FA5}">
                      <a16:colId xmlns:a16="http://schemas.microsoft.com/office/drawing/2014/main" val="542603382"/>
                    </a:ext>
                  </a:extLst>
                </a:gridCol>
                <a:gridCol w="1080711">
                  <a:extLst>
                    <a:ext uri="{9D8B030D-6E8A-4147-A177-3AD203B41FA5}">
                      <a16:colId xmlns:a16="http://schemas.microsoft.com/office/drawing/2014/main" val="1317281098"/>
                    </a:ext>
                  </a:extLst>
                </a:gridCol>
              </a:tblGrid>
              <a:tr h="257464">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1"/>
                          </a:solidFill>
                          <a:effectLst/>
                          <a:uLnTx/>
                          <a:uFillTx/>
                          <a:latin typeface="+mn-lt"/>
                          <a:ea typeface="+mn-ea"/>
                          <a:cs typeface="+mn-cs"/>
                        </a:rPr>
                        <a:t>A</a:t>
                      </a:r>
                      <a:r>
                        <a:rPr kumimoji="0" lang="sl-SI" sz="1200" b="1" i="0" u="none" strike="noStrike" kern="1200" cap="none" spc="0" normalizeH="0" baseline="0" noProof="0" dirty="0">
                          <a:ln>
                            <a:noFill/>
                          </a:ln>
                          <a:solidFill>
                            <a:schemeClr val="accent1"/>
                          </a:solidFill>
                          <a:effectLst/>
                          <a:uLnTx/>
                          <a:uFillTx/>
                          <a:latin typeface="+mn-lt"/>
                          <a:ea typeface="+mn-ea"/>
                          <a:cs typeface="+mn-cs"/>
                        </a:rPr>
                        <a:t>ZIJ</a:t>
                      </a:r>
                      <a:r>
                        <a:rPr kumimoji="0" lang="fr-FR" sz="1200" b="1" i="0" u="none" strike="noStrike" kern="1200" cap="none" spc="0" normalizeH="0" baseline="0" noProof="0" dirty="0">
                          <a:ln>
                            <a:noFill/>
                          </a:ln>
                          <a:solidFill>
                            <a:schemeClr val="accent1"/>
                          </a:solidFill>
                          <a:effectLst/>
                          <a:uLnTx/>
                          <a:uFillTx/>
                          <a:latin typeface="+mn-lt"/>
                          <a:ea typeface="+mn-ea"/>
                          <a:cs typeface="+mn-cs"/>
                        </a:rPr>
                        <a:t>A </a:t>
                      </a:r>
                      <a:r>
                        <a:rPr kumimoji="0" lang="sl-SI" sz="1200" b="1" i="0" u="none" strike="noStrike" kern="1200" cap="none" spc="0" normalizeH="0" baseline="0" noProof="0" dirty="0">
                          <a:ln>
                            <a:noFill/>
                          </a:ln>
                          <a:solidFill>
                            <a:schemeClr val="accent1"/>
                          </a:solidFill>
                          <a:effectLst/>
                          <a:uLnTx/>
                          <a:uFillTx/>
                          <a:latin typeface="+mn-lt"/>
                          <a:ea typeface="+mn-ea"/>
                          <a:cs typeface="+mn-cs"/>
                        </a:rPr>
                        <a:t>IN </a:t>
                      </a:r>
                      <a:r>
                        <a:rPr kumimoji="0" lang="fr-FR" sz="1200" b="1" i="0" u="none" strike="noStrike" kern="1200" cap="none" spc="0" normalizeH="0" baseline="0" noProof="0" dirty="0">
                          <a:ln>
                            <a:noFill/>
                          </a:ln>
                          <a:solidFill>
                            <a:schemeClr val="accent1"/>
                          </a:solidFill>
                          <a:effectLst/>
                          <a:uLnTx/>
                          <a:uFillTx/>
                          <a:latin typeface="+mn-lt"/>
                          <a:ea typeface="+mn-ea"/>
                          <a:cs typeface="+mn-cs"/>
                        </a:rPr>
                        <a:t>PACIFI</a:t>
                      </a:r>
                      <a:r>
                        <a:rPr kumimoji="0" lang="sl-SI" sz="1200" b="1" i="0" u="none" strike="noStrike" kern="1200" cap="none" spc="0" normalizeH="0" baseline="0" noProof="0" dirty="0">
                          <a:ln>
                            <a:noFill/>
                          </a:ln>
                          <a:solidFill>
                            <a:schemeClr val="accent1"/>
                          </a:solidFill>
                          <a:effectLst/>
                          <a:uLnTx/>
                          <a:uFillTx/>
                          <a:latin typeface="+mn-lt"/>
                          <a:ea typeface="+mn-ea"/>
                          <a:cs typeface="+mn-cs"/>
                        </a:rPr>
                        <a:t>K</a:t>
                      </a:r>
                      <a:endParaRPr kumimoji="0" lang="fr-FR" sz="1200" b="1" i="0" u="none" strike="noStrike" kern="1200" cap="none" spc="0" normalizeH="0" baseline="0" noProof="0" dirty="0">
                        <a:ln>
                          <a:noFill/>
                        </a:ln>
                        <a:solidFill>
                          <a:schemeClr val="accent1"/>
                        </a:solidFill>
                        <a:effectLst/>
                        <a:uLnTx/>
                        <a:uFillTx/>
                        <a:latin typeface="+mn-lt"/>
                        <a:ea typeface="+mn-ea"/>
                        <a:cs typeface="+mn-cs"/>
                      </a:endParaRPr>
                    </a:p>
                  </a:txBody>
                  <a:tcPr marL="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hMerge="1">
                  <a:txBody>
                    <a:bodyPr/>
                    <a:lstStyle/>
                    <a:p>
                      <a:endParaRPr lang="fr-FR"/>
                    </a:p>
                  </a:txBody>
                  <a:tcPr/>
                </a:tc>
                <a:tc hMerge="1">
                  <a:txBody>
                    <a:bodyPr/>
                    <a:lstStyle/>
                    <a:p>
                      <a:endParaRPr lang="fr-FR" dirty="0"/>
                    </a:p>
                  </a:txBody>
                  <a:tcPr/>
                </a:tc>
                <a:extLst>
                  <a:ext uri="{0D108BD9-81ED-4DB2-BD59-A6C34878D82A}">
                    <a16:rowId xmlns:a16="http://schemas.microsoft.com/office/drawing/2014/main" val="373232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A</a:t>
                      </a:r>
                      <a:r>
                        <a:rPr kumimoji="0" lang="sl-SI" sz="1050" b="0" i="0" u="none" strike="noStrike" kern="1200" cap="none" spc="0" normalizeH="0" baseline="0" noProof="0" dirty="0" err="1">
                          <a:ln>
                            <a:noFill/>
                          </a:ln>
                          <a:solidFill>
                            <a:srgbClr val="6A7292"/>
                          </a:solidFill>
                          <a:effectLst/>
                          <a:uLnTx/>
                          <a:uFillTx/>
                          <a:latin typeface="+mn-lt"/>
                          <a:ea typeface="+mn-ea"/>
                          <a:cs typeface="+mn-cs"/>
                        </a:rPr>
                        <a:t>vstralij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Banglade</a:t>
                      </a:r>
                      <a:r>
                        <a:rPr kumimoji="0" lang="sl-SI" sz="1050" b="0" i="0" u="none" strike="noStrike" kern="1200" cap="none" spc="0" normalizeH="0" baseline="0" noProof="0" dirty="0">
                          <a:ln>
                            <a:noFill/>
                          </a:ln>
                          <a:solidFill>
                            <a:srgbClr val="6A7292"/>
                          </a:solidFill>
                          <a:effectLst/>
                          <a:uLnTx/>
                          <a:uFillTx/>
                          <a:latin typeface="+mn-lt"/>
                          <a:ea typeface="+mn-ea"/>
                          <a:cs typeface="+mn-cs"/>
                        </a:rPr>
                        <a:t>š</a:t>
                      </a:r>
                      <a:r>
                        <a:rPr kumimoji="0" lang="es-ES" sz="1050" b="0" i="0" u="none" strike="noStrike" kern="1200" cap="none" spc="0" normalizeH="0" baseline="0" noProof="0" dirty="0">
                          <a:ln>
                            <a:noFill/>
                          </a:ln>
                          <a:solidFill>
                            <a:srgbClr val="6A7292"/>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Brune</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es-ES" sz="1050" b="0" i="0" u="none" strike="noStrike" kern="1200" cap="none" spc="0" normalizeH="0" baseline="0" noProof="0" dirty="0">
                          <a:ln>
                            <a:noFill/>
                          </a:ln>
                          <a:solidFill>
                            <a:srgbClr val="6A7292"/>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Kitajsk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Hong Ko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Indi</a:t>
                      </a:r>
                      <a:r>
                        <a:rPr kumimoji="0" lang="sl-SI" sz="1050" b="0" i="0" u="none" strike="noStrike" kern="1200" cap="none" spc="0" normalizeH="0" baseline="0" noProof="0" dirty="0">
                          <a:ln>
                            <a:noFill/>
                          </a:ln>
                          <a:solidFill>
                            <a:srgbClr val="6A7292"/>
                          </a:solidFill>
                          <a:effectLst/>
                          <a:uLnTx/>
                          <a:uFillTx/>
                          <a:latin typeface="+mn-lt"/>
                          <a:ea typeface="+mn-ea"/>
                          <a:cs typeface="+mn-cs"/>
                        </a:rPr>
                        <a:t>j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Indone</a:t>
                      </a:r>
                      <a:r>
                        <a:rPr kumimoji="0" lang="sl-SI" sz="1050" b="0" i="0" u="none" strike="noStrike" kern="1200" cap="none" spc="0" normalizeH="0" baseline="0" noProof="0" dirty="0" err="1">
                          <a:ln>
                            <a:noFill/>
                          </a:ln>
                          <a:solidFill>
                            <a:srgbClr val="6A7292"/>
                          </a:solidFill>
                          <a:effectLst/>
                          <a:uLnTx/>
                          <a:uFillTx/>
                          <a:latin typeface="+mn-lt"/>
                          <a:ea typeface="+mn-ea"/>
                          <a:cs typeface="+mn-cs"/>
                        </a:rPr>
                        <a:t>zi</a:t>
                      </a:r>
                      <a:r>
                        <a:rPr kumimoji="0" lang="es-ES" sz="1050" b="0" i="0" u="none" strike="noStrike" kern="1200" cap="none" spc="0" normalizeH="0" baseline="0" noProof="0" dirty="0" err="1">
                          <a:ln>
                            <a:noFill/>
                          </a:ln>
                          <a:solidFill>
                            <a:srgbClr val="6A7292"/>
                          </a:solidFill>
                          <a:effectLst/>
                          <a:uLnTx/>
                          <a:uFillTx/>
                          <a:latin typeface="+mn-lt"/>
                          <a:ea typeface="+mn-ea"/>
                          <a:cs typeface="+mn-cs"/>
                        </a:rPr>
                        <a:t>i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Ja</a:t>
                      </a:r>
                      <a:r>
                        <a:rPr kumimoji="0" lang="sl-SI" sz="1050" b="0" i="0" u="none" strike="noStrike" kern="1200" cap="none" spc="0" normalizeH="0" baseline="0" noProof="0" dirty="0" err="1">
                          <a:ln>
                            <a:noFill/>
                          </a:ln>
                          <a:solidFill>
                            <a:srgbClr val="6A7292"/>
                          </a:solidFill>
                          <a:effectLst/>
                          <a:uLnTx/>
                          <a:uFillTx/>
                          <a:latin typeface="+mn-lt"/>
                          <a:ea typeface="+mn-ea"/>
                          <a:cs typeface="+mn-cs"/>
                        </a:rPr>
                        <a:t>ponsk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Mal</a:t>
                      </a:r>
                      <a:r>
                        <a:rPr kumimoji="0" lang="sl-SI" sz="1050" b="0" i="0" u="none" strike="noStrike" kern="1200" cap="none" spc="0" normalizeH="0" baseline="0" noProof="0" dirty="0" err="1">
                          <a:ln>
                            <a:noFill/>
                          </a:ln>
                          <a:solidFill>
                            <a:srgbClr val="6A7292"/>
                          </a:solidFill>
                          <a:effectLst/>
                          <a:uLnTx/>
                          <a:uFillTx/>
                          <a:latin typeface="+mn-lt"/>
                          <a:ea typeface="+mn-ea"/>
                          <a:cs typeface="+mn-cs"/>
                        </a:rPr>
                        <a:t>ezij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tc>
                  <a:txBody>
                    <a:bodyPr/>
                    <a:lstStyle/>
                    <a:p>
                      <a:endParaRPr lang="fr-FR" sz="100" dirty="0"/>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N</a:t>
                      </a:r>
                      <a:r>
                        <a:rPr kumimoji="0" lang="sl-SI" sz="1050" b="0" i="0" u="none" strike="noStrike" kern="1200" cap="none" spc="0" normalizeH="0" baseline="0" noProof="0" dirty="0" err="1">
                          <a:ln>
                            <a:noFill/>
                          </a:ln>
                          <a:solidFill>
                            <a:srgbClr val="6A7292"/>
                          </a:solidFill>
                          <a:effectLst/>
                          <a:uLnTx/>
                          <a:uFillTx/>
                          <a:latin typeface="+mn-lt"/>
                          <a:ea typeface="+mn-ea"/>
                          <a:cs typeface="+mn-cs"/>
                        </a:rPr>
                        <a:t>ova</a:t>
                      </a:r>
                      <a:r>
                        <a:rPr kumimoji="0" lang="sl-SI" sz="1050" b="0" i="0" u="none" strike="noStrike" kern="1200" cap="none" spc="0" normalizeH="0" baseline="0" noProof="0" dirty="0">
                          <a:ln>
                            <a:noFill/>
                          </a:ln>
                          <a:solidFill>
                            <a:srgbClr val="6A7292"/>
                          </a:solidFill>
                          <a:effectLst/>
                          <a:uLnTx/>
                          <a:uFillTx/>
                          <a:latin typeface="+mn-lt"/>
                          <a:ea typeface="+mn-ea"/>
                          <a:cs typeface="+mn-cs"/>
                        </a:rPr>
                        <a:t> Zelandija</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err="1">
                          <a:ln>
                            <a:noFill/>
                          </a:ln>
                          <a:solidFill>
                            <a:srgbClr val="6A7292"/>
                          </a:solidFill>
                          <a:effectLst/>
                          <a:uLnTx/>
                          <a:uFillTx/>
                          <a:latin typeface="+mn-lt"/>
                          <a:ea typeface="+mn-ea"/>
                          <a:cs typeface="+mn-cs"/>
                        </a:rPr>
                        <a:t>Pakist</a:t>
                      </a:r>
                      <a:r>
                        <a:rPr kumimoji="0" lang="sl-SI" sz="1050" b="0" i="0" u="none" strike="noStrike" kern="1200" cap="none" spc="0" normalizeH="0" baseline="0" noProof="0" dirty="0" err="1">
                          <a:ln>
                            <a:noFill/>
                          </a:ln>
                          <a:solidFill>
                            <a:srgbClr val="6A7292"/>
                          </a:solidFill>
                          <a:effectLst/>
                          <a:uLnTx/>
                          <a:uFillTx/>
                          <a:latin typeface="+mn-lt"/>
                          <a:ea typeface="+mn-ea"/>
                          <a:cs typeface="+mn-cs"/>
                        </a:rPr>
                        <a:t>an</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Filipini</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err="1">
                          <a:ln>
                            <a:noFill/>
                          </a:ln>
                          <a:solidFill>
                            <a:srgbClr val="6A7292"/>
                          </a:solidFill>
                          <a:effectLst/>
                          <a:uLnTx/>
                          <a:uFillTx/>
                          <a:latin typeface="+mn-lt"/>
                          <a:ea typeface="+mn-ea"/>
                          <a:cs typeface="+mn-cs"/>
                        </a:rPr>
                        <a:t>Singap</a:t>
                      </a:r>
                      <a:r>
                        <a:rPr kumimoji="0" lang="sl-SI" sz="1050" b="0" i="0" u="none" strike="noStrike" kern="1200" cap="none" spc="0" normalizeH="0" baseline="0" noProof="0" dirty="0">
                          <a:ln>
                            <a:noFill/>
                          </a:ln>
                          <a:solidFill>
                            <a:srgbClr val="6A7292"/>
                          </a:solidFill>
                          <a:effectLst/>
                          <a:uLnTx/>
                          <a:uFillTx/>
                          <a:latin typeface="+mn-lt"/>
                          <a:ea typeface="+mn-ea"/>
                          <a:cs typeface="+mn-cs"/>
                        </a:rPr>
                        <a:t>ur</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Južna</a:t>
                      </a:r>
                      <a:r>
                        <a:rPr kumimoji="0" lang="it-IT" sz="1050" b="0" i="0" u="none" strike="noStrike" kern="1200" cap="none" spc="0" normalizeH="0" baseline="0" noProof="0" dirty="0">
                          <a:ln>
                            <a:noFill/>
                          </a:ln>
                          <a:solidFill>
                            <a:srgbClr val="6A7292"/>
                          </a:solidFill>
                          <a:effectLst/>
                          <a:uLnTx/>
                          <a:uFillTx/>
                          <a:latin typeface="+mn-lt"/>
                          <a:ea typeface="+mn-ea"/>
                          <a:cs typeface="+mn-cs"/>
                        </a:rPr>
                        <a:t> Kore</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it-IT" sz="1050" b="0" i="0" u="none" strike="noStrike" kern="1200" cap="none" spc="0" normalizeH="0" baseline="0" noProof="0" dirty="0">
                          <a:ln>
                            <a:noFill/>
                          </a:ln>
                          <a:solidFill>
                            <a:srgbClr val="6A7292"/>
                          </a:solidFill>
                          <a:effectLst/>
                          <a:uLnTx/>
                          <a:uFillTx/>
                          <a:latin typeface="+mn-lt"/>
                          <a:ea typeface="+mn-ea"/>
                          <a:cs typeface="+mn-cs"/>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err="1">
                          <a:ln>
                            <a:noFill/>
                          </a:ln>
                          <a:solidFill>
                            <a:srgbClr val="6A7292"/>
                          </a:solidFill>
                          <a:effectLst/>
                          <a:uLnTx/>
                          <a:uFillTx/>
                          <a:latin typeface="+mn-lt"/>
                          <a:ea typeface="+mn-ea"/>
                          <a:cs typeface="+mn-cs"/>
                        </a:rPr>
                        <a:t>Ta</a:t>
                      </a:r>
                      <a:r>
                        <a:rPr kumimoji="0" lang="sl-SI" sz="1050" b="0" i="0" u="none" strike="noStrike" kern="1200" cap="none" spc="0" normalizeH="0" baseline="0" noProof="0" dirty="0" err="1">
                          <a:ln>
                            <a:noFill/>
                          </a:ln>
                          <a:solidFill>
                            <a:srgbClr val="6A7292"/>
                          </a:solidFill>
                          <a:effectLst/>
                          <a:uLnTx/>
                          <a:uFillTx/>
                          <a:latin typeface="+mn-lt"/>
                          <a:ea typeface="+mn-ea"/>
                          <a:cs typeface="+mn-cs"/>
                        </a:rPr>
                        <a:t>jvan</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T</a:t>
                      </a:r>
                      <a:r>
                        <a:rPr kumimoji="0" lang="sl-SI" sz="1050" b="0" i="0" u="none" strike="noStrike" kern="1200" cap="none" spc="0" normalizeH="0" baseline="0" noProof="0" dirty="0" err="1">
                          <a:ln>
                            <a:noFill/>
                          </a:ln>
                          <a:solidFill>
                            <a:srgbClr val="6A7292"/>
                          </a:solidFill>
                          <a:effectLst/>
                          <a:uLnTx/>
                          <a:uFillTx/>
                          <a:latin typeface="+mn-lt"/>
                          <a:ea typeface="+mn-ea"/>
                          <a:cs typeface="+mn-cs"/>
                        </a:rPr>
                        <a:t>ajska</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Vietnam</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extLst>
                  <a:ext uri="{0D108BD9-81ED-4DB2-BD59-A6C34878D82A}">
                    <a16:rowId xmlns:a16="http://schemas.microsoft.com/office/drawing/2014/main" val="2437388122"/>
                  </a:ext>
                </a:extLst>
              </a:tr>
            </a:tbl>
          </a:graphicData>
        </a:graphic>
      </p:graphicFrame>
      <p:graphicFrame>
        <p:nvGraphicFramePr>
          <p:cNvPr id="17" name="Tableau 16"/>
          <p:cNvGraphicFramePr>
            <a:graphicFrameLocks noGrp="1"/>
          </p:cNvGraphicFramePr>
          <p:nvPr/>
        </p:nvGraphicFramePr>
        <p:xfrm>
          <a:off x="7195946" y="1843774"/>
          <a:ext cx="2124000" cy="4026780"/>
        </p:xfrm>
        <a:graphic>
          <a:graphicData uri="http://schemas.openxmlformats.org/drawingml/2006/table">
            <a:tbl>
              <a:tblPr firstRow="1" bandRow="1">
                <a:tableStyleId>{5C22544A-7EE6-4342-B048-85BDC9FD1C3A}</a:tableStyleId>
              </a:tblPr>
              <a:tblGrid>
                <a:gridCol w="828000">
                  <a:extLst>
                    <a:ext uri="{9D8B030D-6E8A-4147-A177-3AD203B41FA5}">
                      <a16:colId xmlns:a16="http://schemas.microsoft.com/office/drawing/2014/main" val="3847868841"/>
                    </a:ext>
                  </a:extLst>
                </a:gridCol>
                <a:gridCol w="72000">
                  <a:extLst>
                    <a:ext uri="{9D8B030D-6E8A-4147-A177-3AD203B41FA5}">
                      <a16:colId xmlns:a16="http://schemas.microsoft.com/office/drawing/2014/main" val="542603382"/>
                    </a:ext>
                  </a:extLst>
                </a:gridCol>
                <a:gridCol w="1224000">
                  <a:extLst>
                    <a:ext uri="{9D8B030D-6E8A-4147-A177-3AD203B41FA5}">
                      <a16:colId xmlns:a16="http://schemas.microsoft.com/office/drawing/2014/main" val="1317281098"/>
                    </a:ext>
                  </a:extLst>
                </a:gridCol>
              </a:tblGrid>
              <a:tr h="182880">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schemeClr val="accent1"/>
                          </a:solidFill>
                          <a:effectLst/>
                          <a:uLnTx/>
                          <a:uFillTx/>
                          <a:latin typeface="+mn-lt"/>
                          <a:ea typeface="+mn-ea"/>
                          <a:cs typeface="+mn-cs"/>
                        </a:rPr>
                        <a:t>MEDITER</a:t>
                      </a:r>
                      <a:r>
                        <a:rPr kumimoji="0" lang="sl-SI" sz="1200" b="1" i="0" u="none" strike="noStrike" kern="1200" cap="none" spc="0" normalizeH="0" baseline="0" noProof="0" dirty="0">
                          <a:ln>
                            <a:noFill/>
                          </a:ln>
                          <a:solidFill>
                            <a:schemeClr val="accent1"/>
                          </a:solidFill>
                          <a:effectLst/>
                          <a:uLnTx/>
                          <a:uFillTx/>
                          <a:latin typeface="+mn-lt"/>
                          <a:ea typeface="+mn-ea"/>
                          <a:cs typeface="+mn-cs"/>
                        </a:rPr>
                        <a:t>AN</a:t>
                      </a:r>
                      <a:r>
                        <a:rPr kumimoji="0" lang="fr-FR" sz="1200" b="1" i="0" u="none" strike="noStrike" kern="1200" cap="none" spc="0" normalizeH="0" baseline="0" noProof="0" dirty="0">
                          <a:ln>
                            <a:noFill/>
                          </a:ln>
                          <a:solidFill>
                            <a:schemeClr val="accent1"/>
                          </a:solidFill>
                          <a:effectLst/>
                          <a:uLnTx/>
                          <a:uFillTx/>
                          <a:latin typeface="+mn-lt"/>
                          <a:ea typeface="+mn-ea"/>
                          <a:cs typeface="+mn-cs"/>
                        </a:rPr>
                        <a:t> </a:t>
                      </a:r>
                      <a:r>
                        <a:rPr kumimoji="0" lang="sl-SI" sz="1200" b="1" i="0" u="none" strike="noStrike" kern="1200" cap="none" spc="0" normalizeH="0" baseline="0" noProof="0" dirty="0">
                          <a:ln>
                            <a:noFill/>
                          </a:ln>
                          <a:solidFill>
                            <a:schemeClr val="accent1"/>
                          </a:solidFill>
                          <a:effectLst/>
                          <a:uLnTx/>
                          <a:uFillTx/>
                          <a:latin typeface="+mn-lt"/>
                          <a:ea typeface="+mn-ea"/>
                          <a:cs typeface="+mn-cs"/>
                        </a:rPr>
                        <a:t>IN AFRIKA</a:t>
                      </a:r>
                      <a:endParaRPr kumimoji="0" lang="fr-FR" sz="1200" b="1" i="0" u="none" strike="noStrike" kern="1200" cap="none" spc="0" normalizeH="0" baseline="0" noProof="0" dirty="0">
                        <a:ln>
                          <a:noFill/>
                        </a:ln>
                        <a:solidFill>
                          <a:schemeClr val="accent1"/>
                        </a:solidFill>
                        <a:effectLst/>
                        <a:uLnTx/>
                        <a:uFillTx/>
                        <a:latin typeface="+mn-lt"/>
                        <a:ea typeface="+mn-ea"/>
                        <a:cs typeface="+mn-cs"/>
                      </a:endParaRPr>
                    </a:p>
                  </a:txBody>
                  <a:tcPr marL="0" marT="0" marB="72000"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2"/>
                      </a:solidFill>
                      <a:prstDash val="solid"/>
                      <a:round/>
                      <a:headEnd type="none" w="med" len="med"/>
                      <a:tailEnd type="none" w="med" len="med"/>
                    </a:lnB>
                    <a:noFill/>
                  </a:tcPr>
                </a:tc>
                <a:tc hMerge="1">
                  <a:txBody>
                    <a:bodyPr/>
                    <a:lstStyle/>
                    <a:p>
                      <a:endParaRPr lang="fr-FR"/>
                    </a:p>
                  </a:txBody>
                  <a:tcPr/>
                </a:tc>
                <a:tc hMerge="1">
                  <a:txBody>
                    <a:bodyPr/>
                    <a:lstStyle/>
                    <a:p>
                      <a:endParaRPr lang="fr-FR" dirty="0"/>
                    </a:p>
                  </a:txBody>
                  <a:tcPr/>
                </a:tc>
                <a:extLst>
                  <a:ext uri="{0D108BD9-81ED-4DB2-BD59-A6C34878D82A}">
                    <a16:rowId xmlns:a16="http://schemas.microsoft.com/office/drawing/2014/main" val="3732324102"/>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Al</a:t>
                      </a:r>
                      <a:r>
                        <a:rPr kumimoji="0" lang="sl-SI" sz="1050" b="0" i="0" u="none" strike="noStrike" kern="1200" cap="none" spc="0" normalizeH="0" baseline="0" noProof="0" dirty="0">
                          <a:ln>
                            <a:noFill/>
                          </a:ln>
                          <a:solidFill>
                            <a:srgbClr val="6A7292"/>
                          </a:solidFill>
                          <a:effectLst/>
                          <a:uLnTx/>
                          <a:uFillTx/>
                          <a:latin typeface="+mn-lt"/>
                          <a:ea typeface="+mn-ea"/>
                          <a:cs typeface="+mn-cs"/>
                        </a:rPr>
                        <a:t>žirij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Bahra</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es-ES" sz="1050" b="0" i="0" u="none" strike="noStrike" kern="1200" cap="none" spc="0" normalizeH="0" baseline="0" noProof="0" dirty="0">
                          <a:ln>
                            <a:noFill/>
                          </a:ln>
                          <a:solidFill>
                            <a:srgbClr val="6A7292"/>
                          </a:solidFill>
                          <a:effectLst/>
                          <a:uLnTx/>
                          <a:uFillTx/>
                          <a:latin typeface="+mn-lt"/>
                          <a:ea typeface="+mn-ea"/>
                          <a:cs typeface="+mn-cs"/>
                        </a:rPr>
                        <a:t>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Benin</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Burkina Fas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Kamerun</a:t>
                      </a:r>
                      <a:r>
                        <a:rPr kumimoji="0" lang="es-ES" sz="1050" b="0" i="0" u="none" strike="noStrike" kern="1200" cap="none" spc="0" normalizeH="0" baseline="0" noProof="0" dirty="0">
                          <a:ln>
                            <a:noFill/>
                          </a:ln>
                          <a:solidFill>
                            <a:srgbClr val="6A7292"/>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Čad</a:t>
                      </a:r>
                      <a:r>
                        <a:rPr kumimoji="0" lang="es-ES" sz="1050" b="0" i="0" u="none" strike="noStrike" kern="1200" cap="none" spc="0" normalizeH="0" baseline="0" noProof="0" dirty="0">
                          <a:ln>
                            <a:noFill/>
                          </a:ln>
                          <a:solidFill>
                            <a:srgbClr val="6A7292"/>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C</a:t>
                      </a:r>
                      <a:r>
                        <a:rPr kumimoji="0" lang="sl-SI" sz="1050" b="0" i="0" u="none" strike="noStrike" kern="1200" cap="none" spc="0" normalizeH="0" baseline="0" noProof="0" dirty="0" err="1">
                          <a:ln>
                            <a:noFill/>
                          </a:ln>
                          <a:solidFill>
                            <a:srgbClr val="6A7292"/>
                          </a:solidFill>
                          <a:effectLst/>
                          <a:uLnTx/>
                          <a:uFillTx/>
                          <a:latin typeface="+mn-lt"/>
                          <a:ea typeface="+mn-ea"/>
                          <a:cs typeface="+mn-cs"/>
                        </a:rPr>
                        <a:t>iper</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D</a:t>
                      </a:r>
                      <a:r>
                        <a:rPr kumimoji="0" lang="sl-SI" sz="1050" b="0" i="0" u="none" strike="noStrike" kern="1200" cap="none" spc="0" normalizeH="0" baseline="0" noProof="0" dirty="0">
                          <a:ln>
                            <a:noFill/>
                          </a:ln>
                          <a:solidFill>
                            <a:srgbClr val="6A7292"/>
                          </a:solidFill>
                          <a:effectLst/>
                          <a:uLnTx/>
                          <a:uFillTx/>
                          <a:latin typeface="+mn-lt"/>
                          <a:ea typeface="+mn-ea"/>
                          <a:cs typeface="+mn-cs"/>
                        </a:rPr>
                        <a:t>ž</a:t>
                      </a:r>
                      <a:r>
                        <a:rPr kumimoji="0" lang="es-ES" sz="1050" b="0" i="0" u="none" strike="noStrike" kern="1200" cap="none" spc="0" normalizeH="0" baseline="0" noProof="0" dirty="0" err="1">
                          <a:ln>
                            <a:noFill/>
                          </a:ln>
                          <a:solidFill>
                            <a:srgbClr val="6A7292"/>
                          </a:solidFill>
                          <a:effectLst/>
                          <a:uLnTx/>
                          <a:uFillTx/>
                          <a:latin typeface="+mn-lt"/>
                          <a:ea typeface="+mn-ea"/>
                          <a:cs typeface="+mn-cs"/>
                        </a:rPr>
                        <a:t>ibuti</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Eg</a:t>
                      </a:r>
                      <a:r>
                        <a:rPr kumimoji="0" lang="sl-SI" sz="1050" b="0" i="0" u="none" strike="noStrike" kern="1200" cap="none" spc="0" normalizeH="0" baseline="0" noProof="0" dirty="0" err="1">
                          <a:ln>
                            <a:noFill/>
                          </a:ln>
                          <a:solidFill>
                            <a:srgbClr val="6A7292"/>
                          </a:solidFill>
                          <a:effectLst/>
                          <a:uLnTx/>
                          <a:uFillTx/>
                          <a:latin typeface="+mn-lt"/>
                          <a:ea typeface="+mn-ea"/>
                          <a:cs typeface="+mn-cs"/>
                        </a:rPr>
                        <a:t>ipt</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Gabon</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Gambi</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es-ES" sz="1050" b="0" i="0" u="none" strike="noStrike" kern="1200" cap="none" spc="0" normalizeH="0" baseline="0" noProof="0" dirty="0">
                          <a:ln>
                            <a:noFill/>
                          </a:ln>
                          <a:solidFill>
                            <a:srgbClr val="6A7292"/>
                          </a:solidFill>
                          <a:effectLst/>
                          <a:uLnTx/>
                          <a:uFillTx/>
                          <a:latin typeface="+mn-lt"/>
                          <a:ea typeface="+mn-ea"/>
                          <a:cs typeface="+mn-cs"/>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Gan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Gr</a:t>
                      </a:r>
                      <a:r>
                        <a:rPr kumimoji="0" lang="sl-SI" sz="1050" b="0" i="0" u="none" strike="noStrike" kern="1200" cap="none" spc="0" normalizeH="0" baseline="0" noProof="0" dirty="0" err="1">
                          <a:ln>
                            <a:noFill/>
                          </a:ln>
                          <a:solidFill>
                            <a:srgbClr val="6A7292"/>
                          </a:solidFill>
                          <a:effectLst/>
                          <a:uLnTx/>
                          <a:uFillTx/>
                          <a:latin typeface="+mn-lt"/>
                          <a:ea typeface="+mn-ea"/>
                          <a:cs typeface="+mn-cs"/>
                        </a:rPr>
                        <a:t>čij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G</a:t>
                      </a:r>
                      <a:r>
                        <a:rPr kumimoji="0" lang="sl-SI" sz="1050" b="0" i="0" u="none" strike="noStrike" kern="1200" cap="none" spc="0" normalizeH="0" baseline="0" noProof="0" dirty="0">
                          <a:ln>
                            <a:noFill/>
                          </a:ln>
                          <a:solidFill>
                            <a:srgbClr val="6A7292"/>
                          </a:solidFill>
                          <a:effectLst/>
                          <a:uLnTx/>
                          <a:uFillTx/>
                          <a:latin typeface="+mn-lt"/>
                          <a:ea typeface="+mn-ea"/>
                          <a:cs typeface="+mn-cs"/>
                        </a:rPr>
                        <a:t>v</a:t>
                      </a:r>
                      <a:r>
                        <a:rPr kumimoji="0" lang="es-ES" sz="1050" b="0" i="0" u="none" strike="noStrike" kern="1200" cap="none" spc="0" normalizeH="0" baseline="0" noProof="0" dirty="0" err="1">
                          <a:ln>
                            <a:noFill/>
                          </a:ln>
                          <a:solidFill>
                            <a:srgbClr val="6A7292"/>
                          </a:solidFill>
                          <a:effectLst/>
                          <a:uLnTx/>
                          <a:uFillTx/>
                          <a:latin typeface="+mn-lt"/>
                          <a:ea typeface="+mn-ea"/>
                          <a:cs typeface="+mn-cs"/>
                        </a:rPr>
                        <a:t>ine</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es-ES" sz="1050" b="0" i="0" u="none" strike="noStrike" kern="1200" cap="none" spc="0" normalizeH="0" baseline="0" noProof="0" dirty="0">
                          <a:ln>
                            <a:noFill/>
                          </a:ln>
                          <a:solidFill>
                            <a:srgbClr val="6A7292"/>
                          </a:solidFill>
                          <a:effectLst/>
                          <a:uLnTx/>
                          <a:uFillTx/>
                          <a:latin typeface="+mn-lt"/>
                          <a:ea typeface="+mn-ea"/>
                          <a:cs typeface="+mn-cs"/>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srgbClr val="6A7292"/>
                          </a:solidFill>
                          <a:effectLst/>
                          <a:uLnTx/>
                          <a:uFillTx/>
                          <a:latin typeface="+mn-lt"/>
                          <a:ea typeface="+mn-ea"/>
                          <a:cs typeface="+mn-cs"/>
                        </a:rPr>
                        <a:t>I</a:t>
                      </a:r>
                      <a:r>
                        <a:rPr kumimoji="0" lang="sl-SI" sz="1050" b="0" i="0" u="none" strike="noStrike" kern="1200" cap="none" spc="0" normalizeH="0" baseline="0" noProof="0" dirty="0">
                          <a:ln>
                            <a:noFill/>
                          </a:ln>
                          <a:solidFill>
                            <a:srgbClr val="6A7292"/>
                          </a:solidFill>
                          <a:effectLst/>
                          <a:uLnTx/>
                          <a:uFillTx/>
                          <a:latin typeface="+mn-lt"/>
                          <a:ea typeface="+mn-ea"/>
                          <a:cs typeface="+mn-cs"/>
                        </a:rPr>
                        <a:t>z</a:t>
                      </a:r>
                      <a:r>
                        <a:rPr kumimoji="0" lang="es-ES" sz="1050" b="0" i="0" u="none" strike="noStrike" kern="1200" cap="none" spc="0" normalizeH="0" baseline="0" noProof="0" dirty="0" err="1">
                          <a:ln>
                            <a:noFill/>
                          </a:ln>
                          <a:solidFill>
                            <a:srgbClr val="6A7292"/>
                          </a:solidFill>
                          <a:effectLst/>
                          <a:uLnTx/>
                          <a:uFillTx/>
                          <a:latin typeface="+mn-lt"/>
                          <a:ea typeface="+mn-ea"/>
                          <a:cs typeface="+mn-cs"/>
                        </a:rPr>
                        <a:t>rael</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Ital</a:t>
                      </a:r>
                      <a:r>
                        <a:rPr kumimoji="0" lang="sl-SI" sz="1050" b="0" i="0" u="none" strike="noStrike" kern="1200" cap="none" spc="0" normalizeH="0" baseline="0" noProof="0" dirty="0" err="1">
                          <a:ln>
                            <a:noFill/>
                          </a:ln>
                          <a:solidFill>
                            <a:srgbClr val="6A7292"/>
                          </a:solidFill>
                          <a:effectLst/>
                          <a:uLnTx/>
                          <a:uFillTx/>
                          <a:latin typeface="+mn-lt"/>
                          <a:ea typeface="+mn-ea"/>
                          <a:cs typeface="+mn-cs"/>
                        </a:rPr>
                        <a:t>ij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err="1">
                          <a:ln>
                            <a:noFill/>
                          </a:ln>
                          <a:solidFill>
                            <a:srgbClr val="6A7292"/>
                          </a:solidFill>
                          <a:effectLst/>
                          <a:uLnTx/>
                          <a:uFillTx/>
                          <a:latin typeface="+mn-lt"/>
                          <a:ea typeface="+mn-ea"/>
                          <a:cs typeface="+mn-cs"/>
                        </a:rPr>
                        <a:t>Slonkoščena</a:t>
                      </a:r>
                      <a:r>
                        <a:rPr kumimoji="0" lang="sl-SI" sz="1050" b="0" i="0" u="none" strike="noStrike" kern="1200" cap="none" spc="0" normalizeH="0" baseline="0" noProof="0" dirty="0">
                          <a:ln>
                            <a:noFill/>
                          </a:ln>
                          <a:solidFill>
                            <a:srgbClr val="6A7292"/>
                          </a:solidFill>
                          <a:effectLst/>
                          <a:uLnTx/>
                          <a:uFillTx/>
                          <a:latin typeface="+mn-lt"/>
                          <a:ea typeface="+mn-ea"/>
                          <a:cs typeface="+mn-cs"/>
                        </a:rPr>
                        <a:t> obal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Jordan</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err="1">
                          <a:ln>
                            <a:noFill/>
                          </a:ln>
                          <a:solidFill>
                            <a:srgbClr val="6A7292"/>
                          </a:solidFill>
                          <a:effectLst/>
                          <a:uLnTx/>
                          <a:uFillTx/>
                          <a:latin typeface="+mn-lt"/>
                          <a:ea typeface="+mn-ea"/>
                          <a:cs typeface="+mn-cs"/>
                        </a:rPr>
                        <a:t>Ku</a:t>
                      </a:r>
                      <a:r>
                        <a:rPr kumimoji="0" lang="sl-SI" sz="1050" b="0" i="0" u="none" strike="noStrike" kern="1200" cap="none" spc="0" normalizeH="0" baseline="0" noProof="0" dirty="0">
                          <a:ln>
                            <a:noFill/>
                          </a:ln>
                          <a:solidFill>
                            <a:srgbClr val="6A7292"/>
                          </a:solidFill>
                          <a:effectLst/>
                          <a:uLnTx/>
                          <a:uFillTx/>
                          <a:latin typeface="+mn-lt"/>
                          <a:ea typeface="+mn-ea"/>
                          <a:cs typeface="+mn-cs"/>
                        </a:rPr>
                        <a:t>v</a:t>
                      </a:r>
                      <a:r>
                        <a:rPr kumimoji="0" lang="es-ES" sz="1050" b="0" i="0" u="none" strike="noStrike" kern="1200" cap="none" spc="0" normalizeH="0" baseline="0" noProof="0" dirty="0">
                          <a:ln>
                            <a:noFill/>
                          </a:ln>
                          <a:solidFill>
                            <a:srgbClr val="6A7292"/>
                          </a:solidFill>
                          <a:effectLst/>
                          <a:uLnTx/>
                          <a:uFillTx/>
                          <a:latin typeface="+mn-lt"/>
                          <a:ea typeface="+mn-ea"/>
                          <a:cs typeface="+mn-cs"/>
                        </a:rPr>
                        <a:t>a</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es-ES" sz="1050" b="0" i="0" u="none" strike="noStrike" kern="1200" cap="none" spc="0" normalizeH="0" baseline="0" noProof="0" dirty="0">
                          <a:ln>
                            <a:noFill/>
                          </a:ln>
                          <a:solidFill>
                            <a:srgbClr val="6A7292"/>
                          </a:solidFill>
                          <a:effectLst/>
                          <a:uLnTx/>
                          <a:uFillTx/>
                          <a:latin typeface="+mn-lt"/>
                          <a:ea typeface="+mn-ea"/>
                          <a:cs typeface="+mn-cs"/>
                        </a:rPr>
                        <a:t>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L</a:t>
                      </a:r>
                      <a:r>
                        <a:rPr kumimoji="0" lang="sl-SI" sz="1050" b="0" i="0" u="none" strike="noStrike" kern="1200" cap="none" spc="0" normalizeH="0" baseline="0" noProof="0" dirty="0">
                          <a:ln>
                            <a:noFill/>
                          </a:ln>
                          <a:solidFill>
                            <a:srgbClr val="6A7292"/>
                          </a:solidFill>
                          <a:effectLst/>
                          <a:uLnTx/>
                          <a:uFillTx/>
                          <a:latin typeface="+mn-lt"/>
                          <a:ea typeface="+mn-ea"/>
                          <a:cs typeface="+mn-cs"/>
                        </a:rPr>
                        <a:t>i</a:t>
                      </a:r>
                      <a:r>
                        <a:rPr kumimoji="0" lang="it-IT" sz="1050" b="0" i="0" u="none" strike="noStrike" kern="1200" cap="none" spc="0" normalizeH="0" baseline="0" noProof="0" dirty="0" err="1">
                          <a:ln>
                            <a:noFill/>
                          </a:ln>
                          <a:solidFill>
                            <a:srgbClr val="6A7292"/>
                          </a:solidFill>
                          <a:effectLst/>
                          <a:uLnTx/>
                          <a:uFillTx/>
                          <a:latin typeface="+mn-lt"/>
                          <a:ea typeface="+mn-ea"/>
                          <a:cs typeface="+mn-cs"/>
                        </a:rPr>
                        <a:t>banon</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err="1">
                          <a:ln>
                            <a:noFill/>
                          </a:ln>
                          <a:solidFill>
                            <a:srgbClr val="6A7292"/>
                          </a:solidFill>
                          <a:effectLst/>
                          <a:uLnTx/>
                          <a:uFillTx/>
                          <a:latin typeface="+mn-lt"/>
                          <a:ea typeface="+mn-ea"/>
                          <a:cs typeface="+mn-cs"/>
                        </a:rPr>
                        <a:t>Lib</a:t>
                      </a:r>
                      <a:r>
                        <a:rPr kumimoji="0" lang="sl-SI" sz="1050" b="0" i="0" u="none" strike="noStrike" kern="1200" cap="none" spc="0" normalizeH="0" baseline="0" noProof="0" dirty="0" err="1">
                          <a:ln>
                            <a:noFill/>
                          </a:ln>
                          <a:solidFill>
                            <a:srgbClr val="6A7292"/>
                          </a:solidFill>
                          <a:effectLst/>
                          <a:uLnTx/>
                          <a:uFillTx/>
                          <a:latin typeface="+mn-lt"/>
                          <a:ea typeface="+mn-ea"/>
                          <a:cs typeface="+mn-cs"/>
                        </a:rPr>
                        <a:t>ija</a:t>
                      </a:r>
                      <a:endParaRPr kumimoji="0" lang="es-ES"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tc>
                  <a:txBody>
                    <a:bodyPr/>
                    <a:lstStyle/>
                    <a:p>
                      <a:endParaRPr lang="fr-FR" sz="100" dirty="0"/>
                    </a:p>
                  </a:txBody>
                  <a:tcPr marL="0" marR="0" marT="0" marB="0">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Mal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Mal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Mavretanija</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Ma</a:t>
                      </a:r>
                      <a:r>
                        <a:rPr kumimoji="0" lang="sl-SI" sz="1050" b="0" i="0" u="none" strike="noStrike" kern="1200" cap="none" spc="0" normalizeH="0" baseline="0" noProof="0" dirty="0">
                          <a:ln>
                            <a:noFill/>
                          </a:ln>
                          <a:solidFill>
                            <a:srgbClr val="6A7292"/>
                          </a:solidFill>
                          <a:effectLst/>
                          <a:uLnTx/>
                          <a:uFillTx/>
                          <a:latin typeface="+mn-lt"/>
                          <a:ea typeface="+mn-ea"/>
                          <a:cs typeface="+mn-cs"/>
                        </a:rPr>
                        <a:t>v</a:t>
                      </a:r>
                      <a:r>
                        <a:rPr kumimoji="0" lang="it-IT" sz="1050" b="0" i="0" u="none" strike="noStrike" kern="1200" cap="none" spc="0" normalizeH="0" baseline="0" noProof="0" dirty="0" err="1">
                          <a:ln>
                            <a:noFill/>
                          </a:ln>
                          <a:solidFill>
                            <a:srgbClr val="6A7292"/>
                          </a:solidFill>
                          <a:effectLst/>
                          <a:uLnTx/>
                          <a:uFillTx/>
                          <a:latin typeface="+mn-lt"/>
                          <a:ea typeface="+mn-ea"/>
                          <a:cs typeface="+mn-cs"/>
                        </a:rPr>
                        <a:t>ri</a:t>
                      </a:r>
                      <a:r>
                        <a:rPr kumimoji="0" lang="sl-SI" sz="1050" b="0" i="0" u="none" strike="noStrike" kern="1200" cap="none" spc="0" normalizeH="0" baseline="0" noProof="0" dirty="0">
                          <a:ln>
                            <a:noFill/>
                          </a:ln>
                          <a:solidFill>
                            <a:srgbClr val="6A7292"/>
                          </a:solidFill>
                          <a:effectLst/>
                          <a:uLnTx/>
                          <a:uFillTx/>
                          <a:latin typeface="+mn-lt"/>
                          <a:ea typeface="+mn-ea"/>
                          <a:cs typeface="+mn-cs"/>
                        </a:rPr>
                        <a:t>c</a:t>
                      </a:r>
                      <a:r>
                        <a:rPr kumimoji="0" lang="it-IT" sz="1050" b="0" i="0" u="none" strike="noStrike" kern="1200" cap="none" spc="0" normalizeH="0" baseline="0" noProof="0" dirty="0">
                          <a:ln>
                            <a:noFill/>
                          </a:ln>
                          <a:solidFill>
                            <a:srgbClr val="6A7292"/>
                          </a:solidFill>
                          <a:effectLst/>
                          <a:uLnTx/>
                          <a:uFillTx/>
                          <a:latin typeface="+mn-lt"/>
                          <a:ea typeface="+mn-ea"/>
                          <a:cs typeface="+mn-cs"/>
                        </a:rPr>
                        <a:t>i</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M</a:t>
                      </a:r>
                      <a:r>
                        <a:rPr kumimoji="0" lang="sl-SI" sz="1050" b="0" i="0" u="none" strike="noStrike" kern="1200" cap="none" spc="0" normalizeH="0" baseline="0" noProof="0" dirty="0" err="1">
                          <a:ln>
                            <a:noFill/>
                          </a:ln>
                          <a:solidFill>
                            <a:srgbClr val="6A7292"/>
                          </a:solidFill>
                          <a:effectLst/>
                          <a:uLnTx/>
                          <a:uFillTx/>
                          <a:latin typeface="+mn-lt"/>
                          <a:ea typeface="+mn-ea"/>
                          <a:cs typeface="+mn-cs"/>
                        </a:rPr>
                        <a:t>aroko</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Nig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err="1">
                          <a:ln>
                            <a:noFill/>
                          </a:ln>
                          <a:solidFill>
                            <a:srgbClr val="6A7292"/>
                          </a:solidFill>
                          <a:effectLst/>
                          <a:uLnTx/>
                          <a:uFillTx/>
                          <a:latin typeface="+mn-lt"/>
                          <a:ea typeface="+mn-ea"/>
                          <a:cs typeface="+mn-cs"/>
                        </a:rPr>
                        <a:t>Nigeri</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it-IT" sz="1050" b="0" i="0" u="none" strike="noStrike" kern="1200" cap="none" spc="0" normalizeH="0" baseline="0" noProof="0" dirty="0">
                          <a:ln>
                            <a:noFill/>
                          </a:ln>
                          <a:solidFill>
                            <a:srgbClr val="6A7292"/>
                          </a:solidFill>
                          <a:effectLst/>
                          <a:uLnTx/>
                          <a:uFillTx/>
                          <a:latin typeface="+mn-lt"/>
                          <a:ea typeface="+mn-ea"/>
                          <a:cs typeface="+mn-cs"/>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Om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Portugal</a:t>
                      </a:r>
                      <a:r>
                        <a:rPr kumimoji="0" lang="sl-SI" sz="1050" b="0" i="0" u="none" strike="noStrike" kern="1200" cap="none" spc="0" normalizeH="0" baseline="0" noProof="0" dirty="0" err="1">
                          <a:ln>
                            <a:noFill/>
                          </a:ln>
                          <a:solidFill>
                            <a:srgbClr val="6A7292"/>
                          </a:solidFill>
                          <a:effectLst/>
                          <a:uLnTx/>
                          <a:uFillTx/>
                          <a:latin typeface="+mn-lt"/>
                          <a:ea typeface="+mn-ea"/>
                          <a:cs typeface="+mn-cs"/>
                        </a:rPr>
                        <a:t>ska</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K</a:t>
                      </a:r>
                      <a:r>
                        <a:rPr kumimoji="0" lang="it-IT" sz="1050" b="0" i="0" u="none" strike="noStrike" kern="1200" cap="none" spc="0" normalizeH="0" baseline="0" noProof="0" dirty="0" err="1">
                          <a:ln>
                            <a:noFill/>
                          </a:ln>
                          <a:solidFill>
                            <a:srgbClr val="6A7292"/>
                          </a:solidFill>
                          <a:effectLst/>
                          <a:uLnTx/>
                          <a:uFillTx/>
                          <a:latin typeface="+mn-lt"/>
                          <a:ea typeface="+mn-ea"/>
                          <a:cs typeface="+mn-cs"/>
                        </a:rPr>
                        <a:t>atar</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Seneg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Južna</a:t>
                      </a:r>
                      <a:r>
                        <a:rPr kumimoji="0" lang="it-IT" sz="1050" b="0" i="0" u="none" strike="noStrike" kern="1200" cap="none" spc="0" normalizeH="0" baseline="0" noProof="0" dirty="0">
                          <a:ln>
                            <a:noFill/>
                          </a:ln>
                          <a:solidFill>
                            <a:srgbClr val="6A7292"/>
                          </a:solidFill>
                          <a:effectLst/>
                          <a:uLnTx/>
                          <a:uFillTx/>
                          <a:latin typeface="+mn-lt"/>
                          <a:ea typeface="+mn-ea"/>
                          <a:cs typeface="+mn-cs"/>
                        </a:rPr>
                        <a:t> Afri</a:t>
                      </a:r>
                      <a:r>
                        <a:rPr kumimoji="0" lang="sl-SI" sz="1050" b="0" i="0" u="none" strike="noStrike" kern="1200" cap="none" spc="0" normalizeH="0" baseline="0" noProof="0" dirty="0">
                          <a:ln>
                            <a:noFill/>
                          </a:ln>
                          <a:solidFill>
                            <a:srgbClr val="6A7292"/>
                          </a:solidFill>
                          <a:effectLst/>
                          <a:uLnTx/>
                          <a:uFillTx/>
                          <a:latin typeface="+mn-lt"/>
                          <a:ea typeface="+mn-ea"/>
                          <a:cs typeface="+mn-cs"/>
                        </a:rPr>
                        <a:t>k</a:t>
                      </a:r>
                      <a:r>
                        <a:rPr kumimoji="0" lang="it-IT" sz="1050" b="0" i="0" u="none" strike="noStrike" kern="1200" cap="none" spc="0" normalizeH="0" baseline="0" noProof="0" dirty="0">
                          <a:ln>
                            <a:noFill/>
                          </a:ln>
                          <a:solidFill>
                            <a:srgbClr val="6A7292"/>
                          </a:solidFill>
                          <a:effectLst/>
                          <a:uLnTx/>
                          <a:uFillTx/>
                          <a:latin typeface="+mn-lt"/>
                          <a:ea typeface="+mn-ea"/>
                          <a:cs typeface="+mn-cs"/>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Sa</a:t>
                      </a:r>
                      <a:r>
                        <a:rPr kumimoji="0" lang="sl-SI" sz="1050" b="0" i="0" u="none" strike="noStrike" kern="1200" cap="none" spc="0" normalizeH="0" baseline="0" noProof="0" dirty="0" err="1">
                          <a:ln>
                            <a:noFill/>
                          </a:ln>
                          <a:solidFill>
                            <a:srgbClr val="6A7292"/>
                          </a:solidFill>
                          <a:effectLst/>
                          <a:uLnTx/>
                          <a:uFillTx/>
                          <a:latin typeface="+mn-lt"/>
                          <a:ea typeface="+mn-ea"/>
                          <a:cs typeface="+mn-cs"/>
                        </a:rPr>
                        <a:t>vdska</a:t>
                      </a:r>
                      <a:r>
                        <a:rPr kumimoji="0" lang="it-IT" sz="1050" b="0" i="0" u="none" strike="noStrike" kern="1200" cap="none" spc="0" normalizeH="0" baseline="0" noProof="0" dirty="0">
                          <a:ln>
                            <a:noFill/>
                          </a:ln>
                          <a:solidFill>
                            <a:srgbClr val="6A7292"/>
                          </a:solidFill>
                          <a:effectLst/>
                          <a:uLnTx/>
                          <a:uFillTx/>
                          <a:latin typeface="+mn-lt"/>
                          <a:ea typeface="+mn-ea"/>
                          <a:cs typeface="+mn-cs"/>
                        </a:rPr>
                        <a:t> Arabi</a:t>
                      </a: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it-IT" sz="1050" b="0" i="0" u="none" strike="noStrike" kern="1200" cap="none" spc="0" normalizeH="0" baseline="0" noProof="0" dirty="0">
                          <a:ln>
                            <a:noFill/>
                          </a:ln>
                          <a:solidFill>
                            <a:srgbClr val="6A7292"/>
                          </a:solidFill>
                          <a:effectLst/>
                          <a:uLnTx/>
                          <a:uFillTx/>
                          <a:latin typeface="+mn-lt"/>
                          <a:ea typeface="+mn-ea"/>
                          <a:cs typeface="+mn-cs"/>
                        </a:rPr>
                        <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Španija</a:t>
                      </a:r>
                      <a:r>
                        <a:rPr kumimoji="0" lang="it-IT" sz="1050" b="0" i="0" u="none" strike="noStrike" kern="1200" cap="none" spc="0" normalizeH="0" baseline="0" noProof="0" dirty="0">
                          <a:ln>
                            <a:noFill/>
                          </a:ln>
                          <a:solidFill>
                            <a:srgbClr val="6A7292"/>
                          </a:solidFill>
                          <a:effectLst/>
                          <a:uLnTx/>
                          <a:uFillTx/>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To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err="1">
                          <a:ln>
                            <a:noFill/>
                          </a:ln>
                          <a:solidFill>
                            <a:srgbClr val="6A7292"/>
                          </a:solidFill>
                          <a:effectLst/>
                          <a:uLnTx/>
                          <a:uFillTx/>
                          <a:latin typeface="+mn-lt"/>
                          <a:ea typeface="+mn-ea"/>
                          <a:cs typeface="+mn-cs"/>
                        </a:rPr>
                        <a:t>Tuni</a:t>
                      </a:r>
                      <a:r>
                        <a:rPr kumimoji="0" lang="sl-SI" sz="1050" b="0" i="0" u="none" strike="noStrike" kern="1200" cap="none" spc="0" normalizeH="0" baseline="0" noProof="0" dirty="0">
                          <a:ln>
                            <a:noFill/>
                          </a:ln>
                          <a:solidFill>
                            <a:srgbClr val="6A7292"/>
                          </a:solidFill>
                          <a:effectLst/>
                          <a:uLnTx/>
                          <a:uFillTx/>
                          <a:latin typeface="+mn-lt"/>
                          <a:ea typeface="+mn-ea"/>
                          <a:cs typeface="+mn-cs"/>
                        </a:rPr>
                        <a:t>zija</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err="1">
                          <a:ln>
                            <a:noFill/>
                          </a:ln>
                          <a:solidFill>
                            <a:srgbClr val="6A7292"/>
                          </a:solidFill>
                          <a:effectLst/>
                          <a:uLnTx/>
                          <a:uFillTx/>
                          <a:latin typeface="+mn-lt"/>
                          <a:ea typeface="+mn-ea"/>
                          <a:cs typeface="+mn-cs"/>
                        </a:rPr>
                        <a:t>Tur</a:t>
                      </a:r>
                      <a:r>
                        <a:rPr kumimoji="0" lang="sl-SI" sz="1050" b="0" i="0" u="none" strike="noStrike" kern="1200" cap="none" spc="0" normalizeH="0" baseline="0" noProof="0" dirty="0" err="1">
                          <a:ln>
                            <a:noFill/>
                          </a:ln>
                          <a:solidFill>
                            <a:srgbClr val="6A7292"/>
                          </a:solidFill>
                          <a:effectLst/>
                          <a:uLnTx/>
                          <a:uFillTx/>
                          <a:latin typeface="+mn-lt"/>
                          <a:ea typeface="+mn-ea"/>
                          <a:cs typeface="+mn-cs"/>
                        </a:rPr>
                        <a:t>čija</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dirty="0">
                          <a:ln>
                            <a:noFill/>
                          </a:ln>
                          <a:solidFill>
                            <a:srgbClr val="6A7292"/>
                          </a:solidFill>
                          <a:effectLst/>
                          <a:uLnTx/>
                          <a:uFillTx/>
                          <a:latin typeface="+mn-lt"/>
                          <a:ea typeface="+mn-ea"/>
                          <a:cs typeface="+mn-cs"/>
                        </a:rPr>
                        <a:t>Ugand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Združeni</a:t>
                      </a:r>
                      <a:r>
                        <a:rPr kumimoji="0" lang="it-IT" sz="1050" b="0" i="0" u="none" strike="noStrike" kern="1200" cap="none" spc="0" normalizeH="0" baseline="0" noProof="0" dirty="0">
                          <a:ln>
                            <a:noFill/>
                          </a:ln>
                          <a:solidFill>
                            <a:srgbClr val="6A7292"/>
                          </a:solidFill>
                          <a:effectLst/>
                          <a:uLnTx/>
                          <a:uFillTx/>
                          <a:latin typeface="+mn-lt"/>
                          <a:ea typeface="+mn-ea"/>
                          <a:cs typeface="+mn-cs"/>
                        </a:rPr>
                        <a:t> </a:t>
                      </a:r>
                      <a:r>
                        <a:rPr kumimoji="0" lang="it-IT" sz="1050" b="0" i="0" u="none" strike="noStrike" kern="1200" cap="none" spc="0" normalizeH="0" baseline="0" noProof="0" dirty="0" err="1">
                          <a:ln>
                            <a:noFill/>
                          </a:ln>
                          <a:solidFill>
                            <a:srgbClr val="6A7292"/>
                          </a:solidFill>
                          <a:effectLst/>
                          <a:uLnTx/>
                          <a:uFillTx/>
                          <a:latin typeface="+mn-lt"/>
                          <a:ea typeface="+mn-ea"/>
                          <a:cs typeface="+mn-cs"/>
                        </a:rPr>
                        <a:t>Arab</a:t>
                      </a:r>
                      <a:r>
                        <a:rPr kumimoji="0" lang="sl-SI" sz="1050" b="0" i="0" u="none" strike="noStrike" kern="1200" cap="none" spc="0" normalizeH="0" baseline="0" noProof="0" dirty="0">
                          <a:ln>
                            <a:noFill/>
                          </a:ln>
                          <a:solidFill>
                            <a:srgbClr val="6A7292"/>
                          </a:solidFill>
                          <a:effectLst/>
                          <a:uLnTx/>
                          <a:uFillTx/>
                          <a:latin typeface="+mn-lt"/>
                          <a:ea typeface="+mn-ea"/>
                          <a:cs typeface="+mn-cs"/>
                        </a:rPr>
                        <a:t>ski</a:t>
                      </a:r>
                      <a:r>
                        <a:rPr kumimoji="0" lang="it-IT" sz="1050" b="0" i="0" u="none" strike="noStrike" kern="1200" cap="none" spc="0" normalizeH="0" baseline="0" noProof="0" dirty="0">
                          <a:ln>
                            <a:noFill/>
                          </a:ln>
                          <a:solidFill>
                            <a:srgbClr val="6A7292"/>
                          </a:solidFill>
                          <a:effectLst/>
                          <a:uLnTx/>
                          <a:uFillTx/>
                          <a:latin typeface="+mn-lt"/>
                          <a:ea typeface="+mn-ea"/>
                          <a:cs typeface="+mn-cs"/>
                        </a:rPr>
                        <a:t> </a:t>
                      </a:r>
                      <a:r>
                        <a:rPr kumimoji="0" lang="it-IT" sz="1050" b="0" i="0" u="none" strike="noStrike" kern="1200" cap="none" spc="0" normalizeH="0" baseline="0" noProof="0" dirty="0" err="1">
                          <a:ln>
                            <a:noFill/>
                          </a:ln>
                          <a:solidFill>
                            <a:srgbClr val="6A7292"/>
                          </a:solidFill>
                          <a:effectLst/>
                          <a:uLnTx/>
                          <a:uFillTx/>
                          <a:latin typeface="+mn-lt"/>
                          <a:ea typeface="+mn-ea"/>
                          <a:cs typeface="+mn-cs"/>
                        </a:rPr>
                        <a:t>Emirat</a:t>
                      </a:r>
                      <a:r>
                        <a:rPr kumimoji="0" lang="sl-SI" sz="1050" b="0" i="0" u="none" strike="noStrike" kern="1200" cap="none" spc="0" normalizeH="0" baseline="0" noProof="0" dirty="0">
                          <a:ln>
                            <a:noFill/>
                          </a:ln>
                          <a:solidFill>
                            <a:srgbClr val="6A7292"/>
                          </a:solidFill>
                          <a:effectLst/>
                          <a:uLnTx/>
                          <a:uFillTx/>
                          <a:latin typeface="+mn-lt"/>
                          <a:ea typeface="+mn-ea"/>
                          <a:cs typeface="+mn-cs"/>
                        </a:rPr>
                        <a:t>i</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l-SI" sz="1050" b="0" i="0" u="none" strike="noStrike" kern="1200" cap="none" spc="0" normalizeH="0" baseline="0" noProof="0" dirty="0">
                          <a:ln>
                            <a:noFill/>
                          </a:ln>
                          <a:solidFill>
                            <a:srgbClr val="6A7292"/>
                          </a:solidFill>
                          <a:effectLst/>
                          <a:uLnTx/>
                          <a:uFillTx/>
                          <a:latin typeface="+mn-lt"/>
                          <a:ea typeface="+mn-ea"/>
                          <a:cs typeface="+mn-cs"/>
                        </a:rPr>
                        <a:t>J</a:t>
                      </a:r>
                      <a:r>
                        <a:rPr kumimoji="0" lang="it-IT" sz="1050" b="0" i="0" u="none" strike="noStrike" kern="1200" cap="none" spc="0" normalizeH="0" baseline="0" noProof="0" dirty="0" err="1">
                          <a:ln>
                            <a:noFill/>
                          </a:ln>
                          <a:solidFill>
                            <a:srgbClr val="6A7292"/>
                          </a:solidFill>
                          <a:effectLst/>
                          <a:uLnTx/>
                          <a:uFillTx/>
                          <a:latin typeface="+mn-lt"/>
                          <a:ea typeface="+mn-ea"/>
                          <a:cs typeface="+mn-cs"/>
                        </a:rPr>
                        <a:t>emen</a:t>
                      </a:r>
                      <a:endParaRPr kumimoji="0" lang="it-IT" sz="1050" b="0" i="0" u="none" strike="noStrike" kern="1200" cap="none" spc="0" normalizeH="0" baseline="0" noProof="0" dirty="0">
                        <a:ln>
                          <a:noFill/>
                        </a:ln>
                        <a:solidFill>
                          <a:srgbClr val="6A7292"/>
                        </a:solidFill>
                        <a:effectLst/>
                        <a:uLnTx/>
                        <a:uFillTx/>
                        <a:latin typeface="+mn-lt"/>
                        <a:ea typeface="+mn-ea"/>
                        <a:cs typeface="+mn-cs"/>
                      </a:endParaRP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2"/>
                      </a:solidFill>
                      <a:prstDash val="solid"/>
                      <a:round/>
                      <a:headEnd type="none" w="med" len="med"/>
                      <a:tailEnd type="none" w="med" len="med"/>
                    </a:lnT>
                    <a:lnB w="9525" cap="flat" cmpd="sng" algn="ctr">
                      <a:solidFill>
                        <a:schemeClr val="bg2"/>
                      </a:solidFill>
                      <a:prstDash val="solid"/>
                      <a:round/>
                      <a:headEnd type="none" w="med" len="med"/>
                      <a:tailEnd type="none" w="med" len="med"/>
                    </a:lnB>
                    <a:solidFill>
                      <a:schemeClr val="bg1">
                        <a:alpha val="77000"/>
                      </a:schemeClr>
                    </a:solidFill>
                  </a:tcPr>
                </a:tc>
                <a:extLst>
                  <a:ext uri="{0D108BD9-81ED-4DB2-BD59-A6C34878D82A}">
                    <a16:rowId xmlns:a16="http://schemas.microsoft.com/office/drawing/2014/main" val="2437388122"/>
                  </a:ext>
                </a:extLst>
              </a:tr>
            </a:tbl>
          </a:graphicData>
        </a:graphic>
      </p:graphicFrame>
      <p:sp useBgFill="1">
        <p:nvSpPr>
          <p:cNvPr id="19" name="Rectangle 18"/>
          <p:cNvSpPr/>
          <p:nvPr/>
        </p:nvSpPr>
        <p:spPr>
          <a:xfrm>
            <a:off x="570589" y="185086"/>
            <a:ext cx="9971313" cy="643271"/>
          </a:xfrm>
          <a:prstGeom prst="rect">
            <a:avLst/>
          </a:prstGeom>
          <a:ln w="12700" cap="rnd">
            <a:no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lvl="0">
              <a:defRPr/>
            </a:pPr>
            <a:r>
              <a:rPr lang="sl-SI" sz="2800" b="1" cap="all" dirty="0">
                <a:solidFill>
                  <a:schemeClr val="bg2"/>
                </a:solidFill>
                <a:latin typeface="+mj-lt"/>
                <a:ea typeface="+mj-ea"/>
                <a:cs typeface="+mj-cs"/>
              </a:rPr>
              <a:t>GLOBALNE REŠITVE, LOKALNE STORITVE</a:t>
            </a:r>
            <a:endParaRPr lang="fr-FR" sz="2800" b="1" cap="all" dirty="0">
              <a:solidFill>
                <a:schemeClr val="bg2"/>
              </a:solidFill>
              <a:latin typeface="+mj-lt"/>
              <a:ea typeface="+mj-ea"/>
              <a:cs typeface="+mj-cs"/>
            </a:endParaRPr>
          </a:p>
        </p:txBody>
      </p:sp>
    </p:spTree>
    <p:extLst>
      <p:ext uri="{BB962C8B-B14F-4D97-AF65-F5344CB8AC3E}">
        <p14:creationId xmlns:p14="http://schemas.microsoft.com/office/powerpoint/2010/main" val="3374936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fade">
                                      <p:cBhvr>
                                        <p:cTn id="15" dur="500"/>
                                        <p:tgtEl>
                                          <p:spTgt spid="11"/>
                                        </p:tgtEl>
                                      </p:cBhvr>
                                    </p:animEffect>
                                  </p:childTnLst>
                                </p:cTn>
                              </p:par>
                              <p:par>
                                <p:cTn id="16" presetID="10" presetClass="entr" presetSubtype="0" fill="hold" grpId="0" nodeType="withEffect">
                                  <p:stCondLst>
                                    <p:cond delay="25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nodeType="withEffect">
                                  <p:stCondLst>
                                    <p:cond delay="5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500"/>
                                        <p:tgtEl>
                                          <p:spTgt spid="10"/>
                                        </p:tgtEl>
                                      </p:cBhvr>
                                    </p:animEffect>
                                  </p:childTnLst>
                                </p:cTn>
                              </p:par>
                              <p:par>
                                <p:cTn id="22" presetID="10" presetClass="entr" presetSubtype="0" fill="hold" nodeType="withEffect">
                                  <p:stCondLst>
                                    <p:cond delay="75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500"/>
                                        <p:tgtEl>
                                          <p:spTgt spid="12"/>
                                        </p:tgtEl>
                                      </p:cBhvr>
                                    </p:animEffect>
                                  </p:childTnLst>
                                </p:cTn>
                              </p:par>
                              <p:par>
                                <p:cTn id="25" presetID="10" presetClass="entr" presetSubtype="0" fill="hold" nodeType="withEffect">
                                  <p:stCondLst>
                                    <p:cond delay="10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par>
                                <p:cTn id="28" presetID="10" presetClass="entr" presetSubtype="0" fill="hold" nodeType="withEffect">
                                  <p:stCondLst>
                                    <p:cond delay="1250"/>
                                  </p:stCondLst>
                                  <p:childTnLst>
                                    <p:set>
                                      <p:cBhvr>
                                        <p:cTn id="29" dur="1" fill="hold">
                                          <p:stCondLst>
                                            <p:cond delay="0"/>
                                          </p:stCondLst>
                                        </p:cTn>
                                        <p:tgtEl>
                                          <p:spTgt spid="15"/>
                                        </p:tgtEl>
                                        <p:attrNameLst>
                                          <p:attrName>style.visibility</p:attrName>
                                        </p:attrNameLst>
                                      </p:cBhvr>
                                      <p:to>
                                        <p:strVal val="visible"/>
                                      </p:to>
                                    </p:set>
                                    <p:animEffect transition="in" filter="fade">
                                      <p:cBhvr>
                                        <p:cTn id="30" dur="500"/>
                                        <p:tgtEl>
                                          <p:spTgt spid="15"/>
                                        </p:tgtEl>
                                      </p:cBhvr>
                                    </p:animEffect>
                                  </p:childTnLst>
                                </p:cTn>
                              </p:par>
                              <p:par>
                                <p:cTn id="31" presetID="10" presetClass="entr" presetSubtype="0" fill="hold" nodeType="withEffect">
                                  <p:stCondLst>
                                    <p:cond delay="1500"/>
                                  </p:stCondLst>
                                  <p:childTnLst>
                                    <p:set>
                                      <p:cBhvr>
                                        <p:cTn id="32" dur="1" fill="hold">
                                          <p:stCondLst>
                                            <p:cond delay="0"/>
                                          </p:stCondLst>
                                        </p:cTn>
                                        <p:tgtEl>
                                          <p:spTgt spid="16"/>
                                        </p:tgtEl>
                                        <p:attrNameLst>
                                          <p:attrName>style.visibility</p:attrName>
                                        </p:attrNameLst>
                                      </p:cBhvr>
                                      <p:to>
                                        <p:strVal val="visible"/>
                                      </p:to>
                                    </p:set>
                                    <p:animEffect transition="in" filter="fade">
                                      <p:cBhvr>
                                        <p:cTn id="33" dur="500"/>
                                        <p:tgtEl>
                                          <p:spTgt spid="16"/>
                                        </p:tgtEl>
                                      </p:cBhvr>
                                    </p:animEffect>
                                  </p:childTnLst>
                                </p:cTn>
                              </p:par>
                              <p:par>
                                <p:cTn id="34" presetID="10" presetClass="entr" presetSubtype="0" fill="hold" nodeType="withEffect">
                                  <p:stCondLst>
                                    <p:cond delay="1750"/>
                                  </p:stCondLst>
                                  <p:childTnLst>
                                    <p:set>
                                      <p:cBhvr>
                                        <p:cTn id="35" dur="1" fill="hold">
                                          <p:stCondLst>
                                            <p:cond delay="0"/>
                                          </p:stCondLst>
                                        </p:cTn>
                                        <p:tgtEl>
                                          <p:spTgt spid="17"/>
                                        </p:tgtEl>
                                        <p:attrNameLst>
                                          <p:attrName>style.visibility</p:attrName>
                                        </p:attrNameLst>
                                      </p:cBhvr>
                                      <p:to>
                                        <p:strVal val="visible"/>
                                      </p:to>
                                    </p:set>
                                    <p:animEffect transition="in" filter="fade">
                                      <p:cBhvr>
                                        <p:cTn id="36"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t 15" hidden="1">
            <a:extLst>
              <a:ext uri="{FF2B5EF4-FFF2-40B4-BE49-F238E27FC236}">
                <a16:creationId xmlns:a16="http://schemas.microsoft.com/office/drawing/2014/main" id="{66C4DD04-4A31-4EF2-A4CB-CDE778DA843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97" name="Diapositive think-cell" r:id="rId5" imgW="532" imgH="530" progId="TCLayout.ActiveDocument.1">
                  <p:embed/>
                </p:oleObj>
              </mc:Choice>
              <mc:Fallback>
                <p:oleObj name="Diapositive think-cell" r:id="rId5" imgW="532" imgH="530" progId="TCLayout.ActiveDocument.1">
                  <p:embed/>
                  <p:pic>
                    <p:nvPicPr>
                      <p:cNvPr id="16" name="Objet 15" hidden="1">
                        <a:extLst>
                          <a:ext uri="{FF2B5EF4-FFF2-40B4-BE49-F238E27FC236}">
                            <a16:creationId xmlns:a16="http://schemas.microsoft.com/office/drawing/2014/main" id="{66C4DD04-4A31-4EF2-A4CB-CDE778DA843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itre 10">
            <a:extLst>
              <a:ext uri="{FF2B5EF4-FFF2-40B4-BE49-F238E27FC236}">
                <a16:creationId xmlns:a16="http://schemas.microsoft.com/office/drawing/2014/main" id="{038375BE-E3B7-47CC-BF9B-06681203EFB4}"/>
              </a:ext>
            </a:extLst>
          </p:cNvPr>
          <p:cNvSpPr>
            <a:spLocks noGrp="1"/>
          </p:cNvSpPr>
          <p:nvPr>
            <p:ph type="title"/>
          </p:nvPr>
        </p:nvSpPr>
        <p:spPr>
          <a:xfrm>
            <a:off x="777388" y="432006"/>
            <a:ext cx="5098817" cy="480131"/>
          </a:xfrm>
        </p:spPr>
        <p:txBody>
          <a:bodyPr vert="horz"/>
          <a:lstStyle/>
          <a:p>
            <a:r>
              <a:rPr lang="sl-SI" dirty="0"/>
              <a:t>COFACE V SLOVENIJI</a:t>
            </a:r>
            <a:endParaRPr lang="en-GB" dirty="0"/>
          </a:p>
        </p:txBody>
      </p:sp>
      <p:sp>
        <p:nvSpPr>
          <p:cNvPr id="21" name="Espace réservé du texte 20">
            <a:extLst>
              <a:ext uri="{FF2B5EF4-FFF2-40B4-BE49-F238E27FC236}">
                <a16:creationId xmlns:a16="http://schemas.microsoft.com/office/drawing/2014/main" id="{AC561E61-7B7A-44BB-9963-0B56F58132C9}"/>
              </a:ext>
            </a:extLst>
          </p:cNvPr>
          <p:cNvSpPr>
            <a:spLocks noGrp="1"/>
          </p:cNvSpPr>
          <p:nvPr>
            <p:ph type="body" sz="quarter" idx="12"/>
          </p:nvPr>
        </p:nvSpPr>
        <p:spPr>
          <a:xfrm>
            <a:off x="904743" y="1813559"/>
            <a:ext cx="3210534" cy="4251957"/>
          </a:xfrm>
        </p:spPr>
        <p:txBody>
          <a:bodyPr/>
          <a:lstStyle/>
          <a:p>
            <a:r>
              <a:rPr lang="sl-SI" b="1" dirty="0"/>
              <a:t>COFACE PKZ </a:t>
            </a:r>
            <a:r>
              <a:rPr lang="sl-SI" b="1" dirty="0" err="1"/>
              <a:t>d.d</a:t>
            </a:r>
            <a:r>
              <a:rPr lang="sl-SI" b="1" dirty="0"/>
              <a:t>: </a:t>
            </a:r>
          </a:p>
          <a:p>
            <a:r>
              <a:rPr lang="sl-SI" sz="1400" dirty="0"/>
              <a:t>Več kot </a:t>
            </a:r>
            <a:r>
              <a:rPr lang="sl-SI" sz="1400" u="sng" dirty="0"/>
              <a:t>60%</a:t>
            </a:r>
            <a:r>
              <a:rPr lang="sl-SI" sz="1400" dirty="0"/>
              <a:t> tržni delež v </a:t>
            </a:r>
            <a:r>
              <a:rPr lang="sl-SI" sz="1400" dirty="0" err="1"/>
              <a:t>sloveniji</a:t>
            </a:r>
            <a:r>
              <a:rPr lang="sl-SI" sz="1400" dirty="0"/>
              <a:t> pri zavarovanju terjatev</a:t>
            </a:r>
            <a:endParaRPr lang="en-GB" sz="1400" dirty="0"/>
          </a:p>
        </p:txBody>
      </p:sp>
      <p:sp>
        <p:nvSpPr>
          <p:cNvPr id="22" name="Espace réservé du texte 21">
            <a:extLst>
              <a:ext uri="{FF2B5EF4-FFF2-40B4-BE49-F238E27FC236}">
                <a16:creationId xmlns:a16="http://schemas.microsoft.com/office/drawing/2014/main" id="{055A2F58-2A5C-4F42-B2A1-548F5904E5AF}"/>
              </a:ext>
            </a:extLst>
          </p:cNvPr>
          <p:cNvSpPr>
            <a:spLocks noGrp="1"/>
          </p:cNvSpPr>
          <p:nvPr>
            <p:ph type="body" sz="quarter" idx="13"/>
          </p:nvPr>
        </p:nvSpPr>
        <p:spPr>
          <a:xfrm>
            <a:off x="4324004" y="1813559"/>
            <a:ext cx="3731941" cy="4251957"/>
          </a:xfrm>
        </p:spPr>
        <p:txBody>
          <a:bodyPr/>
          <a:lstStyle/>
          <a:p>
            <a:r>
              <a:rPr lang="sl-SI" b="1" dirty="0"/>
              <a:t>COFACE SLOVENIJA STORITVE d.o.o.:</a:t>
            </a:r>
          </a:p>
          <a:p>
            <a:r>
              <a:rPr lang="sl-SI" dirty="0"/>
              <a:t>- </a:t>
            </a:r>
            <a:r>
              <a:rPr lang="sl-SI" sz="1400" dirty="0"/>
              <a:t>Poslovne informacije</a:t>
            </a:r>
          </a:p>
          <a:p>
            <a:r>
              <a:rPr lang="sl-SI" sz="1400" dirty="0"/>
              <a:t>- Izterjava dolgov</a:t>
            </a:r>
            <a:endParaRPr lang="en-GB" sz="1400" dirty="0"/>
          </a:p>
        </p:txBody>
      </p:sp>
      <p:sp>
        <p:nvSpPr>
          <p:cNvPr id="23" name="Espace réservé du texte 22">
            <a:extLst>
              <a:ext uri="{FF2B5EF4-FFF2-40B4-BE49-F238E27FC236}">
                <a16:creationId xmlns:a16="http://schemas.microsoft.com/office/drawing/2014/main" id="{B36F1817-2AEA-4211-AC8D-B8BDFB214F2F}"/>
              </a:ext>
            </a:extLst>
          </p:cNvPr>
          <p:cNvSpPr>
            <a:spLocks noGrp="1"/>
          </p:cNvSpPr>
          <p:nvPr>
            <p:ph type="body" sz="quarter" idx="14"/>
          </p:nvPr>
        </p:nvSpPr>
        <p:spPr/>
        <p:txBody>
          <a:bodyPr/>
          <a:lstStyle/>
          <a:p>
            <a:r>
              <a:rPr lang="sl-SI" b="1" dirty="0"/>
              <a:t>Hub za </a:t>
            </a:r>
            <a:r>
              <a:rPr lang="sl-SI" b="1" dirty="0" err="1"/>
              <a:t>adriatic</a:t>
            </a:r>
            <a:r>
              <a:rPr lang="sl-SI" b="1" dirty="0"/>
              <a:t> regijo</a:t>
            </a:r>
          </a:p>
          <a:p>
            <a:endParaRPr lang="sl-SI" b="1" dirty="0"/>
          </a:p>
        </p:txBody>
      </p:sp>
      <p:grpSp>
        <p:nvGrpSpPr>
          <p:cNvPr id="24" name="Groupe 23">
            <a:extLst>
              <a:ext uri="{FF2B5EF4-FFF2-40B4-BE49-F238E27FC236}">
                <a16:creationId xmlns:a16="http://schemas.microsoft.com/office/drawing/2014/main" id="{AF45E26E-2B8D-42D0-B53F-3742C2A58D66}"/>
              </a:ext>
            </a:extLst>
          </p:cNvPr>
          <p:cNvGrpSpPr/>
          <p:nvPr/>
        </p:nvGrpSpPr>
        <p:grpSpPr>
          <a:xfrm>
            <a:off x="1164717" y="2475357"/>
            <a:ext cx="438150" cy="438150"/>
            <a:chOff x="5876925" y="3209925"/>
            <a:chExt cx="438150" cy="438150"/>
          </a:xfrm>
        </p:grpSpPr>
        <p:sp>
          <p:nvSpPr>
            <p:cNvPr id="25" name="Forme libre : forme 24">
              <a:extLst>
                <a:ext uri="{FF2B5EF4-FFF2-40B4-BE49-F238E27FC236}">
                  <a16:creationId xmlns:a16="http://schemas.microsoft.com/office/drawing/2014/main" id="{1551F16E-A543-421D-97D4-CD794EC48F12}"/>
                </a:ext>
              </a:extLst>
            </p:cNvPr>
            <p:cNvSpPr/>
            <p:nvPr/>
          </p:nvSpPr>
          <p:spPr>
            <a:xfrm>
              <a:off x="5876925" y="3209925"/>
              <a:ext cx="314325" cy="314325"/>
            </a:xfrm>
            <a:custGeom>
              <a:avLst/>
              <a:gdLst>
                <a:gd name="connsiteX0" fmla="*/ 314325 w 314325"/>
                <a:gd name="connsiteY0" fmla="*/ 157163 h 314325"/>
                <a:gd name="connsiteX1" fmla="*/ 157163 w 314325"/>
                <a:gd name="connsiteY1" fmla="*/ 314325 h 314325"/>
                <a:gd name="connsiteX2" fmla="*/ 0 w 314325"/>
                <a:gd name="connsiteY2" fmla="*/ 157163 h 314325"/>
                <a:gd name="connsiteX3" fmla="*/ 157163 w 314325"/>
                <a:gd name="connsiteY3" fmla="*/ 0 h 314325"/>
                <a:gd name="connsiteX4" fmla="*/ 314325 w 314325"/>
                <a:gd name="connsiteY4" fmla="*/ 157163 h 3143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4325" h="314325">
                  <a:moveTo>
                    <a:pt x="314325" y="157163"/>
                  </a:moveTo>
                  <a:cubicBezTo>
                    <a:pt x="314325" y="243961"/>
                    <a:pt x="243961" y="314325"/>
                    <a:pt x="157163" y="314325"/>
                  </a:cubicBezTo>
                  <a:cubicBezTo>
                    <a:pt x="70364" y="314325"/>
                    <a:pt x="0" y="243961"/>
                    <a:pt x="0" y="157163"/>
                  </a:cubicBezTo>
                  <a:cubicBezTo>
                    <a:pt x="0" y="70364"/>
                    <a:pt x="70364" y="0"/>
                    <a:pt x="157163" y="0"/>
                  </a:cubicBezTo>
                  <a:cubicBezTo>
                    <a:pt x="243961" y="0"/>
                    <a:pt x="314325" y="70364"/>
                    <a:pt x="314325" y="157163"/>
                  </a:cubicBezTo>
                  <a:close/>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6" name="Forme libre : forme 25">
              <a:extLst>
                <a:ext uri="{FF2B5EF4-FFF2-40B4-BE49-F238E27FC236}">
                  <a16:creationId xmlns:a16="http://schemas.microsoft.com/office/drawing/2014/main" id="{93721A79-34B1-4315-AC0C-4297708C5571}"/>
                </a:ext>
              </a:extLst>
            </p:cNvPr>
            <p:cNvSpPr/>
            <p:nvPr/>
          </p:nvSpPr>
          <p:spPr>
            <a:xfrm>
              <a:off x="6172200" y="3505200"/>
              <a:ext cx="142875" cy="142875"/>
            </a:xfrm>
            <a:custGeom>
              <a:avLst/>
              <a:gdLst>
                <a:gd name="connsiteX0" fmla="*/ 134493 w 142875"/>
                <a:gd name="connsiteY0" fmla="*/ 94107 h 142875"/>
                <a:gd name="connsiteX1" fmla="*/ 48768 w 142875"/>
                <a:gd name="connsiteY1" fmla="*/ 8382 h 142875"/>
                <a:gd name="connsiteX2" fmla="*/ 28575 w 142875"/>
                <a:gd name="connsiteY2" fmla="*/ 0 h 142875"/>
                <a:gd name="connsiteX3" fmla="*/ 0 w 142875"/>
                <a:gd name="connsiteY3" fmla="*/ 28575 h 142875"/>
                <a:gd name="connsiteX4" fmla="*/ 8382 w 142875"/>
                <a:gd name="connsiteY4" fmla="*/ 48768 h 142875"/>
                <a:gd name="connsiteX5" fmla="*/ 94107 w 142875"/>
                <a:gd name="connsiteY5" fmla="*/ 134493 h 142875"/>
                <a:gd name="connsiteX6" fmla="*/ 114300 w 142875"/>
                <a:gd name="connsiteY6" fmla="*/ 142875 h 142875"/>
                <a:gd name="connsiteX7" fmla="*/ 142875 w 142875"/>
                <a:gd name="connsiteY7" fmla="*/ 114300 h 142875"/>
                <a:gd name="connsiteX8" fmla="*/ 134493 w 142875"/>
                <a:gd name="connsiteY8" fmla="*/ 94107 h 142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75" h="142875">
                  <a:moveTo>
                    <a:pt x="134493" y="94107"/>
                  </a:moveTo>
                  <a:lnTo>
                    <a:pt x="48768" y="8382"/>
                  </a:lnTo>
                  <a:cubicBezTo>
                    <a:pt x="43625" y="3239"/>
                    <a:pt x="36481" y="0"/>
                    <a:pt x="28575" y="0"/>
                  </a:cubicBezTo>
                  <a:cubicBezTo>
                    <a:pt x="12764" y="0"/>
                    <a:pt x="0" y="12764"/>
                    <a:pt x="0" y="28575"/>
                  </a:cubicBezTo>
                  <a:cubicBezTo>
                    <a:pt x="0" y="36481"/>
                    <a:pt x="3239" y="43625"/>
                    <a:pt x="8382" y="48768"/>
                  </a:cubicBezTo>
                  <a:lnTo>
                    <a:pt x="94107" y="134493"/>
                  </a:lnTo>
                  <a:cubicBezTo>
                    <a:pt x="99250" y="139637"/>
                    <a:pt x="106394" y="142875"/>
                    <a:pt x="114300" y="142875"/>
                  </a:cubicBezTo>
                  <a:cubicBezTo>
                    <a:pt x="130112" y="142875"/>
                    <a:pt x="142875" y="130112"/>
                    <a:pt x="142875" y="114300"/>
                  </a:cubicBezTo>
                  <a:cubicBezTo>
                    <a:pt x="142875" y="106394"/>
                    <a:pt x="139637" y="99250"/>
                    <a:pt x="134493" y="94107"/>
                  </a:cubicBezTo>
                  <a:close/>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7" name="Forme libre : forme 26">
              <a:extLst>
                <a:ext uri="{FF2B5EF4-FFF2-40B4-BE49-F238E27FC236}">
                  <a16:creationId xmlns:a16="http://schemas.microsoft.com/office/drawing/2014/main" id="{171C3225-1B06-4A0E-A374-D5BC47608B69}"/>
                </a:ext>
              </a:extLst>
            </p:cNvPr>
            <p:cNvSpPr/>
            <p:nvPr/>
          </p:nvSpPr>
          <p:spPr>
            <a:xfrm>
              <a:off x="6143625" y="3476625"/>
              <a:ext cx="38100" cy="38100"/>
            </a:xfrm>
            <a:custGeom>
              <a:avLst/>
              <a:gdLst>
                <a:gd name="connsiteX0" fmla="*/ 38100 w 38100"/>
                <a:gd name="connsiteY0" fmla="*/ 38100 h 38100"/>
                <a:gd name="connsiteX1" fmla="*/ 0 w 38100"/>
                <a:gd name="connsiteY1" fmla="*/ 0 h 38100"/>
              </a:gdLst>
              <a:ahLst/>
              <a:cxnLst>
                <a:cxn ang="0">
                  <a:pos x="connsiteX0" y="connsiteY0"/>
                </a:cxn>
                <a:cxn ang="0">
                  <a:pos x="connsiteX1" y="connsiteY1"/>
                </a:cxn>
              </a:cxnLst>
              <a:rect l="l" t="t" r="r" b="b"/>
              <a:pathLst>
                <a:path w="38100" h="38100">
                  <a:moveTo>
                    <a:pt x="38100" y="38100"/>
                  </a:moveTo>
                  <a:lnTo>
                    <a:pt x="0" y="0"/>
                  </a:lnTo>
                </a:path>
              </a:pathLst>
            </a:custGeom>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8" name="Forme libre : forme 27">
              <a:extLst>
                <a:ext uri="{FF2B5EF4-FFF2-40B4-BE49-F238E27FC236}">
                  <a16:creationId xmlns:a16="http://schemas.microsoft.com/office/drawing/2014/main" id="{C948F0BF-A21D-4473-91D0-17F691BB2809}"/>
                </a:ext>
              </a:extLst>
            </p:cNvPr>
            <p:cNvSpPr/>
            <p:nvPr/>
          </p:nvSpPr>
          <p:spPr>
            <a:xfrm>
              <a:off x="5998083" y="3248025"/>
              <a:ext cx="36004" cy="5524"/>
            </a:xfrm>
            <a:custGeom>
              <a:avLst/>
              <a:gdLst>
                <a:gd name="connsiteX0" fmla="*/ 36004 w 36004"/>
                <a:gd name="connsiteY0" fmla="*/ 0 h 5524"/>
                <a:gd name="connsiteX1" fmla="*/ 0 w 36004"/>
                <a:gd name="connsiteY1" fmla="*/ 5524 h 5524"/>
              </a:gdLst>
              <a:ahLst/>
              <a:cxnLst>
                <a:cxn ang="0">
                  <a:pos x="connsiteX0" y="connsiteY0"/>
                </a:cxn>
                <a:cxn ang="0">
                  <a:pos x="connsiteX1" y="connsiteY1"/>
                </a:cxn>
              </a:cxnLst>
              <a:rect l="l" t="t" r="r" b="b"/>
              <a:pathLst>
                <a:path w="36004" h="5524">
                  <a:moveTo>
                    <a:pt x="36004" y="0"/>
                  </a:moveTo>
                  <a:cubicBezTo>
                    <a:pt x="23432" y="0"/>
                    <a:pt x="11335" y="1905"/>
                    <a:pt x="0" y="5524"/>
                  </a:cubicBez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29" name="Forme libre : forme 28">
              <a:extLst>
                <a:ext uri="{FF2B5EF4-FFF2-40B4-BE49-F238E27FC236}">
                  <a16:creationId xmlns:a16="http://schemas.microsoft.com/office/drawing/2014/main" id="{872ED6F4-26FF-4E7C-A349-D005EE4BF639}"/>
                </a:ext>
              </a:extLst>
            </p:cNvPr>
            <p:cNvSpPr/>
            <p:nvPr/>
          </p:nvSpPr>
          <p:spPr>
            <a:xfrm>
              <a:off x="5915025" y="3260883"/>
              <a:ext cx="65246" cy="106203"/>
            </a:xfrm>
            <a:custGeom>
              <a:avLst/>
              <a:gdLst>
                <a:gd name="connsiteX0" fmla="*/ 0 w 65246"/>
                <a:gd name="connsiteY0" fmla="*/ 106204 h 106203"/>
                <a:gd name="connsiteX1" fmla="*/ 65246 w 65246"/>
                <a:gd name="connsiteY1" fmla="*/ 0 h 106203"/>
              </a:gdLst>
              <a:ahLst/>
              <a:cxnLst>
                <a:cxn ang="0">
                  <a:pos x="connsiteX0" y="connsiteY0"/>
                </a:cxn>
                <a:cxn ang="0">
                  <a:pos x="connsiteX1" y="connsiteY1"/>
                </a:cxn>
              </a:cxnLst>
              <a:rect l="l" t="t" r="r" b="b"/>
              <a:pathLst>
                <a:path w="65246" h="106203">
                  <a:moveTo>
                    <a:pt x="0" y="106204"/>
                  </a:moveTo>
                  <a:cubicBezTo>
                    <a:pt x="0" y="59817"/>
                    <a:pt x="26575" y="19622"/>
                    <a:pt x="65246" y="0"/>
                  </a:cubicBez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0" name="Forme libre : forme 29">
              <a:extLst>
                <a:ext uri="{FF2B5EF4-FFF2-40B4-BE49-F238E27FC236}">
                  <a16:creationId xmlns:a16="http://schemas.microsoft.com/office/drawing/2014/main" id="{F3809688-3014-4887-96E9-F597060C11E3}"/>
                </a:ext>
              </a:extLst>
            </p:cNvPr>
            <p:cNvSpPr/>
            <p:nvPr/>
          </p:nvSpPr>
          <p:spPr>
            <a:xfrm>
              <a:off x="6068853" y="3401853"/>
              <a:ext cx="79152" cy="79152"/>
            </a:xfrm>
            <a:custGeom>
              <a:avLst/>
              <a:gdLst>
                <a:gd name="connsiteX0" fmla="*/ 0 w 79152"/>
                <a:gd name="connsiteY0" fmla="*/ 79153 h 79152"/>
                <a:gd name="connsiteX1" fmla="*/ 79153 w 79152"/>
                <a:gd name="connsiteY1" fmla="*/ 0 h 79152"/>
              </a:gdLst>
              <a:ahLst/>
              <a:cxnLst>
                <a:cxn ang="0">
                  <a:pos x="connsiteX0" y="connsiteY0"/>
                </a:cxn>
                <a:cxn ang="0">
                  <a:pos x="connsiteX1" y="connsiteY1"/>
                </a:cxn>
              </a:cxnLst>
              <a:rect l="l" t="t" r="r" b="b"/>
              <a:pathLst>
                <a:path w="79152" h="79152">
                  <a:moveTo>
                    <a:pt x="0" y="79153"/>
                  </a:moveTo>
                  <a:cubicBezTo>
                    <a:pt x="37814" y="67628"/>
                    <a:pt x="67628" y="37814"/>
                    <a:pt x="79153" y="0"/>
                  </a:cubicBezTo>
                </a:path>
              </a:pathLst>
            </a:custGeom>
            <a:noFill/>
            <a:ln w="952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31" name="Graphique 29">
            <a:extLst>
              <a:ext uri="{FF2B5EF4-FFF2-40B4-BE49-F238E27FC236}">
                <a16:creationId xmlns:a16="http://schemas.microsoft.com/office/drawing/2014/main" id="{19023A21-8CCE-4765-AE2D-9B3313820913}"/>
              </a:ext>
            </a:extLst>
          </p:cNvPr>
          <p:cNvGrpSpPr/>
          <p:nvPr/>
        </p:nvGrpSpPr>
        <p:grpSpPr>
          <a:xfrm>
            <a:off x="4660773" y="2515940"/>
            <a:ext cx="301371" cy="444430"/>
            <a:chOff x="5953125" y="3219450"/>
            <a:chExt cx="284195" cy="419100"/>
          </a:xfrm>
          <a:noFill/>
        </p:grpSpPr>
        <p:sp>
          <p:nvSpPr>
            <p:cNvPr id="32" name="Forme libre : forme 31">
              <a:extLst>
                <a:ext uri="{FF2B5EF4-FFF2-40B4-BE49-F238E27FC236}">
                  <a16:creationId xmlns:a16="http://schemas.microsoft.com/office/drawing/2014/main" id="{FF1FB23E-6BC0-45C7-90F4-F1F4E504816E}"/>
                </a:ext>
              </a:extLst>
            </p:cNvPr>
            <p:cNvSpPr/>
            <p:nvPr/>
          </p:nvSpPr>
          <p:spPr>
            <a:xfrm>
              <a:off x="5972169" y="3305175"/>
              <a:ext cx="28584" cy="219075"/>
            </a:xfrm>
            <a:custGeom>
              <a:avLst/>
              <a:gdLst>
                <a:gd name="connsiteX0" fmla="*/ 28581 w 28584"/>
                <a:gd name="connsiteY0" fmla="*/ 219075 h 219075"/>
                <a:gd name="connsiteX1" fmla="*/ 28581 w 28584"/>
                <a:gd name="connsiteY1" fmla="*/ 161925 h 219075"/>
                <a:gd name="connsiteX2" fmla="*/ 6 w 28584"/>
                <a:gd name="connsiteY2" fmla="*/ 104775 h 219075"/>
                <a:gd name="connsiteX3" fmla="*/ 6 w 28584"/>
                <a:gd name="connsiteY3" fmla="*/ 0 h 219075"/>
              </a:gdLst>
              <a:ahLst/>
              <a:cxnLst>
                <a:cxn ang="0">
                  <a:pos x="connsiteX0" y="connsiteY0"/>
                </a:cxn>
                <a:cxn ang="0">
                  <a:pos x="connsiteX1" y="connsiteY1"/>
                </a:cxn>
                <a:cxn ang="0">
                  <a:pos x="connsiteX2" y="connsiteY2"/>
                </a:cxn>
                <a:cxn ang="0">
                  <a:pos x="connsiteX3" y="connsiteY3"/>
                </a:cxn>
              </a:cxnLst>
              <a:rect l="l" t="t" r="r" b="b"/>
              <a:pathLst>
                <a:path w="28584" h="219075">
                  <a:moveTo>
                    <a:pt x="28581" y="219075"/>
                  </a:moveTo>
                  <a:lnTo>
                    <a:pt x="28581" y="161925"/>
                  </a:lnTo>
                  <a:cubicBezTo>
                    <a:pt x="28962" y="145256"/>
                    <a:pt x="-471" y="128206"/>
                    <a:pt x="6" y="104775"/>
                  </a:cubicBezTo>
                  <a:lnTo>
                    <a:pt x="6" y="0"/>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3" name="Forme libre : forme 32">
              <a:extLst>
                <a:ext uri="{FF2B5EF4-FFF2-40B4-BE49-F238E27FC236}">
                  <a16:creationId xmlns:a16="http://schemas.microsoft.com/office/drawing/2014/main" id="{10E25D09-DA3B-414D-B444-5BC667456CE0}"/>
                </a:ext>
              </a:extLst>
            </p:cNvPr>
            <p:cNvSpPr/>
            <p:nvPr/>
          </p:nvSpPr>
          <p:spPr>
            <a:xfrm>
              <a:off x="6067425" y="3286125"/>
              <a:ext cx="169895" cy="257175"/>
            </a:xfrm>
            <a:custGeom>
              <a:avLst/>
              <a:gdLst>
                <a:gd name="connsiteX0" fmla="*/ 9430 w 169895"/>
                <a:gd name="connsiteY0" fmla="*/ 136398 h 257175"/>
                <a:gd name="connsiteX1" fmla="*/ 95250 w 169895"/>
                <a:gd name="connsiteY1" fmla="*/ 57150 h 257175"/>
                <a:gd name="connsiteX2" fmla="*/ 38100 w 169895"/>
                <a:gd name="connsiteY2" fmla="*/ 57150 h 257175"/>
                <a:gd name="connsiteX3" fmla="*/ 0 w 169895"/>
                <a:gd name="connsiteY3" fmla="*/ 0 h 257175"/>
                <a:gd name="connsiteX4" fmla="*/ 123825 w 169895"/>
                <a:gd name="connsiteY4" fmla="*/ 0 h 257175"/>
                <a:gd name="connsiteX5" fmla="*/ 150781 w 169895"/>
                <a:gd name="connsiteY5" fmla="*/ 27337 h 257175"/>
                <a:gd name="connsiteX6" fmla="*/ 169831 w 169895"/>
                <a:gd name="connsiteY6" fmla="*/ 74962 h 257175"/>
                <a:gd name="connsiteX7" fmla="*/ 135636 w 169895"/>
                <a:gd name="connsiteY7" fmla="*/ 124778 h 257175"/>
                <a:gd name="connsiteX8" fmla="*/ 85725 w 169895"/>
                <a:gd name="connsiteY8" fmla="*/ 171450 h 257175"/>
                <a:gd name="connsiteX9" fmla="*/ 85725 w 169895"/>
                <a:gd name="connsiteY9" fmla="*/ 257175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895" h="257175">
                  <a:moveTo>
                    <a:pt x="9430" y="136398"/>
                  </a:moveTo>
                  <a:cubicBezTo>
                    <a:pt x="10287" y="94774"/>
                    <a:pt x="71247" y="57150"/>
                    <a:pt x="95250" y="57150"/>
                  </a:cubicBezTo>
                  <a:cubicBezTo>
                    <a:pt x="88964" y="57150"/>
                    <a:pt x="53626" y="57150"/>
                    <a:pt x="38100" y="57150"/>
                  </a:cubicBezTo>
                  <a:cubicBezTo>
                    <a:pt x="3334" y="57150"/>
                    <a:pt x="0" y="15526"/>
                    <a:pt x="0" y="0"/>
                  </a:cubicBezTo>
                  <a:cubicBezTo>
                    <a:pt x="13145" y="0"/>
                    <a:pt x="123825" y="0"/>
                    <a:pt x="123825" y="0"/>
                  </a:cubicBezTo>
                  <a:cubicBezTo>
                    <a:pt x="141732" y="0"/>
                    <a:pt x="146876" y="18764"/>
                    <a:pt x="150781" y="27337"/>
                  </a:cubicBezTo>
                  <a:cubicBezTo>
                    <a:pt x="156781" y="40672"/>
                    <a:pt x="168497" y="65056"/>
                    <a:pt x="169831" y="74962"/>
                  </a:cubicBezTo>
                  <a:cubicBezTo>
                    <a:pt x="171164" y="84868"/>
                    <a:pt x="151733" y="108776"/>
                    <a:pt x="135636" y="124778"/>
                  </a:cubicBezTo>
                  <a:cubicBezTo>
                    <a:pt x="118872" y="141637"/>
                    <a:pt x="85725" y="171450"/>
                    <a:pt x="85725" y="171450"/>
                  </a:cubicBezTo>
                  <a:lnTo>
                    <a:pt x="85725" y="257175"/>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4" name="Forme libre : forme 33">
              <a:extLst>
                <a:ext uri="{FF2B5EF4-FFF2-40B4-BE49-F238E27FC236}">
                  <a16:creationId xmlns:a16="http://schemas.microsoft.com/office/drawing/2014/main" id="{79220646-25FF-4B99-BA63-788B19E1240C}"/>
                </a:ext>
              </a:extLst>
            </p:cNvPr>
            <p:cNvSpPr/>
            <p:nvPr/>
          </p:nvSpPr>
          <p:spPr>
            <a:xfrm>
              <a:off x="5972175" y="3238500"/>
              <a:ext cx="47625" cy="85725"/>
            </a:xfrm>
            <a:custGeom>
              <a:avLst/>
              <a:gdLst>
                <a:gd name="connsiteX0" fmla="*/ 19050 w 47625"/>
                <a:gd name="connsiteY0" fmla="*/ 85725 h 85725"/>
                <a:gd name="connsiteX1" fmla="*/ 28575 w 47625"/>
                <a:gd name="connsiteY1" fmla="*/ 85725 h 85725"/>
                <a:gd name="connsiteX2" fmla="*/ 47625 w 47625"/>
                <a:gd name="connsiteY2" fmla="*/ 66675 h 85725"/>
                <a:gd name="connsiteX3" fmla="*/ 47625 w 47625"/>
                <a:gd name="connsiteY3" fmla="*/ 19050 h 85725"/>
                <a:gd name="connsiteX4" fmla="*/ 28575 w 47625"/>
                <a:gd name="connsiteY4" fmla="*/ 0 h 85725"/>
                <a:gd name="connsiteX5" fmla="*/ 19050 w 47625"/>
                <a:gd name="connsiteY5" fmla="*/ 0 h 85725"/>
                <a:gd name="connsiteX6" fmla="*/ 0 w 47625"/>
                <a:gd name="connsiteY6" fmla="*/ 19050 h 85725"/>
                <a:gd name="connsiteX7" fmla="*/ 0 w 47625"/>
                <a:gd name="connsiteY7" fmla="*/ 66675 h 85725"/>
                <a:gd name="connsiteX8" fmla="*/ 19050 w 47625"/>
                <a:gd name="connsiteY8" fmla="*/ 85725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625" h="85725">
                  <a:moveTo>
                    <a:pt x="19050" y="85725"/>
                  </a:moveTo>
                  <a:lnTo>
                    <a:pt x="28575" y="85725"/>
                  </a:lnTo>
                  <a:cubicBezTo>
                    <a:pt x="39053" y="85725"/>
                    <a:pt x="47625" y="77153"/>
                    <a:pt x="47625" y="66675"/>
                  </a:cubicBezTo>
                  <a:lnTo>
                    <a:pt x="47625" y="19050"/>
                  </a:lnTo>
                  <a:cubicBezTo>
                    <a:pt x="47625" y="8573"/>
                    <a:pt x="39053" y="0"/>
                    <a:pt x="28575" y="0"/>
                  </a:cubicBezTo>
                  <a:lnTo>
                    <a:pt x="19050" y="0"/>
                  </a:lnTo>
                  <a:cubicBezTo>
                    <a:pt x="8573" y="0"/>
                    <a:pt x="0" y="8573"/>
                    <a:pt x="0" y="19050"/>
                  </a:cubicBezTo>
                  <a:lnTo>
                    <a:pt x="0" y="66675"/>
                  </a:lnTo>
                  <a:cubicBezTo>
                    <a:pt x="0" y="77153"/>
                    <a:pt x="8573" y="85725"/>
                    <a:pt x="19050" y="85725"/>
                  </a:cubicBezTo>
                  <a:close/>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5" name="Forme libre : forme 34">
              <a:extLst>
                <a:ext uri="{FF2B5EF4-FFF2-40B4-BE49-F238E27FC236}">
                  <a16:creationId xmlns:a16="http://schemas.microsoft.com/office/drawing/2014/main" id="{95C487E6-657C-46F6-8E0C-2F4D2E502553}"/>
                </a:ext>
              </a:extLst>
            </p:cNvPr>
            <p:cNvSpPr/>
            <p:nvPr/>
          </p:nvSpPr>
          <p:spPr>
            <a:xfrm>
              <a:off x="6019800" y="3295650"/>
              <a:ext cx="51530" cy="19050"/>
            </a:xfrm>
            <a:custGeom>
              <a:avLst/>
              <a:gdLst>
                <a:gd name="connsiteX0" fmla="*/ 0 w 51530"/>
                <a:gd name="connsiteY0" fmla="*/ 0 h 19050"/>
                <a:gd name="connsiteX1" fmla="*/ 19050 w 51530"/>
                <a:gd name="connsiteY1" fmla="*/ 19050 h 19050"/>
                <a:gd name="connsiteX2" fmla="*/ 51530 w 51530"/>
                <a:gd name="connsiteY2" fmla="*/ 19050 h 19050"/>
              </a:gdLst>
              <a:ahLst/>
              <a:cxnLst>
                <a:cxn ang="0">
                  <a:pos x="connsiteX0" y="connsiteY0"/>
                </a:cxn>
                <a:cxn ang="0">
                  <a:pos x="connsiteX1" y="connsiteY1"/>
                </a:cxn>
                <a:cxn ang="0">
                  <a:pos x="connsiteX2" y="connsiteY2"/>
                </a:cxn>
              </a:cxnLst>
              <a:rect l="l" t="t" r="r" b="b"/>
              <a:pathLst>
                <a:path w="51530" h="19050">
                  <a:moveTo>
                    <a:pt x="0" y="0"/>
                  </a:moveTo>
                  <a:cubicBezTo>
                    <a:pt x="0" y="10478"/>
                    <a:pt x="8572" y="19050"/>
                    <a:pt x="19050" y="19050"/>
                  </a:cubicBezTo>
                  <a:lnTo>
                    <a:pt x="51530" y="19050"/>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6" name="Forme libre : forme 35">
              <a:extLst>
                <a:ext uri="{FF2B5EF4-FFF2-40B4-BE49-F238E27FC236}">
                  <a16:creationId xmlns:a16="http://schemas.microsoft.com/office/drawing/2014/main" id="{BA576730-0418-4C32-98EA-2D63D883ACB8}"/>
                </a:ext>
              </a:extLst>
            </p:cNvPr>
            <p:cNvSpPr/>
            <p:nvPr/>
          </p:nvSpPr>
          <p:spPr>
            <a:xfrm>
              <a:off x="6019800" y="3228975"/>
              <a:ext cx="57150" cy="57150"/>
            </a:xfrm>
            <a:custGeom>
              <a:avLst/>
              <a:gdLst>
                <a:gd name="connsiteX0" fmla="*/ 57150 w 57150"/>
                <a:gd name="connsiteY0" fmla="*/ 57150 h 57150"/>
                <a:gd name="connsiteX1" fmla="*/ 57150 w 57150"/>
                <a:gd name="connsiteY1" fmla="*/ 19050 h 57150"/>
                <a:gd name="connsiteX2" fmla="*/ 38100 w 57150"/>
                <a:gd name="connsiteY2" fmla="*/ 0 h 57150"/>
                <a:gd name="connsiteX3" fmla="*/ 19050 w 57150"/>
                <a:gd name="connsiteY3" fmla="*/ 0 h 57150"/>
                <a:gd name="connsiteX4" fmla="*/ 0 w 57150"/>
                <a:gd name="connsiteY4" fmla="*/ 19050 h 57150"/>
                <a:gd name="connsiteX5" fmla="*/ 0 w 57150"/>
                <a:gd name="connsiteY5" fmla="*/ 28575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57150">
                  <a:moveTo>
                    <a:pt x="57150" y="57150"/>
                  </a:moveTo>
                  <a:lnTo>
                    <a:pt x="57150" y="19050"/>
                  </a:lnTo>
                  <a:cubicBezTo>
                    <a:pt x="57150" y="8573"/>
                    <a:pt x="48578" y="0"/>
                    <a:pt x="38100" y="0"/>
                  </a:cubicBezTo>
                  <a:lnTo>
                    <a:pt x="19050" y="0"/>
                  </a:lnTo>
                  <a:cubicBezTo>
                    <a:pt x="8572" y="0"/>
                    <a:pt x="0" y="8573"/>
                    <a:pt x="0" y="19050"/>
                  </a:cubicBezTo>
                  <a:lnTo>
                    <a:pt x="0" y="28575"/>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7" name="Forme libre : forme 36">
              <a:extLst>
                <a:ext uri="{FF2B5EF4-FFF2-40B4-BE49-F238E27FC236}">
                  <a16:creationId xmlns:a16="http://schemas.microsoft.com/office/drawing/2014/main" id="{D886BEEF-EE96-4ECB-AEC6-54C35CA17538}"/>
                </a:ext>
              </a:extLst>
            </p:cNvPr>
            <p:cNvSpPr/>
            <p:nvPr/>
          </p:nvSpPr>
          <p:spPr>
            <a:xfrm>
              <a:off x="6134100" y="3228975"/>
              <a:ext cx="57150" cy="57150"/>
            </a:xfrm>
            <a:custGeom>
              <a:avLst/>
              <a:gdLst>
                <a:gd name="connsiteX0" fmla="*/ 57150 w 57150"/>
                <a:gd name="connsiteY0" fmla="*/ 57150 h 57150"/>
                <a:gd name="connsiteX1" fmla="*/ 57150 w 57150"/>
                <a:gd name="connsiteY1" fmla="*/ 19050 h 57150"/>
                <a:gd name="connsiteX2" fmla="*/ 38100 w 57150"/>
                <a:gd name="connsiteY2" fmla="*/ 0 h 57150"/>
                <a:gd name="connsiteX3" fmla="*/ 19050 w 57150"/>
                <a:gd name="connsiteY3" fmla="*/ 0 h 57150"/>
                <a:gd name="connsiteX4" fmla="*/ 0 w 57150"/>
                <a:gd name="connsiteY4" fmla="*/ 19050 h 57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150" h="57150">
                  <a:moveTo>
                    <a:pt x="57150" y="57150"/>
                  </a:moveTo>
                  <a:lnTo>
                    <a:pt x="57150" y="19050"/>
                  </a:lnTo>
                  <a:cubicBezTo>
                    <a:pt x="57150" y="8573"/>
                    <a:pt x="48578" y="0"/>
                    <a:pt x="38100" y="0"/>
                  </a:cubicBezTo>
                  <a:lnTo>
                    <a:pt x="19050" y="0"/>
                  </a:lnTo>
                  <a:cubicBezTo>
                    <a:pt x="8572" y="0"/>
                    <a:pt x="0" y="8573"/>
                    <a:pt x="0" y="19050"/>
                  </a:cubicBez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8" name="Forme libre : forme 37">
              <a:extLst>
                <a:ext uri="{FF2B5EF4-FFF2-40B4-BE49-F238E27FC236}">
                  <a16:creationId xmlns:a16="http://schemas.microsoft.com/office/drawing/2014/main" id="{B3661410-9D37-4B67-AA78-DF11FDA3A5D7}"/>
                </a:ext>
              </a:extLst>
            </p:cNvPr>
            <p:cNvSpPr/>
            <p:nvPr/>
          </p:nvSpPr>
          <p:spPr>
            <a:xfrm>
              <a:off x="6076950" y="3219450"/>
              <a:ext cx="57150" cy="66675"/>
            </a:xfrm>
            <a:custGeom>
              <a:avLst/>
              <a:gdLst>
                <a:gd name="connsiteX0" fmla="*/ 57150 w 57150"/>
                <a:gd name="connsiteY0" fmla="*/ 66675 h 66675"/>
                <a:gd name="connsiteX1" fmla="*/ 57150 w 57150"/>
                <a:gd name="connsiteY1" fmla="*/ 19050 h 66675"/>
                <a:gd name="connsiteX2" fmla="*/ 38100 w 57150"/>
                <a:gd name="connsiteY2" fmla="*/ 0 h 66675"/>
                <a:gd name="connsiteX3" fmla="*/ 19050 w 57150"/>
                <a:gd name="connsiteY3" fmla="*/ 0 h 66675"/>
                <a:gd name="connsiteX4" fmla="*/ 0 w 57150"/>
                <a:gd name="connsiteY4" fmla="*/ 19050 h 66675"/>
                <a:gd name="connsiteX5" fmla="*/ 0 w 57150"/>
                <a:gd name="connsiteY5" fmla="*/ 28575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150" h="66675">
                  <a:moveTo>
                    <a:pt x="57150" y="66675"/>
                  </a:moveTo>
                  <a:lnTo>
                    <a:pt x="57150" y="19050"/>
                  </a:lnTo>
                  <a:cubicBezTo>
                    <a:pt x="57150" y="8573"/>
                    <a:pt x="48578" y="0"/>
                    <a:pt x="38100" y="0"/>
                  </a:cubicBezTo>
                  <a:lnTo>
                    <a:pt x="19050" y="0"/>
                  </a:lnTo>
                  <a:cubicBezTo>
                    <a:pt x="8572" y="0"/>
                    <a:pt x="0" y="8573"/>
                    <a:pt x="0" y="19050"/>
                  </a:cubicBezTo>
                  <a:lnTo>
                    <a:pt x="0" y="28575"/>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39" name="Forme libre : forme 38">
              <a:extLst>
                <a:ext uri="{FF2B5EF4-FFF2-40B4-BE49-F238E27FC236}">
                  <a16:creationId xmlns:a16="http://schemas.microsoft.com/office/drawing/2014/main" id="{2A2A553F-4B55-4CB7-A4CA-1CFBAFC080BC}"/>
                </a:ext>
              </a:extLst>
            </p:cNvPr>
            <p:cNvSpPr/>
            <p:nvPr/>
          </p:nvSpPr>
          <p:spPr>
            <a:xfrm>
              <a:off x="6200775" y="3505200"/>
              <a:ext cx="9525" cy="114300"/>
            </a:xfrm>
            <a:custGeom>
              <a:avLst/>
              <a:gdLst>
                <a:gd name="connsiteX0" fmla="*/ 0 w 9525"/>
                <a:gd name="connsiteY0" fmla="*/ 0 h 114300"/>
                <a:gd name="connsiteX1" fmla="*/ 0 w 9525"/>
                <a:gd name="connsiteY1" fmla="*/ 114300 h 114300"/>
              </a:gdLst>
              <a:ahLst/>
              <a:cxnLst>
                <a:cxn ang="0">
                  <a:pos x="connsiteX0" y="connsiteY0"/>
                </a:cxn>
                <a:cxn ang="0">
                  <a:pos x="connsiteX1" y="connsiteY1"/>
                </a:cxn>
              </a:cxnLst>
              <a:rect l="l" t="t" r="r" b="b"/>
              <a:pathLst>
                <a:path w="9525" h="114300">
                  <a:moveTo>
                    <a:pt x="0" y="0"/>
                  </a:moveTo>
                  <a:lnTo>
                    <a:pt x="0" y="114300"/>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40" name="Forme libre : forme 39">
              <a:extLst>
                <a:ext uri="{FF2B5EF4-FFF2-40B4-BE49-F238E27FC236}">
                  <a16:creationId xmlns:a16="http://schemas.microsoft.com/office/drawing/2014/main" id="{15BFB7D8-7047-4250-9E09-5BF3F7CF4BC7}"/>
                </a:ext>
              </a:extLst>
            </p:cNvPr>
            <p:cNvSpPr/>
            <p:nvPr/>
          </p:nvSpPr>
          <p:spPr>
            <a:xfrm>
              <a:off x="5953125" y="3486150"/>
              <a:ext cx="9525" cy="114300"/>
            </a:xfrm>
            <a:custGeom>
              <a:avLst/>
              <a:gdLst>
                <a:gd name="connsiteX0" fmla="*/ 0 w 9525"/>
                <a:gd name="connsiteY0" fmla="*/ 0 h 114300"/>
                <a:gd name="connsiteX1" fmla="*/ 0 w 9525"/>
                <a:gd name="connsiteY1" fmla="*/ 114300 h 114300"/>
              </a:gdLst>
              <a:ahLst/>
              <a:cxnLst>
                <a:cxn ang="0">
                  <a:pos x="connsiteX0" y="connsiteY0"/>
                </a:cxn>
                <a:cxn ang="0">
                  <a:pos x="connsiteX1" y="connsiteY1"/>
                </a:cxn>
              </a:cxnLst>
              <a:rect l="l" t="t" r="r" b="b"/>
              <a:pathLst>
                <a:path w="9525" h="114300">
                  <a:moveTo>
                    <a:pt x="0" y="0"/>
                  </a:moveTo>
                  <a:lnTo>
                    <a:pt x="0" y="114300"/>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41" name="Forme libre : forme 40">
              <a:extLst>
                <a:ext uri="{FF2B5EF4-FFF2-40B4-BE49-F238E27FC236}">
                  <a16:creationId xmlns:a16="http://schemas.microsoft.com/office/drawing/2014/main" id="{8B6D4DC0-53C9-4719-B1A2-8A4F454DE699}"/>
                </a:ext>
              </a:extLst>
            </p:cNvPr>
            <p:cNvSpPr/>
            <p:nvPr/>
          </p:nvSpPr>
          <p:spPr>
            <a:xfrm>
              <a:off x="6105525" y="3505200"/>
              <a:ext cx="9525" cy="114300"/>
            </a:xfrm>
            <a:custGeom>
              <a:avLst/>
              <a:gdLst>
                <a:gd name="connsiteX0" fmla="*/ 0 w 9525"/>
                <a:gd name="connsiteY0" fmla="*/ 0 h 114300"/>
                <a:gd name="connsiteX1" fmla="*/ 0 w 9525"/>
                <a:gd name="connsiteY1" fmla="*/ 114300 h 114300"/>
              </a:gdLst>
              <a:ahLst/>
              <a:cxnLst>
                <a:cxn ang="0">
                  <a:pos x="connsiteX0" y="connsiteY0"/>
                </a:cxn>
                <a:cxn ang="0">
                  <a:pos x="connsiteX1" y="connsiteY1"/>
                </a:cxn>
              </a:cxnLst>
              <a:rect l="l" t="t" r="r" b="b"/>
              <a:pathLst>
                <a:path w="9525" h="114300">
                  <a:moveTo>
                    <a:pt x="0" y="0"/>
                  </a:moveTo>
                  <a:lnTo>
                    <a:pt x="0" y="114300"/>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42" name="Forme libre : forme 41">
              <a:extLst>
                <a:ext uri="{FF2B5EF4-FFF2-40B4-BE49-F238E27FC236}">
                  <a16:creationId xmlns:a16="http://schemas.microsoft.com/office/drawing/2014/main" id="{353A34A6-93DB-490C-8B89-AC5A4D6E2755}"/>
                </a:ext>
              </a:extLst>
            </p:cNvPr>
            <p:cNvSpPr/>
            <p:nvPr/>
          </p:nvSpPr>
          <p:spPr>
            <a:xfrm>
              <a:off x="6048375" y="3486150"/>
              <a:ext cx="9525" cy="76200"/>
            </a:xfrm>
            <a:custGeom>
              <a:avLst/>
              <a:gdLst>
                <a:gd name="connsiteX0" fmla="*/ 0 w 9525"/>
                <a:gd name="connsiteY0" fmla="*/ 0 h 76200"/>
                <a:gd name="connsiteX1" fmla="*/ 0 w 9525"/>
                <a:gd name="connsiteY1" fmla="*/ 76200 h 76200"/>
              </a:gdLst>
              <a:ahLst/>
              <a:cxnLst>
                <a:cxn ang="0">
                  <a:pos x="connsiteX0" y="connsiteY0"/>
                </a:cxn>
                <a:cxn ang="0">
                  <a:pos x="connsiteX1" y="connsiteY1"/>
                </a:cxn>
              </a:cxnLst>
              <a:rect l="l" t="t" r="r" b="b"/>
              <a:pathLst>
                <a:path w="9525" h="76200">
                  <a:moveTo>
                    <a:pt x="0" y="0"/>
                  </a:moveTo>
                  <a:lnTo>
                    <a:pt x="0" y="76200"/>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43" name="Forme libre : forme 42">
              <a:extLst>
                <a:ext uri="{FF2B5EF4-FFF2-40B4-BE49-F238E27FC236}">
                  <a16:creationId xmlns:a16="http://schemas.microsoft.com/office/drawing/2014/main" id="{077306B8-3D0D-4816-84CD-1306E3E84853}"/>
                </a:ext>
              </a:extLst>
            </p:cNvPr>
            <p:cNvSpPr/>
            <p:nvPr/>
          </p:nvSpPr>
          <p:spPr>
            <a:xfrm>
              <a:off x="6048375" y="3600450"/>
              <a:ext cx="9525" cy="38100"/>
            </a:xfrm>
            <a:custGeom>
              <a:avLst/>
              <a:gdLst>
                <a:gd name="connsiteX0" fmla="*/ 0 w 9525"/>
                <a:gd name="connsiteY0" fmla="*/ 0 h 38100"/>
                <a:gd name="connsiteX1" fmla="*/ 0 w 9525"/>
                <a:gd name="connsiteY1" fmla="*/ 38100 h 38100"/>
              </a:gdLst>
              <a:ahLst/>
              <a:cxnLst>
                <a:cxn ang="0">
                  <a:pos x="connsiteX0" y="connsiteY0"/>
                </a:cxn>
                <a:cxn ang="0">
                  <a:pos x="connsiteX1" y="connsiteY1"/>
                </a:cxn>
              </a:cxnLst>
              <a:rect l="l" t="t" r="r" b="b"/>
              <a:pathLst>
                <a:path w="9525" h="38100">
                  <a:moveTo>
                    <a:pt x="0" y="0"/>
                  </a:moveTo>
                  <a:lnTo>
                    <a:pt x="0" y="38100"/>
                  </a:lnTo>
                </a:path>
              </a:pathLst>
            </a:custGeom>
            <a:ln w="9525" cap="flat">
              <a:solidFill>
                <a:schemeClr val="bg1"/>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44" name="Graphique 44">
            <a:extLst>
              <a:ext uri="{FF2B5EF4-FFF2-40B4-BE49-F238E27FC236}">
                <a16:creationId xmlns:a16="http://schemas.microsoft.com/office/drawing/2014/main" id="{904B8A5B-C47D-4DFE-BCA8-87CA7956F560}"/>
              </a:ext>
            </a:extLst>
          </p:cNvPr>
          <p:cNvGrpSpPr/>
          <p:nvPr/>
        </p:nvGrpSpPr>
        <p:grpSpPr>
          <a:xfrm>
            <a:off x="8657126" y="2506756"/>
            <a:ext cx="674443" cy="416376"/>
            <a:chOff x="5491895" y="2357437"/>
            <a:chExt cx="3555777" cy="2195202"/>
          </a:xfrm>
          <a:noFill/>
        </p:grpSpPr>
        <p:sp>
          <p:nvSpPr>
            <p:cNvPr id="45" name="Forme libre : forme 44">
              <a:extLst>
                <a:ext uri="{FF2B5EF4-FFF2-40B4-BE49-F238E27FC236}">
                  <a16:creationId xmlns:a16="http://schemas.microsoft.com/office/drawing/2014/main" id="{8AE4C181-42BF-45F6-8113-B65EB1E5830D}"/>
                </a:ext>
              </a:extLst>
            </p:cNvPr>
            <p:cNvSpPr/>
            <p:nvPr/>
          </p:nvSpPr>
          <p:spPr>
            <a:xfrm>
              <a:off x="6774055" y="2984372"/>
              <a:ext cx="985742" cy="937545"/>
            </a:xfrm>
            <a:custGeom>
              <a:avLst/>
              <a:gdLst>
                <a:gd name="connsiteX0" fmla="*/ 492824 w 985742"/>
                <a:gd name="connsiteY0" fmla="*/ 0 h 937545"/>
                <a:gd name="connsiteX1" fmla="*/ 647605 w 985742"/>
                <a:gd name="connsiteY1" fmla="*/ 305276 h 937545"/>
                <a:gd name="connsiteX2" fmla="*/ 985742 w 985742"/>
                <a:gd name="connsiteY2" fmla="*/ 358140 h 937545"/>
                <a:gd name="connsiteX3" fmla="*/ 743236 w 985742"/>
                <a:gd name="connsiteY3" fmla="*/ 599599 h 937545"/>
                <a:gd name="connsiteX4" fmla="*/ 797433 w 985742"/>
                <a:gd name="connsiteY4" fmla="*/ 937546 h 937545"/>
                <a:gd name="connsiteX5" fmla="*/ 492824 w 985742"/>
                <a:gd name="connsiteY5" fmla="*/ 781526 h 937545"/>
                <a:gd name="connsiteX6" fmla="*/ 188214 w 985742"/>
                <a:gd name="connsiteY6" fmla="*/ 937546 h 937545"/>
                <a:gd name="connsiteX7" fmla="*/ 242507 w 985742"/>
                <a:gd name="connsiteY7" fmla="*/ 599599 h 937545"/>
                <a:gd name="connsiteX8" fmla="*/ 0 w 985742"/>
                <a:gd name="connsiteY8" fmla="*/ 358140 h 937545"/>
                <a:gd name="connsiteX9" fmla="*/ 338138 w 985742"/>
                <a:gd name="connsiteY9" fmla="*/ 305276 h 9375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5742" h="937545">
                  <a:moveTo>
                    <a:pt x="492824" y="0"/>
                  </a:moveTo>
                  <a:lnTo>
                    <a:pt x="647605" y="305276"/>
                  </a:lnTo>
                  <a:lnTo>
                    <a:pt x="985742" y="358140"/>
                  </a:lnTo>
                  <a:lnTo>
                    <a:pt x="743236" y="599599"/>
                  </a:lnTo>
                  <a:lnTo>
                    <a:pt x="797433" y="937546"/>
                  </a:lnTo>
                  <a:lnTo>
                    <a:pt x="492824" y="781526"/>
                  </a:lnTo>
                  <a:lnTo>
                    <a:pt x="188214" y="937546"/>
                  </a:lnTo>
                  <a:lnTo>
                    <a:pt x="242507" y="599599"/>
                  </a:lnTo>
                  <a:lnTo>
                    <a:pt x="0" y="358140"/>
                  </a:lnTo>
                  <a:lnTo>
                    <a:pt x="338138" y="305276"/>
                  </a:lnTo>
                  <a:close/>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nvGrpSpPr>
            <p:cNvPr id="46" name="Graphique 44">
              <a:extLst>
                <a:ext uri="{FF2B5EF4-FFF2-40B4-BE49-F238E27FC236}">
                  <a16:creationId xmlns:a16="http://schemas.microsoft.com/office/drawing/2014/main" id="{065F5DC4-1B7C-4625-83B6-0ACB486F81B7}"/>
                </a:ext>
              </a:extLst>
            </p:cNvPr>
            <p:cNvGrpSpPr/>
            <p:nvPr/>
          </p:nvGrpSpPr>
          <p:grpSpPr>
            <a:xfrm>
              <a:off x="5491895" y="2357437"/>
              <a:ext cx="3555777" cy="2195202"/>
              <a:chOff x="5491895" y="2357437"/>
              <a:chExt cx="3555777" cy="2195202"/>
            </a:xfrm>
            <a:noFill/>
          </p:grpSpPr>
          <p:grpSp>
            <p:nvGrpSpPr>
              <p:cNvPr id="47" name="Graphique 44">
                <a:extLst>
                  <a:ext uri="{FF2B5EF4-FFF2-40B4-BE49-F238E27FC236}">
                    <a16:creationId xmlns:a16="http://schemas.microsoft.com/office/drawing/2014/main" id="{CD157D27-BC44-48D4-9803-0EDCAF15D2D2}"/>
                  </a:ext>
                </a:extLst>
              </p:cNvPr>
              <p:cNvGrpSpPr/>
              <p:nvPr/>
            </p:nvGrpSpPr>
            <p:grpSpPr>
              <a:xfrm>
                <a:off x="5491895" y="2357437"/>
                <a:ext cx="991266" cy="2143088"/>
                <a:chOff x="5491895" y="2357437"/>
                <a:chExt cx="991266" cy="2143088"/>
              </a:xfrm>
              <a:noFill/>
            </p:grpSpPr>
            <p:sp>
              <p:nvSpPr>
                <p:cNvPr id="54" name="Forme libre : forme 53">
                  <a:extLst>
                    <a:ext uri="{FF2B5EF4-FFF2-40B4-BE49-F238E27FC236}">
                      <a16:creationId xmlns:a16="http://schemas.microsoft.com/office/drawing/2014/main" id="{E2E68B16-F38F-4DC4-8F50-EBDCAEB46F2B}"/>
                    </a:ext>
                  </a:extLst>
                </p:cNvPr>
                <p:cNvSpPr/>
                <p:nvPr/>
              </p:nvSpPr>
              <p:spPr>
                <a:xfrm>
                  <a:off x="5735735" y="4075328"/>
                  <a:ext cx="747426" cy="425196"/>
                </a:xfrm>
                <a:custGeom>
                  <a:avLst/>
                  <a:gdLst>
                    <a:gd name="connsiteX0" fmla="*/ 409004 w 747426"/>
                    <a:gd name="connsiteY0" fmla="*/ 4514 h 425196"/>
                    <a:gd name="connsiteX1" fmla="*/ 747427 w 747426"/>
                    <a:gd name="connsiteY1" fmla="*/ 276072 h 425196"/>
                    <a:gd name="connsiteX2" fmla="*/ 338423 w 747426"/>
                    <a:gd name="connsiteY2" fmla="*/ 420661 h 425196"/>
                    <a:gd name="connsiteX3" fmla="*/ 0 w 747426"/>
                    <a:gd name="connsiteY3" fmla="*/ 149103 h 425196"/>
                    <a:gd name="connsiteX4" fmla="*/ 409004 w 747426"/>
                    <a:gd name="connsiteY4" fmla="*/ 4514 h 42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426" h="425196">
                      <a:moveTo>
                        <a:pt x="409004" y="4514"/>
                      </a:moveTo>
                      <a:cubicBezTo>
                        <a:pt x="615410" y="39566"/>
                        <a:pt x="747427" y="276072"/>
                        <a:pt x="747427" y="276072"/>
                      </a:cubicBezTo>
                      <a:cubicBezTo>
                        <a:pt x="747427" y="276072"/>
                        <a:pt x="544830" y="455713"/>
                        <a:pt x="338423" y="420661"/>
                      </a:cubicBezTo>
                      <a:cubicBezTo>
                        <a:pt x="132016" y="385609"/>
                        <a:pt x="0" y="149103"/>
                        <a:pt x="0" y="149103"/>
                      </a:cubicBezTo>
                      <a:cubicBezTo>
                        <a:pt x="0" y="149103"/>
                        <a:pt x="202597" y="-30443"/>
                        <a:pt x="409004" y="4514"/>
                      </a:cubicBezTo>
                      <a:close/>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55" name="Forme libre : forme 54">
                  <a:extLst>
                    <a:ext uri="{FF2B5EF4-FFF2-40B4-BE49-F238E27FC236}">
                      <a16:creationId xmlns:a16="http://schemas.microsoft.com/office/drawing/2014/main" id="{86F1CA04-CB33-4F49-86E4-92C51530CA8C}"/>
                    </a:ext>
                  </a:extLst>
                </p:cNvPr>
                <p:cNvSpPr/>
                <p:nvPr/>
              </p:nvSpPr>
              <p:spPr>
                <a:xfrm>
                  <a:off x="5491895" y="3538195"/>
                  <a:ext cx="702754" cy="408202"/>
                </a:xfrm>
                <a:custGeom>
                  <a:avLst/>
                  <a:gdLst>
                    <a:gd name="connsiteX0" fmla="*/ 263176 w 702754"/>
                    <a:gd name="connsiteY0" fmla="*/ 408202 h 408202"/>
                    <a:gd name="connsiteX1" fmla="*/ 0 w 702754"/>
                    <a:gd name="connsiteY1" fmla="*/ 89972 h 408202"/>
                    <a:gd name="connsiteX2" fmla="*/ 131064 w 702754"/>
                    <a:gd name="connsiteY2" fmla="*/ 31488 h 408202"/>
                    <a:gd name="connsiteX3" fmla="*/ 428149 w 702754"/>
                    <a:gd name="connsiteY3" fmla="*/ 19963 h 408202"/>
                    <a:gd name="connsiteX4" fmla="*/ 588931 w 702754"/>
                    <a:gd name="connsiteY4" fmla="*/ 136168 h 408202"/>
                    <a:gd name="connsiteX5" fmla="*/ 702755 w 702754"/>
                    <a:gd name="connsiteY5" fmla="*/ 321239 h 40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754" h="408202">
                      <a:moveTo>
                        <a:pt x="263176" y="408202"/>
                      </a:moveTo>
                      <a:cubicBezTo>
                        <a:pt x="81439" y="327049"/>
                        <a:pt x="0" y="89972"/>
                        <a:pt x="0" y="89972"/>
                      </a:cubicBezTo>
                      <a:cubicBezTo>
                        <a:pt x="0" y="89972"/>
                        <a:pt x="53531" y="57301"/>
                        <a:pt x="131064" y="31488"/>
                      </a:cubicBezTo>
                      <a:cubicBezTo>
                        <a:pt x="214598" y="3294"/>
                        <a:pt x="326041" y="-16803"/>
                        <a:pt x="428149" y="19963"/>
                      </a:cubicBezTo>
                      <a:cubicBezTo>
                        <a:pt x="493681" y="43490"/>
                        <a:pt x="546926" y="87591"/>
                        <a:pt x="588931" y="136168"/>
                      </a:cubicBezTo>
                      <a:cubicBezTo>
                        <a:pt x="648938" y="204843"/>
                        <a:pt x="686086" y="281805"/>
                        <a:pt x="702755" y="321239"/>
                      </a:cubicBezTo>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56" name="Forme libre : forme 55">
                  <a:extLst>
                    <a:ext uri="{FF2B5EF4-FFF2-40B4-BE49-F238E27FC236}">
                      <a16:creationId xmlns:a16="http://schemas.microsoft.com/office/drawing/2014/main" id="{5B17B9C9-8BCB-4444-9095-936A870373EF}"/>
                    </a:ext>
                  </a:extLst>
                </p:cNvPr>
                <p:cNvSpPr/>
                <p:nvPr/>
              </p:nvSpPr>
              <p:spPr>
                <a:xfrm>
                  <a:off x="5544377" y="2955655"/>
                  <a:ext cx="607980" cy="471439"/>
                </a:xfrm>
                <a:custGeom>
                  <a:avLst/>
                  <a:gdLst>
                    <a:gd name="connsiteX0" fmla="*/ 130778 w 607980"/>
                    <a:gd name="connsiteY0" fmla="*/ 370951 h 471439"/>
                    <a:gd name="connsiteX1" fmla="*/ 0 w 607980"/>
                    <a:gd name="connsiteY1" fmla="*/ 18240 h 471439"/>
                    <a:gd name="connsiteX2" fmla="*/ 180118 w 607980"/>
                    <a:gd name="connsiteY2" fmla="*/ 238 h 471439"/>
                    <a:gd name="connsiteX3" fmla="*/ 430244 w 607980"/>
                    <a:gd name="connsiteY3" fmla="*/ 75676 h 471439"/>
                    <a:gd name="connsiteX4" fmla="*/ 552926 w 607980"/>
                    <a:gd name="connsiteY4" fmla="*/ 238077 h 471439"/>
                    <a:gd name="connsiteX5" fmla="*/ 607981 w 607980"/>
                    <a:gd name="connsiteY5" fmla="*/ 471439 h 471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7980" h="471439">
                      <a:moveTo>
                        <a:pt x="130778" y="370951"/>
                      </a:moveTo>
                      <a:cubicBezTo>
                        <a:pt x="8096" y="235981"/>
                        <a:pt x="0" y="18240"/>
                        <a:pt x="0" y="18240"/>
                      </a:cubicBezTo>
                      <a:cubicBezTo>
                        <a:pt x="0" y="18240"/>
                        <a:pt x="80105" y="-2429"/>
                        <a:pt x="180118" y="238"/>
                      </a:cubicBezTo>
                      <a:cubicBezTo>
                        <a:pt x="261080" y="2333"/>
                        <a:pt x="354997" y="19859"/>
                        <a:pt x="430244" y="75676"/>
                      </a:cubicBezTo>
                      <a:cubicBezTo>
                        <a:pt x="487680" y="118252"/>
                        <a:pt x="526542" y="177974"/>
                        <a:pt x="552926" y="238077"/>
                      </a:cubicBezTo>
                      <a:cubicBezTo>
                        <a:pt x="603790" y="353996"/>
                        <a:pt x="607981" y="471439"/>
                        <a:pt x="607981" y="471439"/>
                      </a:cubicBezTo>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57" name="Forme libre : forme 56">
                  <a:extLst>
                    <a:ext uri="{FF2B5EF4-FFF2-40B4-BE49-F238E27FC236}">
                      <a16:creationId xmlns:a16="http://schemas.microsoft.com/office/drawing/2014/main" id="{E6F5EB92-EC74-4C40-8FCD-D45CDB64BEB6}"/>
                    </a:ext>
                  </a:extLst>
                </p:cNvPr>
                <p:cNvSpPr/>
                <p:nvPr/>
              </p:nvSpPr>
              <p:spPr>
                <a:xfrm>
                  <a:off x="5765435" y="2357437"/>
                  <a:ext cx="479160" cy="625220"/>
                </a:xfrm>
                <a:custGeom>
                  <a:avLst/>
                  <a:gdLst>
                    <a:gd name="connsiteX0" fmla="*/ 37356 w 479160"/>
                    <a:gd name="connsiteY0" fmla="*/ 381381 h 625220"/>
                    <a:gd name="connsiteX1" fmla="*/ 37070 w 479160"/>
                    <a:gd name="connsiteY1" fmla="*/ 381381 h 625220"/>
                    <a:gd name="connsiteX2" fmla="*/ 25354 w 479160"/>
                    <a:gd name="connsiteY2" fmla="*/ 0 h 625220"/>
                    <a:gd name="connsiteX3" fmla="*/ 413593 w 479160"/>
                    <a:gd name="connsiteY3" fmla="*/ 193453 h 625220"/>
                    <a:gd name="connsiteX4" fmla="*/ 453789 w 479160"/>
                    <a:gd name="connsiteY4" fmla="*/ 625221 h 62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60" h="625220">
                      <a:moveTo>
                        <a:pt x="37356" y="381381"/>
                      </a:moveTo>
                      <a:lnTo>
                        <a:pt x="37070" y="381381"/>
                      </a:lnTo>
                      <a:cubicBezTo>
                        <a:pt x="-38844" y="213074"/>
                        <a:pt x="25354" y="0"/>
                        <a:pt x="25354" y="0"/>
                      </a:cubicBezTo>
                      <a:cubicBezTo>
                        <a:pt x="25354" y="0"/>
                        <a:pt x="295293" y="20669"/>
                        <a:pt x="413593" y="193453"/>
                      </a:cubicBezTo>
                      <a:cubicBezTo>
                        <a:pt x="532084" y="366046"/>
                        <a:pt x="453789" y="625221"/>
                        <a:pt x="453789" y="625221"/>
                      </a:cubicBezTo>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grpSp>
            <p:nvGrpSpPr>
              <p:cNvPr id="48" name="Graphique 44">
                <a:extLst>
                  <a:ext uri="{FF2B5EF4-FFF2-40B4-BE49-F238E27FC236}">
                    <a16:creationId xmlns:a16="http://schemas.microsoft.com/office/drawing/2014/main" id="{E8865444-7071-465F-95B4-342EC98BAA09}"/>
                  </a:ext>
                </a:extLst>
              </p:cNvPr>
              <p:cNvGrpSpPr/>
              <p:nvPr/>
            </p:nvGrpSpPr>
            <p:grpSpPr>
              <a:xfrm>
                <a:off x="8056405" y="2357437"/>
                <a:ext cx="991266" cy="2143088"/>
                <a:chOff x="8056405" y="2357437"/>
                <a:chExt cx="991266" cy="2143088"/>
              </a:xfrm>
              <a:noFill/>
            </p:grpSpPr>
            <p:sp>
              <p:nvSpPr>
                <p:cNvPr id="50" name="Forme libre : forme 49">
                  <a:extLst>
                    <a:ext uri="{FF2B5EF4-FFF2-40B4-BE49-F238E27FC236}">
                      <a16:creationId xmlns:a16="http://schemas.microsoft.com/office/drawing/2014/main" id="{129899A8-40A9-4E7A-9C3D-2034F34C065A}"/>
                    </a:ext>
                  </a:extLst>
                </p:cNvPr>
                <p:cNvSpPr/>
                <p:nvPr/>
              </p:nvSpPr>
              <p:spPr>
                <a:xfrm>
                  <a:off x="8056405" y="4075328"/>
                  <a:ext cx="747522" cy="425196"/>
                </a:xfrm>
                <a:custGeom>
                  <a:avLst/>
                  <a:gdLst>
                    <a:gd name="connsiteX0" fmla="*/ 338423 w 747522"/>
                    <a:gd name="connsiteY0" fmla="*/ 4514 h 425196"/>
                    <a:gd name="connsiteX1" fmla="*/ 0 w 747522"/>
                    <a:gd name="connsiteY1" fmla="*/ 276072 h 425196"/>
                    <a:gd name="connsiteX2" fmla="*/ 409099 w 747522"/>
                    <a:gd name="connsiteY2" fmla="*/ 420661 h 425196"/>
                    <a:gd name="connsiteX3" fmla="*/ 747522 w 747522"/>
                    <a:gd name="connsiteY3" fmla="*/ 149103 h 425196"/>
                    <a:gd name="connsiteX4" fmla="*/ 338423 w 747522"/>
                    <a:gd name="connsiteY4" fmla="*/ 4514 h 4251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7522" h="425196">
                      <a:moveTo>
                        <a:pt x="338423" y="4514"/>
                      </a:moveTo>
                      <a:cubicBezTo>
                        <a:pt x="132017" y="39566"/>
                        <a:pt x="0" y="276072"/>
                        <a:pt x="0" y="276072"/>
                      </a:cubicBezTo>
                      <a:cubicBezTo>
                        <a:pt x="0" y="276072"/>
                        <a:pt x="202597" y="455713"/>
                        <a:pt x="409099" y="420661"/>
                      </a:cubicBezTo>
                      <a:cubicBezTo>
                        <a:pt x="615505" y="385609"/>
                        <a:pt x="747522" y="149103"/>
                        <a:pt x="747522" y="149103"/>
                      </a:cubicBezTo>
                      <a:cubicBezTo>
                        <a:pt x="747522" y="149103"/>
                        <a:pt x="544830" y="-30443"/>
                        <a:pt x="338423" y="4514"/>
                      </a:cubicBezTo>
                      <a:close/>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51" name="Forme libre : forme 50">
                  <a:extLst>
                    <a:ext uri="{FF2B5EF4-FFF2-40B4-BE49-F238E27FC236}">
                      <a16:creationId xmlns:a16="http://schemas.microsoft.com/office/drawing/2014/main" id="{E4099E05-89C3-4541-A0AE-C498A35403E1}"/>
                    </a:ext>
                  </a:extLst>
                </p:cNvPr>
                <p:cNvSpPr/>
                <p:nvPr/>
              </p:nvSpPr>
              <p:spPr>
                <a:xfrm>
                  <a:off x="8344918" y="3538290"/>
                  <a:ext cx="702754" cy="408202"/>
                </a:xfrm>
                <a:custGeom>
                  <a:avLst/>
                  <a:gdLst>
                    <a:gd name="connsiteX0" fmla="*/ 0 w 702754"/>
                    <a:gd name="connsiteY0" fmla="*/ 321239 h 408202"/>
                    <a:gd name="connsiteX1" fmla="*/ 113824 w 702754"/>
                    <a:gd name="connsiteY1" fmla="*/ 136168 h 408202"/>
                    <a:gd name="connsiteX2" fmla="*/ 274606 w 702754"/>
                    <a:gd name="connsiteY2" fmla="*/ 19963 h 408202"/>
                    <a:gd name="connsiteX3" fmla="*/ 571690 w 702754"/>
                    <a:gd name="connsiteY3" fmla="*/ 31488 h 408202"/>
                    <a:gd name="connsiteX4" fmla="*/ 702755 w 702754"/>
                    <a:gd name="connsiteY4" fmla="*/ 89972 h 408202"/>
                    <a:gd name="connsiteX5" fmla="*/ 439579 w 702754"/>
                    <a:gd name="connsiteY5" fmla="*/ 408202 h 4082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2754" h="408202">
                      <a:moveTo>
                        <a:pt x="0" y="321239"/>
                      </a:moveTo>
                      <a:cubicBezTo>
                        <a:pt x="16669" y="281805"/>
                        <a:pt x="53816" y="204843"/>
                        <a:pt x="113824" y="136168"/>
                      </a:cubicBezTo>
                      <a:cubicBezTo>
                        <a:pt x="155829" y="87591"/>
                        <a:pt x="209074" y="43490"/>
                        <a:pt x="274606" y="19963"/>
                      </a:cubicBezTo>
                      <a:cubicBezTo>
                        <a:pt x="376714" y="-16803"/>
                        <a:pt x="488156" y="3294"/>
                        <a:pt x="571690" y="31488"/>
                      </a:cubicBezTo>
                      <a:cubicBezTo>
                        <a:pt x="649224" y="57301"/>
                        <a:pt x="702755" y="89972"/>
                        <a:pt x="702755" y="89972"/>
                      </a:cubicBezTo>
                      <a:cubicBezTo>
                        <a:pt x="702755" y="89972"/>
                        <a:pt x="621316" y="327049"/>
                        <a:pt x="439579" y="408202"/>
                      </a:cubicBezTo>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52" name="Forme libre : forme 51">
                  <a:extLst>
                    <a:ext uri="{FF2B5EF4-FFF2-40B4-BE49-F238E27FC236}">
                      <a16:creationId xmlns:a16="http://schemas.microsoft.com/office/drawing/2014/main" id="{93EE1C2B-F0FD-442B-BA8F-A9C43C3233A9}"/>
                    </a:ext>
                  </a:extLst>
                </p:cNvPr>
                <p:cNvSpPr/>
                <p:nvPr/>
              </p:nvSpPr>
              <p:spPr>
                <a:xfrm>
                  <a:off x="8387209" y="2955670"/>
                  <a:ext cx="607980" cy="471424"/>
                </a:xfrm>
                <a:custGeom>
                  <a:avLst/>
                  <a:gdLst>
                    <a:gd name="connsiteX0" fmla="*/ 0 w 607980"/>
                    <a:gd name="connsiteY0" fmla="*/ 471424 h 471424"/>
                    <a:gd name="connsiteX1" fmla="*/ 55054 w 607980"/>
                    <a:gd name="connsiteY1" fmla="*/ 238062 h 471424"/>
                    <a:gd name="connsiteX2" fmla="*/ 177737 w 607980"/>
                    <a:gd name="connsiteY2" fmla="*/ 75660 h 471424"/>
                    <a:gd name="connsiteX3" fmla="*/ 427863 w 607980"/>
                    <a:gd name="connsiteY3" fmla="*/ 222 h 471424"/>
                    <a:gd name="connsiteX4" fmla="*/ 607981 w 607980"/>
                    <a:gd name="connsiteY4" fmla="*/ 18225 h 471424"/>
                    <a:gd name="connsiteX5" fmla="*/ 477203 w 607980"/>
                    <a:gd name="connsiteY5" fmla="*/ 370935 h 471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7980" h="471424">
                      <a:moveTo>
                        <a:pt x="0" y="471424"/>
                      </a:moveTo>
                      <a:cubicBezTo>
                        <a:pt x="0" y="471424"/>
                        <a:pt x="4191" y="353981"/>
                        <a:pt x="55054" y="238062"/>
                      </a:cubicBezTo>
                      <a:cubicBezTo>
                        <a:pt x="81439" y="178054"/>
                        <a:pt x="120301" y="118237"/>
                        <a:pt x="177737" y="75660"/>
                      </a:cubicBezTo>
                      <a:cubicBezTo>
                        <a:pt x="252889" y="19749"/>
                        <a:pt x="346901" y="2318"/>
                        <a:pt x="427863" y="222"/>
                      </a:cubicBezTo>
                      <a:cubicBezTo>
                        <a:pt x="527876" y="-2349"/>
                        <a:pt x="607981" y="18225"/>
                        <a:pt x="607981" y="18225"/>
                      </a:cubicBezTo>
                      <a:cubicBezTo>
                        <a:pt x="607981" y="18225"/>
                        <a:pt x="599885" y="235966"/>
                        <a:pt x="477203" y="370935"/>
                      </a:cubicBezTo>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sp>
              <p:nvSpPr>
                <p:cNvPr id="53" name="Forme libre : forme 52">
                  <a:extLst>
                    <a:ext uri="{FF2B5EF4-FFF2-40B4-BE49-F238E27FC236}">
                      <a16:creationId xmlns:a16="http://schemas.microsoft.com/office/drawing/2014/main" id="{C17228A4-97F4-4F92-8470-FAB6F6EBC316}"/>
                    </a:ext>
                  </a:extLst>
                </p:cNvPr>
                <p:cNvSpPr/>
                <p:nvPr/>
              </p:nvSpPr>
              <p:spPr>
                <a:xfrm>
                  <a:off x="8294972" y="2357437"/>
                  <a:ext cx="479160" cy="625220"/>
                </a:xfrm>
                <a:custGeom>
                  <a:avLst/>
                  <a:gdLst>
                    <a:gd name="connsiteX0" fmla="*/ 25371 w 479160"/>
                    <a:gd name="connsiteY0" fmla="*/ 625221 h 625220"/>
                    <a:gd name="connsiteX1" fmla="*/ 65567 w 479160"/>
                    <a:gd name="connsiteY1" fmla="*/ 193453 h 625220"/>
                    <a:gd name="connsiteX2" fmla="*/ 453806 w 479160"/>
                    <a:gd name="connsiteY2" fmla="*/ 0 h 625220"/>
                    <a:gd name="connsiteX3" fmla="*/ 442090 w 479160"/>
                    <a:gd name="connsiteY3" fmla="*/ 381381 h 625220"/>
                    <a:gd name="connsiteX4" fmla="*/ 441805 w 479160"/>
                    <a:gd name="connsiteY4" fmla="*/ 381381 h 625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9160" h="625220">
                      <a:moveTo>
                        <a:pt x="25371" y="625221"/>
                      </a:moveTo>
                      <a:cubicBezTo>
                        <a:pt x="25371" y="625221"/>
                        <a:pt x="-52924" y="365950"/>
                        <a:pt x="65567" y="193453"/>
                      </a:cubicBezTo>
                      <a:cubicBezTo>
                        <a:pt x="183867" y="20669"/>
                        <a:pt x="453806" y="0"/>
                        <a:pt x="453806" y="0"/>
                      </a:cubicBezTo>
                      <a:cubicBezTo>
                        <a:pt x="453806" y="0"/>
                        <a:pt x="518005" y="213074"/>
                        <a:pt x="442090" y="381381"/>
                      </a:cubicBezTo>
                      <a:lnTo>
                        <a:pt x="441805" y="381381"/>
                      </a:lnTo>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sp>
            <p:nvSpPr>
              <p:cNvPr id="49" name="Forme libre : forme 48">
                <a:extLst>
                  <a:ext uri="{FF2B5EF4-FFF2-40B4-BE49-F238E27FC236}">
                    <a16:creationId xmlns:a16="http://schemas.microsoft.com/office/drawing/2014/main" id="{EEDED845-A625-484D-9883-1136450D61F2}"/>
                  </a:ext>
                </a:extLst>
              </p:cNvPr>
              <p:cNvSpPr/>
              <p:nvPr/>
            </p:nvSpPr>
            <p:spPr>
              <a:xfrm rot="-4389254">
                <a:off x="6406070" y="2618341"/>
                <a:ext cx="1721760" cy="1721760"/>
              </a:xfrm>
              <a:custGeom>
                <a:avLst/>
                <a:gdLst>
                  <a:gd name="connsiteX0" fmla="*/ 1721760 w 1721760"/>
                  <a:gd name="connsiteY0" fmla="*/ 860880 h 1721760"/>
                  <a:gd name="connsiteX1" fmla="*/ 860880 w 1721760"/>
                  <a:gd name="connsiteY1" fmla="*/ 1721760 h 1721760"/>
                  <a:gd name="connsiteX2" fmla="*/ 0 w 1721760"/>
                  <a:gd name="connsiteY2" fmla="*/ 860880 h 1721760"/>
                  <a:gd name="connsiteX3" fmla="*/ 860880 w 1721760"/>
                  <a:gd name="connsiteY3" fmla="*/ 0 h 1721760"/>
                  <a:gd name="connsiteX4" fmla="*/ 1721760 w 1721760"/>
                  <a:gd name="connsiteY4" fmla="*/ 860880 h 1721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21760" h="1721760">
                    <a:moveTo>
                      <a:pt x="1721760" y="860880"/>
                    </a:moveTo>
                    <a:cubicBezTo>
                      <a:pt x="1721760" y="1336331"/>
                      <a:pt x="1336331" y="1721760"/>
                      <a:pt x="860880" y="1721760"/>
                    </a:cubicBezTo>
                    <a:cubicBezTo>
                      <a:pt x="385429" y="1721760"/>
                      <a:pt x="0" y="1336331"/>
                      <a:pt x="0" y="860880"/>
                    </a:cubicBezTo>
                    <a:cubicBezTo>
                      <a:pt x="0" y="385429"/>
                      <a:pt x="385429" y="0"/>
                      <a:pt x="860880" y="0"/>
                    </a:cubicBezTo>
                    <a:cubicBezTo>
                      <a:pt x="1336331" y="0"/>
                      <a:pt x="1721760" y="385429"/>
                      <a:pt x="1721760" y="860880"/>
                    </a:cubicBezTo>
                    <a:close/>
                  </a:path>
                </a:pathLst>
              </a:custGeom>
              <a:ln w="9525" cap="flat">
                <a:solidFill>
                  <a:schemeClr val="accent3"/>
                </a:solid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Arial"/>
                  <a:ea typeface="+mn-ea"/>
                  <a:cs typeface="+mn-cs"/>
                </a:endParaRPr>
              </a:p>
            </p:txBody>
          </p:sp>
        </p:grpSp>
      </p:grpSp>
    </p:spTree>
    <p:extLst>
      <p:ext uri="{BB962C8B-B14F-4D97-AF65-F5344CB8AC3E}">
        <p14:creationId xmlns:p14="http://schemas.microsoft.com/office/powerpoint/2010/main" val="30420593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Espace réservé du texte 39">
            <a:extLst>
              <a:ext uri="{FF2B5EF4-FFF2-40B4-BE49-F238E27FC236}">
                <a16:creationId xmlns:a16="http://schemas.microsoft.com/office/drawing/2014/main" id="{E6AD1E1B-92CF-4061-B463-11F2752591B9}"/>
              </a:ext>
            </a:extLst>
          </p:cNvPr>
          <p:cNvSpPr>
            <a:spLocks noGrp="1"/>
          </p:cNvSpPr>
          <p:nvPr>
            <p:ph type="body" sz="quarter" idx="10"/>
          </p:nvPr>
        </p:nvSpPr>
        <p:spPr/>
        <p:txBody>
          <a:bodyPr>
            <a:normAutofit/>
          </a:bodyPr>
          <a:lstStyle/>
          <a:p>
            <a:r>
              <a:rPr lang="sl-SI" dirty="0"/>
              <a:t>Zavarovanje terjatev</a:t>
            </a:r>
            <a:endParaRPr lang="en-GB" dirty="0"/>
          </a:p>
        </p:txBody>
      </p:sp>
    </p:spTree>
    <p:extLst>
      <p:ext uri="{BB962C8B-B14F-4D97-AF65-F5344CB8AC3E}">
        <p14:creationId xmlns:p14="http://schemas.microsoft.com/office/powerpoint/2010/main" val="17610866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Espace réservé pour une image  14" descr="Une image contenant ciel, extérieur, crépuscule&#10;&#10;Description générée automatiquement">
            <a:extLst>
              <a:ext uri="{FF2B5EF4-FFF2-40B4-BE49-F238E27FC236}">
                <a16:creationId xmlns:a16="http://schemas.microsoft.com/office/drawing/2014/main" id="{109C73FE-A9A2-4BEC-988A-87B131B1BB36}"/>
              </a:ext>
            </a:extLst>
          </p:cNvPr>
          <p:cNvPicPr>
            <a:picLocks noGrp="1" noChangeAspect="1"/>
          </p:cNvPicPr>
          <p:nvPr>
            <p:ph type="pic" sz="quarter" idx="12"/>
          </p:nvPr>
        </p:nvPicPr>
        <p:blipFill rotWithShape="1">
          <a:blip r:embed="rId5">
            <a:extLst>
              <a:ext uri="{28A0092B-C50C-407E-A947-70E740481C1C}">
                <a14:useLocalDpi xmlns:a14="http://schemas.microsoft.com/office/drawing/2010/main" val="0"/>
              </a:ext>
            </a:extLst>
          </a:blip>
          <a:srcRect l="15939" r="37291"/>
          <a:stretch/>
        </p:blipFill>
        <p:spPr>
          <a:xfrm>
            <a:off x="6489700" y="0"/>
            <a:ext cx="5702300" cy="6858000"/>
          </a:xfrm>
        </p:spPr>
      </p:pic>
      <p:graphicFrame>
        <p:nvGraphicFramePr>
          <p:cNvPr id="8" name="Objet 7" hidden="1">
            <a:extLst>
              <a:ext uri="{FF2B5EF4-FFF2-40B4-BE49-F238E27FC236}">
                <a16:creationId xmlns:a16="http://schemas.microsoft.com/office/drawing/2014/main" id="{689156E4-9C44-4B4E-95DB-C8F590C182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03" name="Diapositive think-cell" r:id="rId6" imgW="532" imgH="530" progId="TCLayout.ActiveDocument.1">
                  <p:embed/>
                </p:oleObj>
              </mc:Choice>
              <mc:Fallback>
                <p:oleObj name="Diapositive think-cell" r:id="rId6" imgW="532" imgH="530" progId="TCLayout.ActiveDocument.1">
                  <p:embed/>
                  <p:pic>
                    <p:nvPicPr>
                      <p:cNvPr id="8" name="Objet 7" hidden="1">
                        <a:extLst>
                          <a:ext uri="{FF2B5EF4-FFF2-40B4-BE49-F238E27FC236}">
                            <a16:creationId xmlns:a16="http://schemas.microsoft.com/office/drawing/2014/main" id="{689156E4-9C44-4B4E-95DB-C8F590C182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AC2EFB11-94F7-44A2-9A1E-41B136046292}"/>
              </a:ext>
            </a:extLst>
          </p:cNvPr>
          <p:cNvSpPr>
            <a:spLocks noGrp="1"/>
          </p:cNvSpPr>
          <p:nvPr>
            <p:ph type="title"/>
          </p:nvPr>
        </p:nvSpPr>
        <p:spPr/>
        <p:txBody>
          <a:bodyPr vert="horz"/>
          <a:lstStyle/>
          <a:p>
            <a:r>
              <a:rPr lang="sl-SI" dirty="0"/>
              <a:t>Posledice epidemije</a:t>
            </a:r>
            <a:endParaRPr lang="en-GB" dirty="0">
              <a:solidFill>
                <a:schemeClr val="tx2"/>
              </a:solidFill>
            </a:endParaRPr>
          </a:p>
        </p:txBody>
      </p:sp>
      <p:sp>
        <p:nvSpPr>
          <p:cNvPr id="5" name="Espace réservé du texte 4">
            <a:extLst>
              <a:ext uri="{FF2B5EF4-FFF2-40B4-BE49-F238E27FC236}">
                <a16:creationId xmlns:a16="http://schemas.microsoft.com/office/drawing/2014/main" id="{5ED4CC6E-C633-4CA1-8415-DBA022E892FD}"/>
              </a:ext>
            </a:extLst>
          </p:cNvPr>
          <p:cNvSpPr>
            <a:spLocks noGrp="1"/>
          </p:cNvSpPr>
          <p:nvPr>
            <p:ph type="body" sz="quarter" idx="10"/>
          </p:nvPr>
        </p:nvSpPr>
        <p:spPr>
          <a:xfrm>
            <a:off x="419100" y="1269999"/>
            <a:ext cx="5773729" cy="5198885"/>
          </a:xfrm>
        </p:spPr>
        <p:txBody>
          <a:bodyPr>
            <a:normAutofit/>
          </a:bodyPr>
          <a:lstStyle/>
          <a:p>
            <a:pPr marL="223838" lvl="1" indent="0">
              <a:buNone/>
            </a:pPr>
            <a:r>
              <a:rPr lang="sl-SI" sz="2000" dirty="0"/>
              <a:t>V svetovnem merilu rast BDP v letu 2021, a še vedno veliko težav:</a:t>
            </a:r>
          </a:p>
          <a:p>
            <a:pPr marL="223838" lvl="1" indent="0">
              <a:buNone/>
            </a:pPr>
            <a:endParaRPr lang="sl-SI" sz="2000" dirty="0"/>
          </a:p>
          <a:p>
            <a:pPr lvl="1"/>
            <a:r>
              <a:rPr lang="sl-SI" sz="2000" dirty="0"/>
              <a:t>Velike zamude pri dobavah, pomanjkanje surovin in materialov ter visoko povpraševanje je vodilo v zvišanje proizvodnih cen, cen energentov iz posledično dvig maloprodajnih cen (rast inflacije).</a:t>
            </a:r>
          </a:p>
          <a:p>
            <a:pPr lvl="1"/>
            <a:r>
              <a:rPr lang="sl-SI" sz="2000" dirty="0"/>
              <a:t>Ukinjanje visoki nivoji državne podpore gospodarstvu (top up shema preko SID Banke).</a:t>
            </a:r>
          </a:p>
          <a:p>
            <a:pPr lvl="1"/>
            <a:r>
              <a:rPr lang="sl-SI" sz="2000" dirty="0"/>
              <a:t>Naraščanje zamud plačil na nivo pred epidemijo.</a:t>
            </a:r>
          </a:p>
          <a:p>
            <a:pPr lvl="1"/>
            <a:endParaRPr lang="en-US" sz="2400" dirty="0"/>
          </a:p>
          <a:p>
            <a:pPr lvl="1"/>
            <a:endParaRPr lang="sl-SI" sz="2000" b="1" dirty="0"/>
          </a:p>
          <a:p>
            <a:pPr lvl="0"/>
            <a:endParaRPr lang="en-GB" dirty="0"/>
          </a:p>
        </p:txBody>
      </p:sp>
      <p:pic>
        <p:nvPicPr>
          <p:cNvPr id="16" name="Image 15">
            <a:extLst>
              <a:ext uri="{FF2B5EF4-FFF2-40B4-BE49-F238E27FC236}">
                <a16:creationId xmlns:a16="http://schemas.microsoft.com/office/drawing/2014/main" id="{909360F8-8F3E-4517-B7C7-5E7CDF597AC8}"/>
              </a:ext>
            </a:extLst>
          </p:cNvPr>
          <p:cNvPicPr>
            <a:picLocks noChangeAspect="1"/>
          </p:cNvPicPr>
          <p:nvPr/>
        </p:nvPicPr>
        <p:blipFill rotWithShape="1">
          <a:blip r:embed="rId8"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Tree>
    <p:extLst>
      <p:ext uri="{BB962C8B-B14F-4D97-AF65-F5344CB8AC3E}">
        <p14:creationId xmlns:p14="http://schemas.microsoft.com/office/powerpoint/2010/main" val="40345877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Espace réservé pour une image  14" descr="Une image contenant ciel, extérieur, crépuscule&#10;&#10;Description générée automatiquement">
            <a:extLst>
              <a:ext uri="{FF2B5EF4-FFF2-40B4-BE49-F238E27FC236}">
                <a16:creationId xmlns:a16="http://schemas.microsoft.com/office/drawing/2014/main" id="{109C73FE-A9A2-4BEC-988A-87B131B1BB36}"/>
              </a:ext>
            </a:extLst>
          </p:cNvPr>
          <p:cNvPicPr>
            <a:picLocks noGrp="1" noChangeAspect="1"/>
          </p:cNvPicPr>
          <p:nvPr>
            <p:ph type="pic" sz="quarter" idx="12"/>
          </p:nvPr>
        </p:nvPicPr>
        <p:blipFill rotWithShape="1">
          <a:blip r:embed="rId5">
            <a:extLst>
              <a:ext uri="{28A0092B-C50C-407E-A947-70E740481C1C}">
                <a14:useLocalDpi xmlns:a14="http://schemas.microsoft.com/office/drawing/2010/main" val="0"/>
              </a:ext>
            </a:extLst>
          </a:blip>
          <a:srcRect l="15939" r="37291"/>
          <a:stretch/>
        </p:blipFill>
        <p:spPr>
          <a:xfrm>
            <a:off x="6489700" y="0"/>
            <a:ext cx="5702300" cy="6858000"/>
          </a:xfrm>
        </p:spPr>
      </p:pic>
      <p:graphicFrame>
        <p:nvGraphicFramePr>
          <p:cNvPr id="8" name="Objet 7" hidden="1">
            <a:extLst>
              <a:ext uri="{FF2B5EF4-FFF2-40B4-BE49-F238E27FC236}">
                <a16:creationId xmlns:a16="http://schemas.microsoft.com/office/drawing/2014/main" id="{689156E4-9C44-4B4E-95DB-C8F590C182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27" name="Diapositive think-cell" r:id="rId6" imgW="532" imgH="530" progId="TCLayout.ActiveDocument.1">
                  <p:embed/>
                </p:oleObj>
              </mc:Choice>
              <mc:Fallback>
                <p:oleObj name="Diapositive think-cell" r:id="rId6" imgW="532" imgH="530" progId="TCLayout.ActiveDocument.1">
                  <p:embed/>
                  <p:pic>
                    <p:nvPicPr>
                      <p:cNvPr id="8" name="Objet 7" hidden="1">
                        <a:extLst>
                          <a:ext uri="{FF2B5EF4-FFF2-40B4-BE49-F238E27FC236}">
                            <a16:creationId xmlns:a16="http://schemas.microsoft.com/office/drawing/2014/main" id="{689156E4-9C44-4B4E-95DB-C8F590C182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AC2EFB11-94F7-44A2-9A1E-41B136046292}"/>
              </a:ext>
            </a:extLst>
          </p:cNvPr>
          <p:cNvSpPr>
            <a:spLocks noGrp="1"/>
          </p:cNvSpPr>
          <p:nvPr>
            <p:ph type="title"/>
          </p:nvPr>
        </p:nvSpPr>
        <p:spPr>
          <a:xfrm>
            <a:off x="741530" y="238125"/>
            <a:ext cx="5451300" cy="757130"/>
          </a:xfrm>
        </p:spPr>
        <p:txBody>
          <a:bodyPr vert="horz"/>
          <a:lstStyle/>
          <a:p>
            <a:r>
              <a:rPr lang="sl-SI" sz="2400" dirty="0"/>
              <a:t>POSLEDICE rusko – ukrajinskega konflikta</a:t>
            </a:r>
            <a:endParaRPr lang="en-GB" sz="2400" dirty="0">
              <a:solidFill>
                <a:schemeClr val="tx2"/>
              </a:solidFill>
            </a:endParaRPr>
          </a:p>
        </p:txBody>
      </p:sp>
      <p:sp>
        <p:nvSpPr>
          <p:cNvPr id="5" name="Espace réservé du texte 4">
            <a:extLst>
              <a:ext uri="{FF2B5EF4-FFF2-40B4-BE49-F238E27FC236}">
                <a16:creationId xmlns:a16="http://schemas.microsoft.com/office/drawing/2014/main" id="{5ED4CC6E-C633-4CA1-8415-DBA022E892FD}"/>
              </a:ext>
            </a:extLst>
          </p:cNvPr>
          <p:cNvSpPr>
            <a:spLocks noGrp="1"/>
          </p:cNvSpPr>
          <p:nvPr>
            <p:ph type="body" sz="quarter" idx="10"/>
          </p:nvPr>
        </p:nvSpPr>
        <p:spPr>
          <a:xfrm>
            <a:off x="419100" y="1739153"/>
            <a:ext cx="5773729" cy="4491318"/>
          </a:xfrm>
        </p:spPr>
        <p:txBody>
          <a:bodyPr>
            <a:normAutofit/>
          </a:bodyPr>
          <a:lstStyle/>
          <a:p>
            <a:pPr lvl="1"/>
            <a:r>
              <a:rPr lang="sl-SI" sz="2000" dirty="0"/>
              <a:t>Višje cene primarnih proizvodov povečujejo nevarnost dolgotrajne visoke inflacije.</a:t>
            </a:r>
          </a:p>
          <a:p>
            <a:pPr lvl="1"/>
            <a:r>
              <a:rPr lang="sl-SI" sz="2000" dirty="0"/>
              <a:t>Povečuje se tveganje stagflacije in socialnih nemirov. </a:t>
            </a:r>
          </a:p>
          <a:p>
            <a:pPr lvl="1"/>
            <a:r>
              <a:rPr lang="sl-SI" sz="2000" dirty="0"/>
              <a:t>Nekatere panoge bodo verjetno bolj prizadete: avtomobilska, promet, transport in kemična. </a:t>
            </a:r>
          </a:p>
          <a:p>
            <a:pPr lvl="1"/>
            <a:r>
              <a:rPr lang="sl-SI" sz="2000" dirty="0"/>
              <a:t>Coface za rusko gospodarstvo v letu 2022 napoveduje globoko recesijo, zato je oceno tveganja za državo znižala na D (zelo visoko).</a:t>
            </a:r>
          </a:p>
          <a:p>
            <a:pPr lvl="1"/>
            <a:r>
              <a:rPr lang="sl-SI" sz="2000" dirty="0"/>
              <a:t>Največ posledic bo čutila Evropa, a dejansko cel svet.</a:t>
            </a:r>
          </a:p>
          <a:p>
            <a:pPr lvl="0"/>
            <a:endParaRPr lang="en-GB" dirty="0"/>
          </a:p>
        </p:txBody>
      </p:sp>
      <p:pic>
        <p:nvPicPr>
          <p:cNvPr id="16" name="Image 15">
            <a:extLst>
              <a:ext uri="{FF2B5EF4-FFF2-40B4-BE49-F238E27FC236}">
                <a16:creationId xmlns:a16="http://schemas.microsoft.com/office/drawing/2014/main" id="{909360F8-8F3E-4517-B7C7-5E7CDF597AC8}"/>
              </a:ext>
            </a:extLst>
          </p:cNvPr>
          <p:cNvPicPr>
            <a:picLocks noChangeAspect="1"/>
          </p:cNvPicPr>
          <p:nvPr/>
        </p:nvPicPr>
        <p:blipFill rotWithShape="1">
          <a:blip r:embed="rId8"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Tree>
    <p:extLst>
      <p:ext uri="{BB962C8B-B14F-4D97-AF65-F5344CB8AC3E}">
        <p14:creationId xmlns:p14="http://schemas.microsoft.com/office/powerpoint/2010/main" val="9266850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689156E4-9C44-4B4E-95DB-C8F590C1828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7" name="Diapositive think-cell" r:id="rId5" imgW="532" imgH="530" progId="TCLayout.ActiveDocument.1">
                  <p:embed/>
                </p:oleObj>
              </mc:Choice>
              <mc:Fallback>
                <p:oleObj name="Diapositive think-cell" r:id="rId5" imgW="532" imgH="530" progId="TCLayout.ActiveDocument.1">
                  <p:embed/>
                  <p:pic>
                    <p:nvPicPr>
                      <p:cNvPr id="8" name="Objet 7" hidden="1">
                        <a:extLst>
                          <a:ext uri="{FF2B5EF4-FFF2-40B4-BE49-F238E27FC236}">
                            <a16:creationId xmlns:a16="http://schemas.microsoft.com/office/drawing/2014/main" id="{689156E4-9C44-4B4E-95DB-C8F590C182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itre 3">
            <a:extLst>
              <a:ext uri="{FF2B5EF4-FFF2-40B4-BE49-F238E27FC236}">
                <a16:creationId xmlns:a16="http://schemas.microsoft.com/office/drawing/2014/main" id="{AC2EFB11-94F7-44A2-9A1E-41B136046292}"/>
              </a:ext>
            </a:extLst>
          </p:cNvPr>
          <p:cNvSpPr>
            <a:spLocks noGrp="1"/>
          </p:cNvSpPr>
          <p:nvPr>
            <p:ph type="title"/>
          </p:nvPr>
        </p:nvSpPr>
        <p:spPr>
          <a:xfrm>
            <a:off x="741529" y="534296"/>
            <a:ext cx="10942471" cy="601615"/>
          </a:xfrm>
        </p:spPr>
        <p:txBody>
          <a:bodyPr vert="horz"/>
          <a:lstStyle/>
          <a:p>
            <a:r>
              <a:rPr lang="sl-SI" dirty="0"/>
              <a:t>PREDMET ZAVAROVANJA</a:t>
            </a:r>
            <a:endParaRPr lang="en-GB" dirty="0">
              <a:solidFill>
                <a:schemeClr val="tx2"/>
              </a:solidFill>
            </a:endParaRPr>
          </a:p>
        </p:txBody>
      </p:sp>
      <p:sp>
        <p:nvSpPr>
          <p:cNvPr id="5" name="Espace réservé du texte 4">
            <a:extLst>
              <a:ext uri="{FF2B5EF4-FFF2-40B4-BE49-F238E27FC236}">
                <a16:creationId xmlns:a16="http://schemas.microsoft.com/office/drawing/2014/main" id="{5ED4CC6E-C633-4CA1-8415-DBA022E892FD}"/>
              </a:ext>
            </a:extLst>
          </p:cNvPr>
          <p:cNvSpPr>
            <a:spLocks noGrp="1"/>
          </p:cNvSpPr>
          <p:nvPr>
            <p:ph type="body" sz="quarter" idx="10"/>
          </p:nvPr>
        </p:nvSpPr>
        <p:spPr>
          <a:xfrm>
            <a:off x="419100" y="1407459"/>
            <a:ext cx="11264900" cy="4612341"/>
          </a:xfrm>
        </p:spPr>
        <p:txBody>
          <a:bodyPr>
            <a:normAutofit/>
          </a:bodyPr>
          <a:lstStyle/>
          <a:p>
            <a:pPr marL="223838" lvl="1" indent="0">
              <a:buNone/>
            </a:pPr>
            <a:r>
              <a:rPr lang="sl-SI" dirty="0"/>
              <a:t>TERJATVE, KI NASTANEJO Z DOBAVAMI BLAGA ALI Z OPRAVLJANJEM STORITEV DOMAČIM IN/ALI TUJIM KUPCEM - S PLAČILNIM ROKOM </a:t>
            </a:r>
            <a:r>
              <a:rPr lang="sl-SI" u="sng" dirty="0">
                <a:solidFill>
                  <a:srgbClr val="002060"/>
                </a:solidFill>
              </a:rPr>
              <a:t>DO 180 DNI </a:t>
            </a:r>
            <a:r>
              <a:rPr lang="sl-SI" dirty="0">
                <a:solidFill>
                  <a:srgbClr val="002060"/>
                </a:solidFill>
              </a:rPr>
              <a:t>( izjemoma možno tudi 360 dni in več).</a:t>
            </a:r>
          </a:p>
          <a:p>
            <a:pPr lvl="1"/>
            <a:endParaRPr lang="sl-SI" dirty="0">
              <a:solidFill>
                <a:srgbClr val="002060"/>
              </a:solidFill>
            </a:endParaRPr>
          </a:p>
          <a:p>
            <a:pPr marL="223838" lvl="1" indent="0">
              <a:buNone/>
            </a:pPr>
            <a:r>
              <a:rPr lang="sl-SI" b="1" dirty="0"/>
              <a:t>KOMERCIALNI RIZIKI:</a:t>
            </a:r>
          </a:p>
          <a:p>
            <a:pPr lvl="1"/>
            <a:r>
              <a:rPr lang="sl-SI" dirty="0"/>
              <a:t>INSOLVENČNI POSTOPEK KUPCA (stečaj, prisilna poravnava, ….)</a:t>
            </a:r>
            <a:endParaRPr lang="en-GB" b="1" dirty="0"/>
          </a:p>
          <a:p>
            <a:pPr lvl="1"/>
            <a:r>
              <a:rPr lang="sl-SI" dirty="0"/>
              <a:t>PODALJŠANA ZAMUDA PLAČILA KUPCA</a:t>
            </a:r>
          </a:p>
          <a:p>
            <a:pPr lvl="1"/>
            <a:endParaRPr lang="sl-SI" b="1" dirty="0"/>
          </a:p>
          <a:p>
            <a:pPr marL="223838" lvl="1" indent="0">
              <a:buNone/>
            </a:pPr>
            <a:r>
              <a:rPr lang="sl-SI" b="1" dirty="0"/>
              <a:t>NEKOMERCIALNI OZ. POLITIČNI RIZIKI: </a:t>
            </a:r>
          </a:p>
          <a:p>
            <a:pPr lvl="1"/>
            <a:r>
              <a:rPr lang="sl-SI" dirty="0"/>
              <a:t>Politični dogodki, kot so večji nemiri, upori, vstaje, državni udari, generalne stavke, revolucije, državljanske vojne.</a:t>
            </a:r>
          </a:p>
          <a:p>
            <a:pPr lvl="1"/>
            <a:r>
              <a:rPr lang="sl-SI" dirty="0"/>
              <a:t>Moratorij plačil, prepoved konverzije in/ali transferja, potem ko je kupec že položil sredstva v banki v lokalni valuti.</a:t>
            </a:r>
          </a:p>
          <a:p>
            <a:pPr lvl="1"/>
            <a:r>
              <a:rPr lang="sl-SI" dirty="0"/>
              <a:t>Prepoved uvoza blaga ali storitev. </a:t>
            </a:r>
          </a:p>
          <a:p>
            <a:pPr lvl="1"/>
            <a:r>
              <a:rPr lang="sl-SI" dirty="0"/>
              <a:t>Enostransko razdrtje pogodbe s strani javnega kupca.</a:t>
            </a:r>
          </a:p>
          <a:p>
            <a:pPr marL="223838" lvl="1" indent="0">
              <a:buNone/>
            </a:pPr>
            <a:endParaRPr lang="sl-SI" b="1" dirty="0"/>
          </a:p>
          <a:p>
            <a:pPr lvl="1"/>
            <a:endParaRPr lang="sl-SI" dirty="0">
              <a:solidFill>
                <a:srgbClr val="002060"/>
              </a:solidFill>
            </a:endParaRPr>
          </a:p>
          <a:p>
            <a:pPr lvl="1"/>
            <a:endParaRPr lang="sl-SI" dirty="0">
              <a:solidFill>
                <a:srgbClr val="002060"/>
              </a:solidFill>
            </a:endParaRPr>
          </a:p>
          <a:p>
            <a:pPr lvl="1"/>
            <a:endParaRPr lang="sl-SI" dirty="0"/>
          </a:p>
          <a:p>
            <a:pPr lvl="1"/>
            <a:endParaRPr lang="sl-SI" dirty="0"/>
          </a:p>
          <a:p>
            <a:pPr lvl="1"/>
            <a:endParaRPr lang="sl-SI" dirty="0"/>
          </a:p>
          <a:p>
            <a:pPr lvl="1"/>
            <a:endParaRPr lang="sl-SI" dirty="0"/>
          </a:p>
          <a:p>
            <a:pPr marL="755650" lvl="3" indent="0">
              <a:buNone/>
            </a:pPr>
            <a:endParaRPr lang="sl-SI" dirty="0"/>
          </a:p>
        </p:txBody>
      </p:sp>
      <p:pic>
        <p:nvPicPr>
          <p:cNvPr id="12" name="Graphique 11">
            <a:extLst>
              <a:ext uri="{FF2B5EF4-FFF2-40B4-BE49-F238E27FC236}">
                <a16:creationId xmlns:a16="http://schemas.microsoft.com/office/drawing/2014/main" id="{9F974B59-B121-4C34-BB68-71E0857FCE3D}"/>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0" y="6126385"/>
            <a:ext cx="2659139" cy="731615"/>
          </a:xfrm>
          <a:prstGeom prst="rect">
            <a:avLst/>
          </a:prstGeom>
        </p:spPr>
      </p:pic>
      <p:sp>
        <p:nvSpPr>
          <p:cNvPr id="15" name="Graphique 13">
            <a:extLst>
              <a:ext uri="{FF2B5EF4-FFF2-40B4-BE49-F238E27FC236}">
                <a16:creationId xmlns:a16="http://schemas.microsoft.com/office/drawing/2014/main" id="{038F299F-333D-404F-A5B1-0EFF554470E0}"/>
              </a:ext>
            </a:extLst>
          </p:cNvPr>
          <p:cNvSpPr/>
          <p:nvPr/>
        </p:nvSpPr>
        <p:spPr>
          <a:xfrm>
            <a:off x="9535886" y="0"/>
            <a:ext cx="2656114" cy="728519"/>
          </a:xfrm>
          <a:custGeom>
            <a:avLst/>
            <a:gdLst>
              <a:gd name="connsiteX0" fmla="*/ 2790267 w 3596354"/>
              <a:gd name="connsiteY0" fmla="*/ 0 h 986408"/>
              <a:gd name="connsiteX1" fmla="*/ 1711179 w 3596354"/>
              <a:gd name="connsiteY1" fmla="*/ 560261 h 986408"/>
              <a:gd name="connsiteX2" fmla="*/ 593516 w 3596354"/>
              <a:gd name="connsiteY2" fmla="*/ 0 h 986408"/>
              <a:gd name="connsiteX3" fmla="*/ 213659 w 3596354"/>
              <a:gd name="connsiteY3" fmla="*/ 0 h 986408"/>
              <a:gd name="connsiteX4" fmla="*/ -464 w 3596354"/>
              <a:gd name="connsiteY4" fmla="*/ 431578 h 986408"/>
              <a:gd name="connsiteX5" fmla="*/ 1697558 w 3596354"/>
              <a:gd name="connsiteY5" fmla="*/ 986409 h 986408"/>
              <a:gd name="connsiteX6" fmla="*/ 3595891 w 3596354"/>
              <a:gd name="connsiteY6" fmla="*/ 0 h 9864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6354" h="986408">
                <a:moveTo>
                  <a:pt x="2790267" y="0"/>
                </a:moveTo>
                <a:cubicBezTo>
                  <a:pt x="2584812" y="358712"/>
                  <a:pt x="2206193" y="560261"/>
                  <a:pt x="1711179" y="560261"/>
                </a:cubicBezTo>
                <a:cubicBezTo>
                  <a:pt x="1171016" y="560261"/>
                  <a:pt x="804875" y="328041"/>
                  <a:pt x="593516" y="0"/>
                </a:cubicBezTo>
                <a:lnTo>
                  <a:pt x="213659" y="0"/>
                </a:lnTo>
                <a:lnTo>
                  <a:pt x="-464" y="431578"/>
                </a:lnTo>
                <a:cubicBezTo>
                  <a:pt x="351390" y="722567"/>
                  <a:pt x="939845" y="986409"/>
                  <a:pt x="1697558" y="986409"/>
                </a:cubicBezTo>
                <a:cubicBezTo>
                  <a:pt x="2699684" y="986409"/>
                  <a:pt x="3330524" y="593598"/>
                  <a:pt x="3595891" y="0"/>
                </a:cubicBezTo>
                <a:close/>
              </a:path>
            </a:pathLst>
          </a:custGeom>
          <a:solidFill>
            <a:schemeClr val="accent4"/>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736522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Espace réservé pour une image  7" descr="Une image contenant ciel, extérieur&#10;&#10;Description générée automatiquement">
            <a:extLst>
              <a:ext uri="{FF2B5EF4-FFF2-40B4-BE49-F238E27FC236}">
                <a16:creationId xmlns:a16="http://schemas.microsoft.com/office/drawing/2014/main" id="{6A172463-48CF-4F7F-9DF4-2A4B0351AC36}"/>
              </a:ext>
            </a:extLst>
          </p:cNvPr>
          <p:cNvPicPr>
            <a:picLocks noGrp="1" noChangeAspect="1"/>
          </p:cNvPicPr>
          <p:nvPr>
            <p:ph type="pic" sz="quarter" idx="12"/>
          </p:nvPr>
        </p:nvPicPr>
        <p:blipFill>
          <a:blip r:embed="rId5">
            <a:extLst>
              <a:ext uri="{28A0092B-C50C-407E-A947-70E740481C1C}">
                <a14:useLocalDpi xmlns:a14="http://schemas.microsoft.com/office/drawing/2010/main" val="0"/>
              </a:ext>
            </a:extLst>
          </a:blip>
          <a:srcRect l="25278" r="25278"/>
          <a:stretch>
            <a:fillRect/>
          </a:stretch>
        </p:blipFill>
        <p:spPr/>
      </p:pic>
      <p:graphicFrame>
        <p:nvGraphicFramePr>
          <p:cNvPr id="11" name="Objet 10" hidden="1">
            <a:extLst>
              <a:ext uri="{FF2B5EF4-FFF2-40B4-BE49-F238E27FC236}">
                <a16:creationId xmlns:a16="http://schemas.microsoft.com/office/drawing/2014/main" id="{B6D777D3-5D0F-40AB-9292-C0D0B0F9EF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80" name="Diapositive think-cell" r:id="rId6" imgW="532" imgH="530" progId="TCLayout.ActiveDocument.1">
                  <p:embed/>
                </p:oleObj>
              </mc:Choice>
              <mc:Fallback>
                <p:oleObj name="Diapositive think-cell" r:id="rId6" imgW="532" imgH="530" progId="TCLayout.ActiveDocument.1">
                  <p:embed/>
                  <p:pic>
                    <p:nvPicPr>
                      <p:cNvPr id="11" name="Objet 10" hidden="1">
                        <a:extLst>
                          <a:ext uri="{FF2B5EF4-FFF2-40B4-BE49-F238E27FC236}">
                            <a16:creationId xmlns:a16="http://schemas.microsoft.com/office/drawing/2014/main" id="{B6D777D3-5D0F-40AB-9292-C0D0B0F9EF7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Espace réservé du texte 9">
            <a:extLst>
              <a:ext uri="{FF2B5EF4-FFF2-40B4-BE49-F238E27FC236}">
                <a16:creationId xmlns:a16="http://schemas.microsoft.com/office/drawing/2014/main" id="{F7AD2AF7-0A24-409D-AE30-1B3710B8E209}"/>
              </a:ext>
            </a:extLst>
          </p:cNvPr>
          <p:cNvSpPr>
            <a:spLocks noGrp="1"/>
          </p:cNvSpPr>
          <p:nvPr>
            <p:ph type="body" sz="quarter" idx="13"/>
          </p:nvPr>
        </p:nvSpPr>
        <p:spPr/>
        <p:txBody>
          <a:bodyPr>
            <a:normAutofit/>
          </a:bodyPr>
          <a:lstStyle/>
          <a:p>
            <a:r>
              <a:rPr lang="sl-SI" sz="2400" dirty="0"/>
              <a:t>TERJATVE SO PREMOŽENJE</a:t>
            </a:r>
            <a:endParaRPr lang="en-GB" sz="2400" b="0" dirty="0"/>
          </a:p>
        </p:txBody>
      </p:sp>
      <p:sp>
        <p:nvSpPr>
          <p:cNvPr id="7" name="Espace réservé du texte 6">
            <a:extLst>
              <a:ext uri="{FF2B5EF4-FFF2-40B4-BE49-F238E27FC236}">
                <a16:creationId xmlns:a16="http://schemas.microsoft.com/office/drawing/2014/main" id="{414C7EA9-BF69-4739-9C22-DB768B62DDE6}"/>
              </a:ext>
            </a:extLst>
          </p:cNvPr>
          <p:cNvSpPr>
            <a:spLocks noGrp="1"/>
          </p:cNvSpPr>
          <p:nvPr>
            <p:ph type="body" sz="quarter" idx="10"/>
          </p:nvPr>
        </p:nvSpPr>
        <p:spPr>
          <a:xfrm>
            <a:off x="419100" y="1479176"/>
            <a:ext cx="7039535" cy="4540623"/>
          </a:xfrm>
        </p:spPr>
        <p:txBody>
          <a:bodyPr>
            <a:normAutofit fontScale="92500" lnSpcReduction="20000"/>
          </a:bodyPr>
          <a:lstStyle/>
          <a:p>
            <a:pPr lvl="1"/>
            <a:r>
              <a:rPr lang="sl-SI" sz="2000" dirty="0"/>
              <a:t>Kratkoročne terjatve v povprečju predstavljajo </a:t>
            </a:r>
            <a:r>
              <a:rPr lang="sl-SI" sz="2000" b="1" dirty="0"/>
              <a:t>40%</a:t>
            </a:r>
            <a:r>
              <a:rPr lang="sl-SI" sz="2000" dirty="0"/>
              <a:t> vseh sredstev podjetja.</a:t>
            </a:r>
          </a:p>
          <a:p>
            <a:pPr lvl="1"/>
            <a:endParaRPr lang="sl-SI" sz="2000" dirty="0"/>
          </a:p>
          <a:p>
            <a:pPr lvl="1"/>
            <a:r>
              <a:rPr lang="sl-SI" sz="2000" dirty="0"/>
              <a:t>Terjatve so premoženje, ki ga lahko podjetje zaradi neplačila kupcev hitro izgubi in s tem </a:t>
            </a:r>
            <a:r>
              <a:rPr lang="sl-SI" sz="2000" b="1" dirty="0"/>
              <a:t>ogrozi tudi lasten obstoj. </a:t>
            </a:r>
          </a:p>
          <a:p>
            <a:pPr lvl="1"/>
            <a:endParaRPr lang="sl-SI" sz="2000" b="1" dirty="0"/>
          </a:p>
          <a:p>
            <a:pPr lvl="1"/>
            <a:r>
              <a:rPr lang="sl-SI" sz="2000" dirty="0"/>
              <a:t>Z zavarovanjem pred neplačilom kupcev podjetje </a:t>
            </a:r>
            <a:r>
              <a:rPr lang="sl-SI" sz="2000" b="1" dirty="0"/>
              <a:t>zmanjšuje tovrstne rizike in tako učinkovito upravlja s svojimi tveganji</a:t>
            </a:r>
            <a:r>
              <a:rPr lang="sl-SI" sz="2000" dirty="0"/>
              <a:t>.</a:t>
            </a:r>
          </a:p>
          <a:p>
            <a:pPr marL="223838" lvl="1" indent="0">
              <a:buNone/>
            </a:pPr>
            <a:endParaRPr lang="sl-SI" sz="2000" dirty="0"/>
          </a:p>
          <a:p>
            <a:pPr lvl="1"/>
            <a:r>
              <a:rPr lang="sl-SI" sz="2000" dirty="0"/>
              <a:t>Z zavarovanjem terjatev si podjetje izboljša </a:t>
            </a:r>
            <a:r>
              <a:rPr lang="sl-SI" sz="2000" b="1" dirty="0"/>
              <a:t>kreditno sposobnost (rating)</a:t>
            </a:r>
            <a:r>
              <a:rPr lang="sl-SI" sz="2000" dirty="0"/>
              <a:t> in tako lažje pridobi financiranje s strani banke.</a:t>
            </a:r>
          </a:p>
          <a:p>
            <a:pPr lvl="1"/>
            <a:endParaRPr lang="sl-SI" sz="2000" dirty="0"/>
          </a:p>
          <a:p>
            <a:pPr lvl="1"/>
            <a:r>
              <a:rPr lang="sl-SI" sz="2000" dirty="0"/>
              <a:t>Pravice iz naslova zavarovanja lahko zavarovanec z </a:t>
            </a:r>
            <a:r>
              <a:rPr lang="sl-SI" sz="2000" b="1" dirty="0"/>
              <a:t>asignacijo prenese na banko</a:t>
            </a:r>
            <a:r>
              <a:rPr lang="sl-SI" sz="2000" dirty="0"/>
              <a:t>. Banka si z zavarovalnino lahko poplača zapadlo kreditno obveznost.</a:t>
            </a:r>
          </a:p>
          <a:p>
            <a:pPr lvl="1"/>
            <a:endParaRPr lang="en-US" sz="2000" dirty="0"/>
          </a:p>
          <a:p>
            <a:pPr lvl="1"/>
            <a:endParaRPr lang="sl-SI" dirty="0"/>
          </a:p>
          <a:p>
            <a:pPr lvl="1"/>
            <a:endParaRPr lang="en-GB" b="1" dirty="0"/>
          </a:p>
        </p:txBody>
      </p:sp>
      <p:sp>
        <p:nvSpPr>
          <p:cNvPr id="6" name="Titre 5">
            <a:extLst>
              <a:ext uri="{FF2B5EF4-FFF2-40B4-BE49-F238E27FC236}">
                <a16:creationId xmlns:a16="http://schemas.microsoft.com/office/drawing/2014/main" id="{22B9405B-B645-4B6D-80E5-657589E92709}"/>
              </a:ext>
            </a:extLst>
          </p:cNvPr>
          <p:cNvSpPr>
            <a:spLocks noGrp="1"/>
          </p:cNvSpPr>
          <p:nvPr>
            <p:ph type="title"/>
          </p:nvPr>
        </p:nvSpPr>
        <p:spPr>
          <a:xfrm>
            <a:off x="741529" y="440971"/>
            <a:ext cx="6233011" cy="867930"/>
          </a:xfrm>
        </p:spPr>
        <p:txBody>
          <a:bodyPr vert="horz"/>
          <a:lstStyle/>
          <a:p>
            <a:r>
              <a:rPr lang="sl-SI" dirty="0"/>
              <a:t>ZAKAJ ZAVAROVATI TERJATVE?</a:t>
            </a:r>
            <a:endParaRPr lang="en-GB" dirty="0"/>
          </a:p>
        </p:txBody>
      </p:sp>
      <p:pic>
        <p:nvPicPr>
          <p:cNvPr id="12" name="Image 11">
            <a:extLst>
              <a:ext uri="{FF2B5EF4-FFF2-40B4-BE49-F238E27FC236}">
                <a16:creationId xmlns:a16="http://schemas.microsoft.com/office/drawing/2014/main" id="{7BC7CF85-7465-45BA-B6D0-024BEFDF3241}"/>
              </a:ext>
            </a:extLst>
          </p:cNvPr>
          <p:cNvPicPr>
            <a:picLocks noChangeAspect="1"/>
          </p:cNvPicPr>
          <p:nvPr/>
        </p:nvPicPr>
        <p:blipFill rotWithShape="1">
          <a:blip r:embed="rId8" cstate="screen">
            <a:lum bright="100000"/>
            <a:extLst>
              <a:ext uri="{28A0092B-C50C-407E-A947-70E740481C1C}">
                <a14:useLocalDpi xmlns:a14="http://schemas.microsoft.com/office/drawing/2010/main"/>
              </a:ext>
            </a:extLst>
          </a:blip>
          <a:srcRect t="-5430" b="23858"/>
          <a:stretch/>
        </p:blipFill>
        <p:spPr>
          <a:xfrm>
            <a:off x="11149613" y="6468885"/>
            <a:ext cx="886661" cy="243115"/>
          </a:xfrm>
          <a:prstGeom prst="rect">
            <a:avLst/>
          </a:prstGeom>
        </p:spPr>
      </p:pic>
    </p:spTree>
    <p:extLst>
      <p:ext uri="{BB962C8B-B14F-4D97-AF65-F5344CB8AC3E}">
        <p14:creationId xmlns:p14="http://schemas.microsoft.com/office/powerpoint/2010/main" val="3472832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face - Template">
  <a:themeElements>
    <a:clrScheme name="COFACE">
      <a:dk1>
        <a:sysClr val="windowText" lastClr="000000"/>
      </a:dk1>
      <a:lt1>
        <a:sysClr val="window" lastClr="FFFFFF"/>
      </a:lt1>
      <a:dk2>
        <a:srgbClr val="0BB18F"/>
      </a:dk2>
      <a:lt2>
        <a:srgbClr val="1C355E"/>
      </a:lt2>
      <a:accent1>
        <a:srgbClr val="1226AA"/>
      </a:accent1>
      <a:accent2>
        <a:srgbClr val="5FD1E0"/>
      </a:accent2>
      <a:accent3>
        <a:srgbClr val="00A19C"/>
      </a:accent3>
      <a:accent4>
        <a:srgbClr val="6CDBD6"/>
      </a:accent4>
      <a:accent5>
        <a:srgbClr val="3BD4AE"/>
      </a:accent5>
      <a:accent6>
        <a:srgbClr val="E81F76"/>
      </a:accent6>
      <a:hlink>
        <a:srgbClr val="C028B9"/>
      </a:hlink>
      <a:folHlink>
        <a:srgbClr val="5C0F8B"/>
      </a:folHlink>
    </a:clrScheme>
    <a:fontScheme name="Cofac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Coface-2021.pptx [Lecture seule]" id="{6714E27A-8DCF-41C2-AEDC-C0F538D290A9}" vid="{68700BDF-522E-40F4-8895-A10341AB708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725</TotalTime>
  <Words>1687</Words>
  <Application>Microsoft Office PowerPoint</Application>
  <PresentationFormat>Širokozaslonsko</PresentationFormat>
  <Paragraphs>362</Paragraphs>
  <Slides>19</Slides>
  <Notes>18</Notes>
  <HiddenSlides>0</HiddenSlides>
  <MMClips>0</MMClips>
  <ScaleCrop>false</ScaleCrop>
  <HeadingPairs>
    <vt:vector size="8" baseType="variant">
      <vt:variant>
        <vt:lpstr>Uporabljene pisave</vt:lpstr>
      </vt:variant>
      <vt:variant>
        <vt:i4>8</vt:i4>
      </vt:variant>
      <vt:variant>
        <vt:lpstr>Tema</vt:lpstr>
      </vt:variant>
      <vt:variant>
        <vt:i4>1</vt:i4>
      </vt:variant>
      <vt:variant>
        <vt:lpstr>Vdelani OLE strežniki</vt:lpstr>
      </vt:variant>
      <vt:variant>
        <vt:i4>1</vt:i4>
      </vt:variant>
      <vt:variant>
        <vt:lpstr>Naslovi diapozitivov</vt:lpstr>
      </vt:variant>
      <vt:variant>
        <vt:i4>19</vt:i4>
      </vt:variant>
    </vt:vector>
  </HeadingPairs>
  <TitlesOfParts>
    <vt:vector size="29" baseType="lpstr">
      <vt:lpstr>Arial</vt:lpstr>
      <vt:lpstr>Arial Narrow</vt:lpstr>
      <vt:lpstr>Calibri</vt:lpstr>
      <vt:lpstr>Century Gothic</vt:lpstr>
      <vt:lpstr>Gotham Medium</vt:lpstr>
      <vt:lpstr>Gotham-Bold</vt:lpstr>
      <vt:lpstr>PFBeauSansPro-Regular</vt:lpstr>
      <vt:lpstr>Wingdings</vt:lpstr>
      <vt:lpstr>Coface - Template</vt:lpstr>
      <vt:lpstr>Diapositive think-cell</vt:lpstr>
      <vt:lpstr>OBVLADOVANJE TVEGANJ NEPLAČIL </vt:lpstr>
      <vt:lpstr>PowerPointova predstavitev</vt:lpstr>
      <vt:lpstr>PowerPointova predstavitev</vt:lpstr>
      <vt:lpstr>COFACE V SLOVENIJI</vt:lpstr>
      <vt:lpstr>PowerPointova predstavitev</vt:lpstr>
      <vt:lpstr>Posledice epidemije</vt:lpstr>
      <vt:lpstr>POSLEDICE rusko – ukrajinskega konflikta</vt:lpstr>
      <vt:lpstr>PREDMET ZAVAROVANJA</vt:lpstr>
      <vt:lpstr>ZAKAJ ZAVAROVATI TERJATVE?</vt:lpstr>
      <vt:lpstr>ZAKAJ ZAVAROVATI TERJATVE?</vt:lpstr>
      <vt:lpstr>PowerPointova predstavitev</vt:lpstr>
      <vt:lpstr>Ekonomski vpogledi</vt:lpstr>
      <vt:lpstr>Vpogledi v portfelje</vt:lpstr>
      <vt:lpstr>NAŠA KLJUČNA ODLIKA:  OCENJEVANJE INFORMACIJ (po vsem svetu)</vt:lpstr>
      <vt:lpstr>Ocena tveganja dolžnika (DRA)</vt:lpstr>
      <vt:lpstr>Dve vrsti kreditnih mnenj</vt:lpstr>
      <vt:lpstr>IZTERJAVA DOLGOV</vt:lpstr>
      <vt:lpstr>ZAKLJUČEK</vt:lpstr>
      <vt:lpstr>kontakt</vt:lpstr>
    </vt:vector>
  </TitlesOfParts>
  <Company>COFA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ZAVAROVANJE TERJATEV</dc:title>
  <dc:creator>Aljosa KOHEK</dc:creator>
  <cp:lastModifiedBy>Lidija Flajs</cp:lastModifiedBy>
  <cp:revision>266</cp:revision>
  <dcterms:created xsi:type="dcterms:W3CDTF">2021-12-15T11:52:38Z</dcterms:created>
  <dcterms:modified xsi:type="dcterms:W3CDTF">2022-04-05T12:39:45Z</dcterms:modified>
</cp:coreProperties>
</file>